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heme/themeOverride3.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6"/>
  </p:notesMasterIdLst>
  <p:sldIdLst>
    <p:sldId id="259" r:id="rId2"/>
    <p:sldId id="260" r:id="rId3"/>
    <p:sldId id="258" r:id="rId4"/>
    <p:sldId id="278" r:id="rId5"/>
    <p:sldId id="263" r:id="rId6"/>
    <p:sldId id="261" r:id="rId7"/>
    <p:sldId id="264" r:id="rId8"/>
    <p:sldId id="269" r:id="rId9"/>
    <p:sldId id="286" r:id="rId10"/>
    <p:sldId id="266" r:id="rId11"/>
    <p:sldId id="265" r:id="rId12"/>
    <p:sldId id="282" r:id="rId13"/>
    <p:sldId id="268" r:id="rId14"/>
    <p:sldId id="287" r:id="rId15"/>
    <p:sldId id="271" r:id="rId16"/>
    <p:sldId id="273" r:id="rId17"/>
    <p:sldId id="272" r:id="rId18"/>
    <p:sldId id="275" r:id="rId19"/>
    <p:sldId id="288" r:id="rId20"/>
    <p:sldId id="276" r:id="rId21"/>
    <p:sldId id="277" r:id="rId22"/>
    <p:sldId id="279" r:id="rId23"/>
    <p:sldId id="280" r:id="rId24"/>
    <p:sldId id="285" r:id="rId25"/>
  </p:sldIdLst>
  <p:sldSz cx="9144000" cy="5143500" type="screen16x9"/>
  <p:notesSz cx="6858000" cy="9144000"/>
  <p:custDataLst>
    <p:tags r:id="rId2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505F2C04-C923-438B-8C0F-E0CD2BADF298}">
      <wppc:fontMiss xmlns="" xmlns:wppc="http://www.wps.cn/officeDocument/PresentationCustomData" type="true"/>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00080"/>
    <a:srgbClr val="990099"/>
    <a:srgbClr val="CC0099"/>
    <a:srgbClr val="FF0066"/>
    <a:srgbClr val="0000CC"/>
    <a:srgbClr val="FFFFFF"/>
    <a:srgbClr val="000000"/>
    <a:srgbClr val="00B0F0"/>
    <a:srgbClr val="333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024" autoAdjust="0"/>
    <p:restoredTop sz="94660"/>
  </p:normalViewPr>
  <p:slideViewPr>
    <p:cSldViewPr>
      <p:cViewPr varScale="1">
        <p:scale>
          <a:sx n="145" d="100"/>
          <a:sy n="145" d="100"/>
        </p:scale>
        <p:origin x="888" y="114"/>
      </p:cViewPr>
      <p:guideLst>
        <p:guide orient="horz" pos="1620"/>
        <p:guide pos="2880"/>
      </p:guideLst>
    </p:cSldViewPr>
  </p:slideViewPr>
  <p:notesTextViewPr>
    <p:cViewPr>
      <p:scale>
        <a:sx n="100" d="100"/>
        <a:sy n="100" d="100"/>
      </p:scale>
      <p:origin x="0" y="0"/>
    </p:cViewPr>
  </p:notesTextViewPr>
  <p:sorterViewPr>
    <p:cViewPr>
      <p:scale>
        <a:sx n="110" d="100"/>
        <a:sy n="11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883261823042203E-2"/>
          <c:y val="4.81219399487662E-2"/>
          <c:w val="0.87674807226888796"/>
          <c:h val="0.73891282817161796"/>
        </c:manualLayout>
      </c:layout>
      <c:lineChart>
        <c:grouping val="standard"/>
        <c:varyColors val="0"/>
        <c:ser>
          <c:idx val="0"/>
          <c:order val="0"/>
          <c:tx>
            <c:strRef>
              <c:f>Sheet1!$B$1</c:f>
              <c:strCache>
                <c:ptCount val="1"/>
                <c:pt idx="0">
                  <c:v>YOUR TEXT1</c:v>
                </c:pt>
              </c:strCache>
            </c:strRef>
          </c:tx>
          <c:spPr>
            <a:ln w="28575" cap="rnd" cmpd="sng" algn="ctr">
              <a:solidFill>
                <a:srgbClr val="000000"/>
              </a:solidFill>
              <a:prstDash val="solid"/>
              <a:round/>
            </a:ln>
            <a:effectLst/>
          </c:spPr>
          <c:marker>
            <c:spPr>
              <a:solidFill>
                <a:srgbClr val="000000"/>
              </a:solidFill>
              <a:ln w="9525" cap="flat" cmpd="sng" algn="ctr">
                <a:solidFill>
                  <a:srgbClr val="000000"/>
                </a:solidFill>
                <a:prstDash val="solid"/>
                <a:round/>
              </a:ln>
            </c:spPr>
          </c:marker>
          <c:cat>
            <c:numRef>
              <c:f>Sheet1!$A$2:$A$6</c:f>
              <c:numCache>
                <c:formatCode>yyyy/m/d</c:formatCode>
                <c:ptCount val="5"/>
                <c:pt idx="0">
                  <c:v>41812</c:v>
                </c:pt>
                <c:pt idx="1">
                  <c:v>41813</c:v>
                </c:pt>
                <c:pt idx="2">
                  <c:v>41814</c:v>
                </c:pt>
                <c:pt idx="3">
                  <c:v>41815</c:v>
                </c:pt>
                <c:pt idx="4">
                  <c:v>41816</c:v>
                </c:pt>
              </c:numCache>
            </c:numRef>
          </c:cat>
          <c:val>
            <c:numRef>
              <c:f>Sheet1!$B$2:$B$6</c:f>
              <c:numCache>
                <c:formatCode>General</c:formatCode>
                <c:ptCount val="5"/>
                <c:pt idx="0">
                  <c:v>5</c:v>
                </c:pt>
                <c:pt idx="1">
                  <c:v>32</c:v>
                </c:pt>
                <c:pt idx="2">
                  <c:v>21</c:v>
                </c:pt>
                <c:pt idx="3">
                  <c:v>25</c:v>
                </c:pt>
                <c:pt idx="4">
                  <c:v>15</c:v>
                </c:pt>
              </c:numCache>
            </c:numRef>
          </c:val>
          <c:smooth val="1"/>
          <c:extLst>
            <c:ext xmlns:c16="http://schemas.microsoft.com/office/drawing/2014/chart" uri="{C3380CC4-5D6E-409C-BE32-E72D297353CC}">
              <c16:uniqueId val="{00000000-7BB1-42E0-A5C7-DCECCA14A298}"/>
            </c:ext>
          </c:extLst>
        </c:ser>
        <c:ser>
          <c:idx val="1"/>
          <c:order val="1"/>
          <c:tx>
            <c:strRef>
              <c:f>Sheet1!$C$1</c:f>
              <c:strCache>
                <c:ptCount val="1"/>
                <c:pt idx="0">
                  <c:v>YOUR TEXT2</c:v>
                </c:pt>
              </c:strCache>
            </c:strRef>
          </c:tx>
          <c:spPr>
            <a:ln w="28575" cap="rnd" cmpd="sng" algn="ctr">
              <a:solidFill>
                <a:srgbClr val="CC0099"/>
              </a:solidFill>
              <a:prstDash val="solid"/>
              <a:round/>
            </a:ln>
            <a:effectLst/>
          </c:spPr>
          <c:marker>
            <c:spPr>
              <a:ln w="9525" cap="flat" cmpd="sng" algn="ctr">
                <a:solidFill>
                  <a:srgbClr val="CC0099"/>
                </a:solidFill>
                <a:prstDash val="solid"/>
                <a:round/>
              </a:ln>
            </c:spPr>
          </c:marker>
          <c:cat>
            <c:numRef>
              <c:f>Sheet1!$A$2:$A$6</c:f>
              <c:numCache>
                <c:formatCode>yyyy/m/d</c:formatCode>
                <c:ptCount val="5"/>
                <c:pt idx="0">
                  <c:v>41812</c:v>
                </c:pt>
                <c:pt idx="1">
                  <c:v>41813</c:v>
                </c:pt>
                <c:pt idx="2">
                  <c:v>41814</c:v>
                </c:pt>
                <c:pt idx="3">
                  <c:v>41815</c:v>
                </c:pt>
                <c:pt idx="4">
                  <c:v>41816</c:v>
                </c:pt>
              </c:numCache>
            </c:numRef>
          </c:cat>
          <c:val>
            <c:numRef>
              <c:f>Sheet1!$C$2:$C$6</c:f>
              <c:numCache>
                <c:formatCode>General</c:formatCode>
                <c:ptCount val="5"/>
                <c:pt idx="0">
                  <c:v>3</c:v>
                </c:pt>
                <c:pt idx="1">
                  <c:v>21</c:v>
                </c:pt>
                <c:pt idx="2">
                  <c:v>35</c:v>
                </c:pt>
                <c:pt idx="3">
                  <c:v>21</c:v>
                </c:pt>
                <c:pt idx="4">
                  <c:v>8</c:v>
                </c:pt>
              </c:numCache>
            </c:numRef>
          </c:val>
          <c:smooth val="1"/>
          <c:extLst>
            <c:ext xmlns:c16="http://schemas.microsoft.com/office/drawing/2014/chart" uri="{C3380CC4-5D6E-409C-BE32-E72D297353CC}">
              <c16:uniqueId val="{00000001-7BB1-42E0-A5C7-DCECCA14A298}"/>
            </c:ext>
          </c:extLst>
        </c:ser>
        <c:ser>
          <c:idx val="2"/>
          <c:order val="2"/>
          <c:tx>
            <c:strRef>
              <c:f>Sheet1!$D$1</c:f>
              <c:strCache>
                <c:ptCount val="1"/>
                <c:pt idx="0">
                  <c:v>YOUR TEXT3</c:v>
                </c:pt>
              </c:strCache>
            </c:strRef>
          </c:tx>
          <c:spPr>
            <a:ln w="28575" cap="rnd" cmpd="sng" algn="ctr">
              <a:solidFill>
                <a:srgbClr val="800080"/>
              </a:solidFill>
              <a:prstDash val="solid"/>
              <a:round/>
            </a:ln>
            <a:effectLst/>
          </c:spPr>
          <c:marker>
            <c:spPr>
              <a:solidFill>
                <a:srgbClr val="800080"/>
              </a:solidFill>
              <a:ln w="9525" cap="flat" cmpd="sng" algn="ctr">
                <a:solidFill>
                  <a:srgbClr val="800080"/>
                </a:solidFill>
                <a:prstDash val="solid"/>
                <a:round/>
              </a:ln>
            </c:spPr>
          </c:marker>
          <c:cat>
            <c:numRef>
              <c:f>Sheet1!$A$2:$A$6</c:f>
              <c:numCache>
                <c:formatCode>yyyy/m/d</c:formatCode>
                <c:ptCount val="5"/>
                <c:pt idx="0">
                  <c:v>41812</c:v>
                </c:pt>
                <c:pt idx="1">
                  <c:v>41813</c:v>
                </c:pt>
                <c:pt idx="2">
                  <c:v>41814</c:v>
                </c:pt>
                <c:pt idx="3">
                  <c:v>41815</c:v>
                </c:pt>
                <c:pt idx="4">
                  <c:v>41816</c:v>
                </c:pt>
              </c:numCache>
            </c:numRef>
          </c:cat>
          <c:val>
            <c:numRef>
              <c:f>Sheet1!$D$2:$D$6</c:f>
              <c:numCache>
                <c:formatCode>General</c:formatCode>
                <c:ptCount val="5"/>
                <c:pt idx="0">
                  <c:v>4</c:v>
                </c:pt>
                <c:pt idx="1">
                  <c:v>12</c:v>
                </c:pt>
                <c:pt idx="2">
                  <c:v>32</c:v>
                </c:pt>
                <c:pt idx="3">
                  <c:v>18</c:v>
                </c:pt>
                <c:pt idx="4">
                  <c:v>9</c:v>
                </c:pt>
              </c:numCache>
            </c:numRef>
          </c:val>
          <c:smooth val="1"/>
          <c:extLst>
            <c:ext xmlns:c16="http://schemas.microsoft.com/office/drawing/2014/chart" uri="{C3380CC4-5D6E-409C-BE32-E72D297353CC}">
              <c16:uniqueId val="{00000002-7BB1-42E0-A5C7-DCECCA14A298}"/>
            </c:ext>
          </c:extLst>
        </c:ser>
        <c:dLbls>
          <c:showLegendKey val="0"/>
          <c:showVal val="0"/>
          <c:showCatName val="0"/>
          <c:showSerName val="0"/>
          <c:showPercent val="0"/>
          <c:showBubbleSize val="0"/>
        </c:dLbls>
        <c:marker val="1"/>
        <c:smooth val="0"/>
        <c:axId val="254694456"/>
        <c:axId val="254694848"/>
      </c:lineChart>
      <c:dateAx>
        <c:axId val="254694456"/>
        <c:scaling>
          <c:orientation val="minMax"/>
        </c:scaling>
        <c:delete val="0"/>
        <c:axPos val="b"/>
        <c:numFmt formatCode="yyyy/m/d" sourceLinked="1"/>
        <c:majorTickMark val="out"/>
        <c:minorTickMark val="none"/>
        <c:tickLblPos val="nextTo"/>
        <c:spPr>
          <a:noFill/>
          <a:ln w="9525" cap="flat" cmpd="sng" algn="ctr">
            <a:solidFill>
              <a:schemeClr val="tx1">
                <a:lumMod val="15000"/>
                <a:lumOff val="85000"/>
              </a:schemeClr>
            </a:solidFill>
            <a:prstDash val="solid"/>
            <a:round/>
          </a:ln>
          <a:effectLst/>
        </c:spPr>
        <c:txPr>
          <a:bodyPr rot="-60000000" spcFirstLastPara="0" vertOverflow="ellipsis" vert="horz" wrap="square" anchor="ctr" anchorCtr="1"/>
          <a:lstStyle/>
          <a:p>
            <a:pPr>
              <a:defRPr lang="zh-CN" sz="1000" b="0" i="0" u="none" strike="noStrike" kern="1200" baseline="0">
                <a:solidFill>
                  <a:schemeClr val="tx1">
                    <a:lumMod val="65000"/>
                    <a:lumOff val="35000"/>
                  </a:schemeClr>
                </a:solidFill>
                <a:latin typeface="+mn-lt"/>
                <a:ea typeface="+mn-ea"/>
                <a:cs typeface="+mn-cs"/>
              </a:defRPr>
            </a:pPr>
            <a:endParaRPr lang="zh-CN"/>
          </a:p>
        </c:txPr>
        <c:crossAx val="254694848"/>
        <c:crosses val="autoZero"/>
        <c:auto val="1"/>
        <c:lblOffset val="100"/>
        <c:baseTimeUnit val="days"/>
      </c:dateAx>
      <c:valAx>
        <c:axId val="254694848"/>
        <c:scaling>
          <c:orientation val="minMax"/>
        </c:scaling>
        <c:delete val="0"/>
        <c:axPos val="l"/>
        <c:majorGridlines>
          <c:spPr>
            <a:ln w="9525" cap="flat" cmpd="sng" algn="ctr">
              <a:solidFill>
                <a:schemeClr val="tx1">
                  <a:lumMod val="15000"/>
                  <a:lumOff val="85000"/>
                </a:schemeClr>
              </a:solidFill>
              <a:prstDash val="solid"/>
              <a:round/>
            </a:ln>
            <a:effectLst/>
          </c:spPr>
        </c:majorGridlines>
        <c:numFmt formatCode="General" sourceLinked="1"/>
        <c:majorTickMark val="none"/>
        <c:minorTickMark val="none"/>
        <c:tickLblPos val="nextTo"/>
        <c:spPr>
          <a:noFill/>
          <a:ln w="9525" cap="flat" cmpd="sng" algn="ctr">
            <a:noFill/>
            <a:prstDash val="solid"/>
            <a:round/>
          </a:ln>
          <a:effectLst/>
        </c:spPr>
        <c:txPr>
          <a:bodyPr rot="-60000000" spcFirstLastPara="0" vertOverflow="ellipsis" vert="horz" wrap="square" anchor="ctr" anchorCtr="1"/>
          <a:lstStyle/>
          <a:p>
            <a:pPr>
              <a:defRPr lang="zh-CN" sz="1000" b="0" i="0" u="none" strike="noStrike" kern="1200" baseline="0">
                <a:solidFill>
                  <a:schemeClr val="tx1">
                    <a:lumMod val="65000"/>
                    <a:lumOff val="35000"/>
                  </a:schemeClr>
                </a:solidFill>
                <a:latin typeface="+mn-lt"/>
                <a:ea typeface="+mn-ea"/>
                <a:cs typeface="+mn-cs"/>
              </a:defRPr>
            </a:pPr>
            <a:endParaRPr lang="zh-CN"/>
          </a:p>
        </c:txPr>
        <c:crossAx val="254694456"/>
        <c:crosses val="autoZero"/>
        <c:crossBetween val="between"/>
      </c:valAx>
      <c:spPr>
        <a:noFill/>
        <a:ln w="25400">
          <a:noFill/>
        </a:ln>
        <a:effectLst/>
      </c:spPr>
    </c:plotArea>
    <c:legend>
      <c:legendPos val="b"/>
      <c:overlay val="0"/>
      <c:spPr>
        <a:noFill/>
        <a:ln>
          <a:noFill/>
        </a:ln>
        <a:effectLst/>
      </c:spPr>
      <c:txPr>
        <a:bodyPr rot="0" spcFirstLastPara="0" vertOverflow="ellipsis" vert="horz" wrap="square" anchor="ctr" anchorCtr="1"/>
        <a:lstStyle/>
        <a:p>
          <a:pPr>
            <a:defRPr lang="zh-CN" sz="1000" b="0" i="0" u="none" strike="noStrike" kern="1200" baseline="0">
              <a:solidFill>
                <a:schemeClr val="tx1">
                  <a:lumMod val="65000"/>
                  <a:lumOff val="35000"/>
                </a:schemeClr>
              </a:solidFill>
              <a:latin typeface="+mn-lt"/>
              <a:ea typeface="+mn-ea"/>
              <a:cs typeface="+mn-cs"/>
            </a:defRPr>
          </a:pPr>
          <a:endParaRPr lang="zh-CN"/>
        </a:p>
      </c:txPr>
    </c:legend>
    <c:plotVisOnly val="1"/>
    <c:dispBlanksAs val="zero"/>
    <c:showDLblsOverMax val="0"/>
  </c:chart>
  <c:spPr>
    <a:noFill/>
    <a:ln>
      <a:noFill/>
    </a:ln>
    <a:effectLst/>
  </c:spPr>
  <c:txPr>
    <a:bodyPr/>
    <a:lstStyle/>
    <a:p>
      <a:pPr>
        <a:defRPr lang="zh-CN">
          <a:solidFill>
            <a:schemeClr val="tx1">
              <a:lumMod val="65000"/>
              <a:lumOff val="35000"/>
            </a:schemeClr>
          </a:solidFill>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697583486215701"/>
          <c:y val="8.6676963429184198E-2"/>
          <c:w val="0.66319444444444398"/>
          <c:h val="0.83771929824561397"/>
        </c:manualLayout>
      </c:layout>
      <c:doughnutChart>
        <c:varyColors val="1"/>
        <c:ser>
          <c:idx val="0"/>
          <c:order val="0"/>
          <c:tx>
            <c:strRef>
              <c:f>Sheet1!$B$1</c:f>
              <c:strCache>
                <c:ptCount val="1"/>
              </c:strCache>
            </c:strRef>
          </c:tx>
          <c:spPr>
            <a:noFill/>
            <a:ln>
              <a:solidFill>
                <a:srgbClr val="800080"/>
              </a:solidFill>
            </a:ln>
          </c:spPr>
          <c:dPt>
            <c:idx val="0"/>
            <c:bubble3D val="0"/>
            <c:spPr>
              <a:solidFill>
                <a:srgbClr val="800080"/>
              </a:solidFill>
              <a:ln>
                <a:solidFill>
                  <a:srgbClr val="800080"/>
                </a:solidFill>
              </a:ln>
            </c:spPr>
            <c:extLst>
              <c:ext xmlns:c16="http://schemas.microsoft.com/office/drawing/2014/chart" uri="{C3380CC4-5D6E-409C-BE32-E72D297353CC}">
                <c16:uniqueId val="{00000001-8631-49F4-A07B-A6991EF65433}"/>
              </c:ext>
            </c:extLst>
          </c:dPt>
          <c:dPt>
            <c:idx val="1"/>
            <c:bubble3D val="0"/>
            <c:extLst>
              <c:ext xmlns:c16="http://schemas.microsoft.com/office/drawing/2014/chart" uri="{C3380CC4-5D6E-409C-BE32-E72D297353CC}">
                <c16:uniqueId val="{00000003-8631-49F4-A07B-A6991EF65433}"/>
              </c:ext>
            </c:extLst>
          </c:dPt>
          <c:cat>
            <c:strRef>
              <c:f>Sheet1!$A$2:$A$3</c:f>
              <c:strCache>
                <c:ptCount val="2"/>
                <c:pt idx="0">
                  <c:v>A</c:v>
                </c:pt>
                <c:pt idx="1">
                  <c:v>B</c:v>
                </c:pt>
              </c:strCache>
            </c:strRef>
          </c:cat>
          <c:val>
            <c:numRef>
              <c:f>Sheet1!$B$2:$B$3</c:f>
              <c:numCache>
                <c:formatCode>0.00%</c:formatCode>
                <c:ptCount val="2"/>
                <c:pt idx="0">
                  <c:v>0.4</c:v>
                </c:pt>
                <c:pt idx="1">
                  <c:v>0.6</c:v>
                </c:pt>
              </c:numCache>
            </c:numRef>
          </c:val>
          <c:extLst>
            <c:ext xmlns:c16="http://schemas.microsoft.com/office/drawing/2014/chart" uri="{C3380CC4-5D6E-409C-BE32-E72D297353CC}">
              <c16:uniqueId val="{00000004-8631-49F4-A07B-A6991EF65433}"/>
            </c:ext>
          </c:extLst>
        </c:ser>
        <c:dLbls>
          <c:showLegendKey val="0"/>
          <c:showVal val="0"/>
          <c:showCatName val="0"/>
          <c:showSerName val="0"/>
          <c:showPercent val="0"/>
          <c:showBubbleSize val="0"/>
          <c:showLeaderLines val="1"/>
        </c:dLbls>
        <c:firstSliceAng val="0"/>
        <c:holeSize val="70"/>
      </c:doughnutChart>
    </c:plotArea>
    <c:plotVisOnly val="1"/>
    <c:dispBlanksAs val="zero"/>
    <c:showDLblsOverMax val="0"/>
  </c:chart>
  <c:txPr>
    <a:bodyPr/>
    <a:lstStyle/>
    <a:p>
      <a:pPr>
        <a:defRPr lang="zh-CN" sz="1800"/>
      </a:pPr>
      <a:endParaRPr lang="zh-CN"/>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697583486215701"/>
          <c:y val="8.6676963429184198E-2"/>
          <c:w val="0.66319444444444398"/>
          <c:h val="0.83771929824561397"/>
        </c:manualLayout>
      </c:layout>
      <c:doughnutChart>
        <c:varyColors val="1"/>
        <c:ser>
          <c:idx val="0"/>
          <c:order val="0"/>
          <c:tx>
            <c:strRef>
              <c:f>Sheet1!$B$1</c:f>
              <c:strCache>
                <c:ptCount val="1"/>
              </c:strCache>
            </c:strRef>
          </c:tx>
          <c:spPr>
            <a:solidFill>
              <a:srgbClr val="800080"/>
            </a:solidFill>
            <a:ln>
              <a:solidFill>
                <a:srgbClr val="800080"/>
              </a:solidFill>
            </a:ln>
          </c:spPr>
          <c:dPt>
            <c:idx val="0"/>
            <c:bubble3D val="0"/>
            <c:extLst>
              <c:ext xmlns:c16="http://schemas.microsoft.com/office/drawing/2014/chart" uri="{C3380CC4-5D6E-409C-BE32-E72D297353CC}">
                <c16:uniqueId val="{00000001-F37C-4BA8-A5ED-5B89935E1CBD}"/>
              </c:ext>
            </c:extLst>
          </c:dPt>
          <c:dPt>
            <c:idx val="1"/>
            <c:bubble3D val="0"/>
            <c:spPr>
              <a:noFill/>
              <a:ln>
                <a:solidFill>
                  <a:srgbClr val="800080"/>
                </a:solidFill>
              </a:ln>
            </c:spPr>
            <c:extLst>
              <c:ext xmlns:c16="http://schemas.microsoft.com/office/drawing/2014/chart" uri="{C3380CC4-5D6E-409C-BE32-E72D297353CC}">
                <c16:uniqueId val="{00000003-F37C-4BA8-A5ED-5B89935E1CBD}"/>
              </c:ext>
            </c:extLst>
          </c:dPt>
          <c:cat>
            <c:strRef>
              <c:f>Sheet1!$A$2:$A$3</c:f>
              <c:strCache>
                <c:ptCount val="2"/>
                <c:pt idx="0">
                  <c:v>A</c:v>
                </c:pt>
                <c:pt idx="1">
                  <c:v>B</c:v>
                </c:pt>
              </c:strCache>
            </c:strRef>
          </c:cat>
          <c:val>
            <c:numRef>
              <c:f>Sheet1!$B$2:$B$3</c:f>
              <c:numCache>
                <c:formatCode>0.00%</c:formatCode>
                <c:ptCount val="2"/>
                <c:pt idx="0">
                  <c:v>0.6</c:v>
                </c:pt>
                <c:pt idx="1">
                  <c:v>0.4</c:v>
                </c:pt>
              </c:numCache>
            </c:numRef>
          </c:val>
          <c:extLst>
            <c:ext xmlns:c16="http://schemas.microsoft.com/office/drawing/2014/chart" uri="{C3380CC4-5D6E-409C-BE32-E72D297353CC}">
              <c16:uniqueId val="{00000004-F37C-4BA8-A5ED-5B89935E1CBD}"/>
            </c:ext>
          </c:extLst>
        </c:ser>
        <c:dLbls>
          <c:showLegendKey val="0"/>
          <c:showVal val="0"/>
          <c:showCatName val="0"/>
          <c:showSerName val="0"/>
          <c:showPercent val="0"/>
          <c:showBubbleSize val="0"/>
          <c:showLeaderLines val="1"/>
        </c:dLbls>
        <c:firstSliceAng val="0"/>
        <c:holeSize val="70"/>
      </c:doughnutChart>
    </c:plotArea>
    <c:plotVisOnly val="1"/>
    <c:dispBlanksAs val="zero"/>
    <c:showDLblsOverMax val="0"/>
  </c:chart>
  <c:txPr>
    <a:bodyPr/>
    <a:lstStyle/>
    <a:p>
      <a:pPr>
        <a:defRPr lang="zh-CN" sz="1800"/>
      </a:pPr>
      <a:endParaRPr lang="zh-CN"/>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697583486215701"/>
          <c:y val="8.6676963429184198E-2"/>
          <c:w val="0.66319444444444398"/>
          <c:h val="0.83771929824561397"/>
        </c:manualLayout>
      </c:layout>
      <c:doughnutChart>
        <c:varyColors val="1"/>
        <c:ser>
          <c:idx val="0"/>
          <c:order val="0"/>
          <c:tx>
            <c:strRef>
              <c:f>Sheet1!$B$1</c:f>
              <c:strCache>
                <c:ptCount val="1"/>
              </c:strCache>
            </c:strRef>
          </c:tx>
          <c:spPr>
            <a:solidFill>
              <a:srgbClr val="800080"/>
            </a:solidFill>
            <a:ln>
              <a:solidFill>
                <a:srgbClr val="800080"/>
              </a:solidFill>
            </a:ln>
          </c:spPr>
          <c:dPt>
            <c:idx val="0"/>
            <c:bubble3D val="0"/>
            <c:extLst>
              <c:ext xmlns:c16="http://schemas.microsoft.com/office/drawing/2014/chart" uri="{C3380CC4-5D6E-409C-BE32-E72D297353CC}">
                <c16:uniqueId val="{00000001-7628-4691-ACBE-A47DBE651FAE}"/>
              </c:ext>
            </c:extLst>
          </c:dPt>
          <c:dPt>
            <c:idx val="1"/>
            <c:bubble3D val="0"/>
            <c:spPr>
              <a:noFill/>
              <a:ln>
                <a:solidFill>
                  <a:srgbClr val="800080"/>
                </a:solidFill>
              </a:ln>
            </c:spPr>
            <c:extLst>
              <c:ext xmlns:c16="http://schemas.microsoft.com/office/drawing/2014/chart" uri="{C3380CC4-5D6E-409C-BE32-E72D297353CC}">
                <c16:uniqueId val="{00000003-7628-4691-ACBE-A47DBE651FAE}"/>
              </c:ext>
            </c:extLst>
          </c:dPt>
          <c:cat>
            <c:strRef>
              <c:f>Sheet1!$A$2:$A$3</c:f>
              <c:strCache>
                <c:ptCount val="2"/>
                <c:pt idx="0">
                  <c:v>A</c:v>
                </c:pt>
                <c:pt idx="1">
                  <c:v>B</c:v>
                </c:pt>
              </c:strCache>
            </c:strRef>
          </c:cat>
          <c:val>
            <c:numRef>
              <c:f>Sheet1!$B$2:$B$3</c:f>
              <c:numCache>
                <c:formatCode>0.00%</c:formatCode>
                <c:ptCount val="2"/>
                <c:pt idx="0">
                  <c:v>0.8</c:v>
                </c:pt>
                <c:pt idx="1">
                  <c:v>0.2</c:v>
                </c:pt>
              </c:numCache>
            </c:numRef>
          </c:val>
          <c:extLst>
            <c:ext xmlns:c16="http://schemas.microsoft.com/office/drawing/2014/chart" uri="{C3380CC4-5D6E-409C-BE32-E72D297353CC}">
              <c16:uniqueId val="{00000004-7628-4691-ACBE-A47DBE651FAE}"/>
            </c:ext>
          </c:extLst>
        </c:ser>
        <c:dLbls>
          <c:showLegendKey val="0"/>
          <c:showVal val="0"/>
          <c:showCatName val="0"/>
          <c:showSerName val="0"/>
          <c:showPercent val="0"/>
          <c:showBubbleSize val="0"/>
          <c:showLeaderLines val="1"/>
        </c:dLbls>
        <c:firstSliceAng val="0"/>
        <c:holeSize val="70"/>
      </c:doughnutChart>
    </c:plotArea>
    <c:plotVisOnly val="1"/>
    <c:dispBlanksAs val="zero"/>
    <c:showDLblsOverMax val="0"/>
  </c:chart>
  <c:txPr>
    <a:bodyPr/>
    <a:lstStyle/>
    <a:p>
      <a:pPr>
        <a:defRPr lang="zh-CN" sz="1800"/>
      </a:pPr>
      <a:endParaRPr lang="zh-CN"/>
    </a:p>
  </c:tx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37B6B76-D903-4D37-9CF8-708474164980}" type="datetimeFigureOut">
              <a:rPr lang="zh-CN" altLang="en-US" smtClean="0"/>
              <a:t>2021/1/5</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D7DDB91-0BEB-4AE7-A8CC-030A5E13F857}"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D7DDB91-0BEB-4AE7-A8CC-030A5E13F857}" type="slidenum">
              <a:rPr lang="zh-CN" altLang="en-US" smtClean="0"/>
              <a:t>1</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D7DDB91-0BEB-4AE7-A8CC-030A5E13F857}" type="slidenum">
              <a:rPr lang="zh-CN" altLang="en-US" smtClean="0"/>
              <a:t>3</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D7DDB91-0BEB-4AE7-A8CC-030A5E13F857}" type="slidenum">
              <a:rPr lang="zh-CN" altLang="en-US" smtClean="0"/>
              <a:t>9</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D7DDB91-0BEB-4AE7-A8CC-030A5E13F857}" type="slidenum">
              <a:rPr lang="zh-CN" altLang="en-US" smtClean="0"/>
              <a:t>1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D7DDB91-0BEB-4AE7-A8CC-030A5E13F857}" type="slidenum">
              <a:rPr lang="zh-CN" altLang="en-US" smtClean="0"/>
              <a:t>19</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D7DDB91-0BEB-4AE7-A8CC-030A5E13F857}" type="slidenum">
              <a:rPr lang="zh-CN" altLang="en-US" smtClean="0"/>
              <a:t>24</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7819"/>
            <a:ext cx="7772400" cy="1102519"/>
          </a:xfrm>
          <a:prstGeom prst="rect">
            <a:avLst/>
          </a:prstGeom>
        </p:spPr>
        <p:txBody>
          <a:bodyPr/>
          <a:lstStyle/>
          <a:p>
            <a:r>
              <a:rPr lang="zh-CN" altLang="en-US"/>
              <a:t>单击此处编辑母版标题样式</a:t>
            </a:r>
          </a:p>
        </p:txBody>
      </p:sp>
      <p:sp>
        <p:nvSpPr>
          <p:cNvPr id="3" name="副标题 2"/>
          <p:cNvSpPr>
            <a:spLocks noGrp="1"/>
          </p:cNvSpPr>
          <p:nvPr>
            <p:ph type="subTitle" idx="1"/>
          </p:nvPr>
        </p:nvSpPr>
        <p:spPr>
          <a:xfrm>
            <a:off x="1371600" y="2914650"/>
            <a:ext cx="6400800" cy="131445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t>2021/1/5</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t>‹#›</a:t>
            </a:fld>
            <a:endParaRPr lang="zh-CN" altLang="en-US"/>
          </a:p>
        </p:txBody>
      </p:sp>
      <p:pic>
        <p:nvPicPr>
          <p:cNvPr id="7" name="Picture 2" descr="I:\PPT素材\图片素材\百张low poly 高清背景图\62.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0527" t="19203" b="24177"/>
          <a:stretch>
            <a:fillRect/>
          </a:stretch>
        </p:blipFill>
        <p:spPr bwMode="auto">
          <a:xfrm>
            <a:off x="0" y="0"/>
            <a:ext cx="9144000" cy="5143501"/>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a:xfrm>
            <a:off x="457200" y="1200151"/>
            <a:ext cx="8229600" cy="3394472"/>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t>2021/1/5</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79"/>
            <a:ext cx="2057400" cy="4388644"/>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05979"/>
            <a:ext cx="6019800" cy="4388644"/>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t>2021/1/5</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pic>
        <p:nvPicPr>
          <p:cNvPr id="7" name="Picture 2" descr="D:\搜狗高速下载\150+低平面多边形背景图\mono PNGs\1.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1250" t="31250" r="31250" b="31250"/>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7" name="Picture 2" descr="D:\搜狗高速下载\150+低平面多边形背景图\mono PNGs\1.pn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31250" t="31250" r="31250" b="31250"/>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组合 8"/>
          <p:cNvGrpSpPr/>
          <p:nvPr userDrawn="1"/>
        </p:nvGrpSpPr>
        <p:grpSpPr>
          <a:xfrm>
            <a:off x="79801" y="84773"/>
            <a:ext cx="626010" cy="372486"/>
            <a:chOff x="1591298" y="1101529"/>
            <a:chExt cx="626010" cy="372486"/>
          </a:xfrm>
        </p:grpSpPr>
        <p:sp>
          <p:nvSpPr>
            <p:cNvPr id="10" name="等腰三角形 9"/>
            <p:cNvSpPr/>
            <p:nvPr/>
          </p:nvSpPr>
          <p:spPr>
            <a:xfrm rot="170492" flipH="1">
              <a:off x="1818750" y="1305219"/>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等腰三角形 10"/>
            <p:cNvSpPr/>
            <p:nvPr/>
          </p:nvSpPr>
          <p:spPr>
            <a:xfrm rot="12111361" flipH="1" flipV="1">
              <a:off x="1869098" y="1173336"/>
              <a:ext cx="92219" cy="103997"/>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等腰三角形 11"/>
            <p:cNvSpPr/>
            <p:nvPr/>
          </p:nvSpPr>
          <p:spPr>
            <a:xfrm rot="12111361" flipH="1">
              <a:off x="1591298" y="1365333"/>
              <a:ext cx="199279" cy="84398"/>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等腰三角形 12"/>
            <p:cNvSpPr/>
            <p:nvPr/>
          </p:nvSpPr>
          <p:spPr>
            <a:xfrm rot="12111361" flipH="1">
              <a:off x="1664941" y="1101529"/>
              <a:ext cx="118605" cy="116758"/>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16" name="直接连接符 15"/>
          <p:cNvCxnSpPr/>
          <p:nvPr userDrawn="1"/>
        </p:nvCxnSpPr>
        <p:spPr>
          <a:xfrm>
            <a:off x="0" y="555526"/>
            <a:ext cx="70975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userDrawn="1"/>
        </p:nvCxnSpPr>
        <p:spPr>
          <a:xfrm>
            <a:off x="709750" y="545694"/>
            <a:ext cx="2566106" cy="0"/>
          </a:xfrm>
          <a:prstGeom prst="line">
            <a:avLst/>
          </a:prstGeom>
          <a:ln w="38100">
            <a:gradFill flip="none" rotWithShape="1">
              <a:gsLst>
                <a:gs pos="0">
                  <a:srgbClr val="00B0F0"/>
                </a:gs>
                <a:gs pos="50000">
                  <a:srgbClr val="800080"/>
                </a:gs>
                <a:gs pos="100000">
                  <a:srgbClr val="FFFF00"/>
                </a:gs>
              </a:gsLst>
              <a:lin ang="0" scaled="1"/>
              <a:tileRect/>
            </a:gra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t>2021/1/5</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151335"/>
            <a:ext cx="4040188"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1631156"/>
            <a:ext cx="4040188"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6" y="1151335"/>
            <a:ext cx="4041775"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6" y="1631156"/>
            <a:ext cx="4041775"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t>2021/1/5</a:t>
            </a:fld>
            <a:endParaRPr lang="zh-CN" altLang="en-US"/>
          </a:p>
        </p:txBody>
      </p:sp>
      <p:sp>
        <p:nvSpPr>
          <p:cNvPr id="8" name="页脚占位符 7"/>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a:lstStyle/>
          <a:p>
            <a:r>
              <a:rPr lang="zh-CN" altLang="en-US"/>
              <a:t>单击此处编辑母版标题样式</a:t>
            </a:r>
          </a:p>
        </p:txBody>
      </p:sp>
      <p:sp>
        <p:nvSpPr>
          <p:cNvPr id="3" name="日期占位符 2"/>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t>2021/1/5</a:t>
            </a:fld>
            <a:endParaRPr lang="zh-CN" altLang="en-US"/>
          </a:p>
        </p:txBody>
      </p:sp>
      <p:sp>
        <p:nvSpPr>
          <p:cNvPr id="4" name="页脚占位符 3"/>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t>2021/1/5</a:t>
            </a:fld>
            <a:endParaRPr lang="zh-CN" altLang="en-US"/>
          </a:p>
        </p:txBody>
      </p:sp>
      <p:sp>
        <p:nvSpPr>
          <p:cNvPr id="3" name="页脚占位符 2"/>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a:prstGeom prst="rect">
            <a:avLst/>
          </a:prstGeo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04788"/>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1" y="1076326"/>
            <a:ext cx="3008313"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t>2021/1/5</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a:prstGeom prst="rect">
            <a:avLst/>
          </a:prstGeo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503"/>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t>2021/1/5</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1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4.xml"/><Relationship Id="rId7" Type="http://schemas.openxmlformats.org/officeDocument/2006/relationships/chart" Target="../charts/chart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slideLayout" Target="../slideLayouts/slideLayout2.xml"/><Relationship Id="rId9" Type="http://schemas.openxmlformats.org/officeDocument/2006/relationships/chart" Target="../charts/char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4.jpe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3.xml"/><Relationship Id="rId5" Type="http://schemas.openxmlformats.org/officeDocument/2006/relationships/image" Target="../media/image21.jpeg"/><Relationship Id="rId4" Type="http://schemas.openxmlformats.org/officeDocument/2006/relationships/image" Target="../media/image20.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3.xml"/><Relationship Id="rId4" Type="http://schemas.openxmlformats.org/officeDocument/2006/relationships/image" Target="../media/image4.jpeg"/></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组合 22"/>
          <p:cNvGrpSpPr/>
          <p:nvPr/>
        </p:nvGrpSpPr>
        <p:grpSpPr>
          <a:xfrm>
            <a:off x="6652496" y="2715768"/>
            <a:ext cx="2491504" cy="2447395"/>
            <a:chOff x="4600776" y="4443960"/>
            <a:chExt cx="1150073" cy="719203"/>
          </a:xfrm>
        </p:grpSpPr>
        <p:sp>
          <p:nvSpPr>
            <p:cNvPr id="16" name="等腰三角形 15"/>
            <p:cNvSpPr/>
            <p:nvPr/>
          </p:nvSpPr>
          <p:spPr>
            <a:xfrm rot="10800000" flipH="1" flipV="1">
              <a:off x="5175338" y="4443960"/>
              <a:ext cx="575511" cy="719203"/>
            </a:xfrm>
            <a:prstGeom prst="triangle">
              <a:avLst>
                <a:gd name="adj" fmla="val 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 name="等腰三角形 16"/>
            <p:cNvSpPr/>
            <p:nvPr/>
          </p:nvSpPr>
          <p:spPr>
            <a:xfrm rot="10800000" flipH="1" flipV="1">
              <a:off x="4600776" y="4443960"/>
              <a:ext cx="575511" cy="719203"/>
            </a:xfrm>
            <a:prstGeom prst="triangle">
              <a:avLst>
                <a:gd name="adj" fmla="val 100000"/>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99" name="组合 98"/>
          <p:cNvGrpSpPr/>
          <p:nvPr/>
        </p:nvGrpSpPr>
        <p:grpSpPr>
          <a:xfrm rot="3698158">
            <a:off x="395908" y="2968456"/>
            <a:ext cx="1538506" cy="874133"/>
            <a:chOff x="4877674" y="1491629"/>
            <a:chExt cx="1430640" cy="989767"/>
          </a:xfrm>
        </p:grpSpPr>
        <p:sp>
          <p:nvSpPr>
            <p:cNvPr id="96" name="等腰三角形 95"/>
            <p:cNvSpPr/>
            <p:nvPr/>
          </p:nvSpPr>
          <p:spPr>
            <a:xfrm>
              <a:off x="4877674" y="1491629"/>
              <a:ext cx="1422518" cy="494883"/>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等腰三角形 97"/>
            <p:cNvSpPr/>
            <p:nvPr/>
          </p:nvSpPr>
          <p:spPr>
            <a:xfrm flipV="1">
              <a:off x="4885796" y="1986513"/>
              <a:ext cx="1422518" cy="494883"/>
            </a:xfrm>
            <a:prstGeom prst="triangle">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6" name="组合 25"/>
          <p:cNvGrpSpPr/>
          <p:nvPr/>
        </p:nvGrpSpPr>
        <p:grpSpPr>
          <a:xfrm>
            <a:off x="1475656" y="4155926"/>
            <a:ext cx="2147427" cy="1007240"/>
            <a:chOff x="1142447" y="4443963"/>
            <a:chExt cx="1139315" cy="719203"/>
          </a:xfrm>
        </p:grpSpPr>
        <p:sp>
          <p:nvSpPr>
            <p:cNvPr id="7" name="等腰三角形 6"/>
            <p:cNvSpPr/>
            <p:nvPr userDrawn="1"/>
          </p:nvSpPr>
          <p:spPr>
            <a:xfrm rot="10800000" flipV="1">
              <a:off x="1142447" y="4443963"/>
              <a:ext cx="575511" cy="719203"/>
            </a:xfrm>
            <a:prstGeom prst="triangle">
              <a:avLst>
                <a:gd name="adj" fmla="val 0"/>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8" name="等腰三角形 7"/>
            <p:cNvSpPr/>
            <p:nvPr userDrawn="1"/>
          </p:nvSpPr>
          <p:spPr>
            <a:xfrm rot="10800000" flipV="1">
              <a:off x="1706251" y="4443963"/>
              <a:ext cx="575511" cy="719203"/>
            </a:xfrm>
            <a:prstGeom prst="triangle">
              <a:avLst>
                <a:gd name="adj" fmla="val 100000"/>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5" name="组合 24"/>
          <p:cNvGrpSpPr/>
          <p:nvPr/>
        </p:nvGrpSpPr>
        <p:grpSpPr>
          <a:xfrm>
            <a:off x="3203849" y="4443963"/>
            <a:ext cx="1500328" cy="719203"/>
            <a:chOff x="2287615" y="4443963"/>
            <a:chExt cx="1139315" cy="719203"/>
          </a:xfrm>
        </p:grpSpPr>
        <p:sp>
          <p:nvSpPr>
            <p:cNvPr id="9" name="等腰三角形 8"/>
            <p:cNvSpPr/>
            <p:nvPr userDrawn="1"/>
          </p:nvSpPr>
          <p:spPr>
            <a:xfrm rot="10800000" flipV="1">
              <a:off x="2287615" y="4443963"/>
              <a:ext cx="575511" cy="719203"/>
            </a:xfrm>
            <a:prstGeom prst="triangle">
              <a:avLst>
                <a:gd name="adj" fmla="val 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0" name="等腰三角形 9"/>
            <p:cNvSpPr/>
            <p:nvPr userDrawn="1"/>
          </p:nvSpPr>
          <p:spPr>
            <a:xfrm rot="10800000" flipV="1">
              <a:off x="2851419" y="4443963"/>
              <a:ext cx="575511" cy="719203"/>
            </a:xfrm>
            <a:prstGeom prst="triangle">
              <a:avLst>
                <a:gd name="adj" fmla="val 100000"/>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7" name="组合 26"/>
          <p:cNvGrpSpPr/>
          <p:nvPr/>
        </p:nvGrpSpPr>
        <p:grpSpPr>
          <a:xfrm>
            <a:off x="-7028" y="4551533"/>
            <a:ext cx="1482684" cy="611633"/>
            <a:chOff x="-7028" y="4443963"/>
            <a:chExt cx="1149474" cy="719203"/>
          </a:xfrm>
        </p:grpSpPr>
        <p:sp>
          <p:nvSpPr>
            <p:cNvPr id="11" name="等腰三角形 10"/>
            <p:cNvSpPr/>
            <p:nvPr userDrawn="1"/>
          </p:nvSpPr>
          <p:spPr>
            <a:xfrm rot="10800000" flipV="1">
              <a:off x="566935" y="4443963"/>
              <a:ext cx="575511" cy="719203"/>
            </a:xfrm>
            <a:prstGeom prst="triangle">
              <a:avLst>
                <a:gd name="adj" fmla="val 100000"/>
              </a:avLst>
            </a:prstGeom>
            <a:solidFill>
              <a:srgbClr val="FFFFFF">
                <a:alpha val="5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 name="等腰三角形 11"/>
            <p:cNvSpPr/>
            <p:nvPr userDrawn="1"/>
          </p:nvSpPr>
          <p:spPr>
            <a:xfrm rot="10800000" flipV="1">
              <a:off x="-7028" y="4443963"/>
              <a:ext cx="575511" cy="719203"/>
            </a:xfrm>
            <a:prstGeom prst="triangle">
              <a:avLst>
                <a:gd name="adj" fmla="val 0"/>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4" name="组合 23"/>
          <p:cNvGrpSpPr/>
          <p:nvPr/>
        </p:nvGrpSpPr>
        <p:grpSpPr>
          <a:xfrm>
            <a:off x="4366862" y="3723878"/>
            <a:ext cx="2797426" cy="1439288"/>
            <a:chOff x="3442385" y="4443960"/>
            <a:chExt cx="1148407" cy="719206"/>
          </a:xfrm>
        </p:grpSpPr>
        <p:sp>
          <p:nvSpPr>
            <p:cNvPr id="22" name="等腰三角形 21"/>
            <p:cNvSpPr/>
            <p:nvPr/>
          </p:nvSpPr>
          <p:spPr>
            <a:xfrm rot="10800000" flipH="1" flipV="1">
              <a:off x="4015281" y="4443960"/>
              <a:ext cx="575511" cy="719203"/>
            </a:xfrm>
            <a:prstGeom prst="triangle">
              <a:avLst>
                <a:gd name="adj" fmla="val 0"/>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 name="等腰三角形 12"/>
            <p:cNvSpPr/>
            <p:nvPr userDrawn="1"/>
          </p:nvSpPr>
          <p:spPr>
            <a:xfrm rot="10800000" flipV="1">
              <a:off x="3442385" y="4443963"/>
              <a:ext cx="575511" cy="719203"/>
            </a:xfrm>
            <a:prstGeom prst="triangle">
              <a:avLst>
                <a:gd name="adj" fmla="val 0"/>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103" name="组合 102"/>
          <p:cNvGrpSpPr/>
          <p:nvPr/>
        </p:nvGrpSpPr>
        <p:grpSpPr>
          <a:xfrm rot="3698158">
            <a:off x="8312418" y="1491095"/>
            <a:ext cx="336202" cy="874133"/>
            <a:chOff x="4877674" y="1491629"/>
            <a:chExt cx="1430640" cy="989767"/>
          </a:xfrm>
        </p:grpSpPr>
        <p:sp>
          <p:nvSpPr>
            <p:cNvPr id="104" name="等腰三角形 103"/>
            <p:cNvSpPr/>
            <p:nvPr/>
          </p:nvSpPr>
          <p:spPr>
            <a:xfrm>
              <a:off x="4877674" y="1491629"/>
              <a:ext cx="1422518" cy="494883"/>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等腰三角形 104"/>
            <p:cNvSpPr/>
            <p:nvPr/>
          </p:nvSpPr>
          <p:spPr>
            <a:xfrm flipV="1">
              <a:off x="4885796" y="1986513"/>
              <a:ext cx="1422518" cy="494883"/>
            </a:xfrm>
            <a:prstGeom prst="triangle">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1" name="组合 50"/>
          <p:cNvGrpSpPr/>
          <p:nvPr/>
        </p:nvGrpSpPr>
        <p:grpSpPr>
          <a:xfrm rot="5982112">
            <a:off x="1007474" y="295098"/>
            <a:ext cx="509513" cy="470721"/>
            <a:chOff x="4877674" y="1491629"/>
            <a:chExt cx="1430640" cy="989767"/>
          </a:xfrm>
        </p:grpSpPr>
        <p:sp>
          <p:nvSpPr>
            <p:cNvPr id="52" name="等腰三角形 51"/>
            <p:cNvSpPr/>
            <p:nvPr/>
          </p:nvSpPr>
          <p:spPr>
            <a:xfrm>
              <a:off x="4877674" y="1491629"/>
              <a:ext cx="1422518" cy="494883"/>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等腰三角形 52"/>
            <p:cNvSpPr/>
            <p:nvPr/>
          </p:nvSpPr>
          <p:spPr>
            <a:xfrm flipV="1">
              <a:off x="4885796" y="1986513"/>
              <a:ext cx="1422518" cy="494883"/>
            </a:xfrm>
            <a:prstGeom prst="triangle">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矩形 14"/>
          <p:cNvSpPr/>
          <p:nvPr/>
        </p:nvSpPr>
        <p:spPr>
          <a:xfrm>
            <a:off x="1639681" y="1515622"/>
            <a:ext cx="5956655" cy="91440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4000" b="1" dirty="0">
                <a:gradFill flip="none" rotWithShape="1">
                  <a:gsLst>
                    <a:gs pos="417">
                      <a:srgbClr val="00B0F0"/>
                    </a:gs>
                    <a:gs pos="99167">
                      <a:srgbClr val="FFFF00"/>
                    </a:gs>
                    <a:gs pos="37000">
                      <a:srgbClr val="71158D"/>
                    </a:gs>
                    <a:gs pos="64000">
                      <a:srgbClr val="800080"/>
                    </a:gs>
                  </a:gsLst>
                  <a:lin ang="0" scaled="1"/>
                  <a:tileRect/>
                </a:gradFill>
                <a:latin typeface="微软雅黑" panose="020B0503020204020204" pitchFamily="34" charset="-122"/>
                <a:ea typeface="微软雅黑" panose="020B0503020204020204" pitchFamily="34" charset="-122"/>
              </a:rPr>
              <a:t>模板大全</a:t>
            </a:r>
            <a:r>
              <a:rPr lang="en-US" altLang="zh-CN" sz="4000" b="1" dirty="0">
                <a:gradFill flip="none" rotWithShape="1">
                  <a:gsLst>
                    <a:gs pos="417">
                      <a:srgbClr val="00B0F0"/>
                    </a:gs>
                    <a:gs pos="99167">
                      <a:srgbClr val="FFFF00"/>
                    </a:gs>
                    <a:gs pos="37000">
                      <a:srgbClr val="71158D"/>
                    </a:gs>
                    <a:gs pos="64000">
                      <a:srgbClr val="800080"/>
                    </a:gs>
                  </a:gsLst>
                  <a:lin ang="0" scaled="1"/>
                  <a:tileRect/>
                </a:gradFill>
                <a:latin typeface="微软雅黑" panose="020B0503020204020204" pitchFamily="34" charset="-122"/>
                <a:ea typeface="微软雅黑" panose="020B0503020204020204" pitchFamily="34" charset="-122"/>
              </a:rPr>
              <a:t> 2020-202X</a:t>
            </a:r>
            <a:endParaRPr lang="zh-CN" altLang="en-US" sz="4000" b="1" dirty="0">
              <a:gradFill flip="none" rotWithShape="1">
                <a:gsLst>
                  <a:gs pos="417">
                    <a:srgbClr val="00B0F0"/>
                  </a:gs>
                  <a:gs pos="99167">
                    <a:srgbClr val="FFFF00"/>
                  </a:gs>
                  <a:gs pos="37000">
                    <a:srgbClr val="71158D"/>
                  </a:gs>
                  <a:gs pos="64000">
                    <a:srgbClr val="800080"/>
                  </a:gs>
                </a:gsLst>
                <a:lin ang="0" scaled="1"/>
                <a:tileRect/>
              </a:gradFill>
              <a:latin typeface="微软雅黑" panose="020B0503020204020204" pitchFamily="34" charset="-122"/>
              <a:ea typeface="微软雅黑" panose="020B0503020204020204" pitchFamily="34" charset="-122"/>
            </a:endParaRPr>
          </a:p>
        </p:txBody>
      </p:sp>
      <p:grpSp>
        <p:nvGrpSpPr>
          <p:cNvPr id="2" name="组合 1"/>
          <p:cNvGrpSpPr/>
          <p:nvPr/>
        </p:nvGrpSpPr>
        <p:grpSpPr>
          <a:xfrm>
            <a:off x="7204892" y="2309998"/>
            <a:ext cx="519515" cy="457509"/>
            <a:chOff x="7004888" y="2091225"/>
            <a:chExt cx="519515" cy="457509"/>
          </a:xfrm>
        </p:grpSpPr>
        <p:sp>
          <p:nvSpPr>
            <p:cNvPr id="106" name="等腰三角形 105"/>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 name="等腰三角形 106"/>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 name="等腰三角形 111"/>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等腰三角形 49"/>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 name="组合 2"/>
          <p:cNvGrpSpPr/>
          <p:nvPr/>
        </p:nvGrpSpPr>
        <p:grpSpPr>
          <a:xfrm>
            <a:off x="1406632" y="1329379"/>
            <a:ext cx="626010" cy="372486"/>
            <a:chOff x="1591298" y="1101529"/>
            <a:chExt cx="626010" cy="372486"/>
          </a:xfrm>
        </p:grpSpPr>
        <p:sp>
          <p:nvSpPr>
            <p:cNvPr id="113" name="等腰三角形 112"/>
            <p:cNvSpPr/>
            <p:nvPr/>
          </p:nvSpPr>
          <p:spPr>
            <a:xfrm rot="170492" flipH="1">
              <a:off x="1818750" y="1305219"/>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等腰三角形 113"/>
            <p:cNvSpPr/>
            <p:nvPr/>
          </p:nvSpPr>
          <p:spPr>
            <a:xfrm rot="12111361" flipH="1" flipV="1">
              <a:off x="1869098" y="1173336"/>
              <a:ext cx="92219" cy="103997"/>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5" name="等腰三角形 114"/>
            <p:cNvSpPr/>
            <p:nvPr/>
          </p:nvSpPr>
          <p:spPr>
            <a:xfrm rot="12111361" flipH="1">
              <a:off x="1591298" y="1365333"/>
              <a:ext cx="199279" cy="84398"/>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 name="等腰三角形 115"/>
            <p:cNvSpPr/>
            <p:nvPr/>
          </p:nvSpPr>
          <p:spPr>
            <a:xfrm rot="12111361" flipH="1">
              <a:off x="1664941" y="1101529"/>
              <a:ext cx="118605" cy="116758"/>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8" name="矩形 37"/>
          <p:cNvSpPr/>
          <p:nvPr/>
        </p:nvSpPr>
        <p:spPr>
          <a:xfrm>
            <a:off x="2291504" y="2787774"/>
            <a:ext cx="4834063" cy="301638"/>
          </a:xfrm>
          <a:prstGeom prst="rect">
            <a:avLst/>
          </a:prstGeom>
          <a:solidFill>
            <a:srgbClr val="CC009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solidFill>
                  <a:schemeClr val="bg1"/>
                </a:solidFill>
                <a:latin typeface="微软雅黑" panose="020B0503020204020204" pitchFamily="34" charset="-122"/>
                <a:ea typeface="微软雅黑" panose="020B0503020204020204" pitchFamily="34" charset="-122"/>
              </a:rPr>
              <a:t>模板大全欧美高端模板系列</a:t>
            </a:r>
            <a:r>
              <a:rPr lang="en-US" altLang="zh-CN" sz="2000" dirty="0">
                <a:solidFill>
                  <a:schemeClr val="bg1"/>
                </a:solidFill>
                <a:latin typeface="微软雅黑" panose="020B0503020204020204" pitchFamily="34" charset="-122"/>
                <a:ea typeface="微软雅黑" panose="020B0503020204020204" pitchFamily="34" charset="-122"/>
              </a:rPr>
              <a:t>2020-202X</a:t>
            </a:r>
            <a:endParaRPr lang="zh-CN" altLang="en-US" sz="2000" dirty="0">
              <a:solidFill>
                <a:schemeClr val="bg1"/>
              </a:solidFill>
              <a:latin typeface="微软雅黑" panose="020B0503020204020204" pitchFamily="34" charset="-122"/>
              <a:ea typeface="微软雅黑" panose="020B0503020204020204" pitchFamily="34" charset="-122"/>
            </a:endParaRPr>
          </a:p>
        </p:txBody>
      </p:sp>
      <p:sp>
        <p:nvSpPr>
          <p:cNvPr id="4" name="矩形 3"/>
          <p:cNvSpPr/>
          <p:nvPr/>
        </p:nvSpPr>
        <p:spPr>
          <a:xfrm>
            <a:off x="3942661" y="2387084"/>
            <a:ext cx="757555" cy="368300"/>
          </a:xfrm>
          <a:prstGeom prst="rect">
            <a:avLst/>
          </a:prstGeom>
        </p:spPr>
        <p:txBody>
          <a:bodyPr wrap="none">
            <a:spAutoFit/>
          </a:bodyPr>
          <a:lstStyle/>
          <a:p>
            <a:r>
              <a:rPr lang="en-US" altLang="zh-CN"/>
              <a:t>xiazaii</a:t>
            </a:r>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1000"/>
                                        <p:tgtEl>
                                          <p:spTgt spid="27"/>
                                        </p:tgtEl>
                                      </p:cBhvr>
                                    </p:animEffect>
                                    <p:anim calcmode="lin" valueType="num">
                                      <p:cBhvr>
                                        <p:cTn id="8" dur="1000" fill="hold"/>
                                        <p:tgtEl>
                                          <p:spTgt spid="27"/>
                                        </p:tgtEl>
                                        <p:attrNameLst>
                                          <p:attrName>ppt_x</p:attrName>
                                        </p:attrNameLst>
                                      </p:cBhvr>
                                      <p:tavLst>
                                        <p:tav tm="0">
                                          <p:val>
                                            <p:strVal val="#ppt_x"/>
                                          </p:val>
                                        </p:tav>
                                        <p:tav tm="100000">
                                          <p:val>
                                            <p:strVal val="#ppt_x"/>
                                          </p:val>
                                        </p:tav>
                                      </p:tavLst>
                                    </p:anim>
                                    <p:anim calcmode="lin" valueType="num">
                                      <p:cBhvr>
                                        <p:cTn id="9" dur="1000" fill="hold"/>
                                        <p:tgtEl>
                                          <p:spTgt spid="27"/>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5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1000"/>
                                        <p:tgtEl>
                                          <p:spTgt spid="26"/>
                                        </p:tgtEl>
                                      </p:cBhvr>
                                    </p:animEffect>
                                    <p:anim calcmode="lin" valueType="num">
                                      <p:cBhvr>
                                        <p:cTn id="13" dur="1000" fill="hold"/>
                                        <p:tgtEl>
                                          <p:spTgt spid="26"/>
                                        </p:tgtEl>
                                        <p:attrNameLst>
                                          <p:attrName>ppt_x</p:attrName>
                                        </p:attrNameLst>
                                      </p:cBhvr>
                                      <p:tavLst>
                                        <p:tav tm="0">
                                          <p:val>
                                            <p:strVal val="#ppt_x"/>
                                          </p:val>
                                        </p:tav>
                                        <p:tav tm="100000">
                                          <p:val>
                                            <p:strVal val="#ppt_x"/>
                                          </p:val>
                                        </p:tav>
                                      </p:tavLst>
                                    </p:anim>
                                    <p:anim calcmode="lin" valueType="num">
                                      <p:cBhvr>
                                        <p:cTn id="14" dur="1000" fill="hold"/>
                                        <p:tgtEl>
                                          <p:spTgt spid="2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1000"/>
                                        <p:tgtEl>
                                          <p:spTgt spid="25"/>
                                        </p:tgtEl>
                                      </p:cBhvr>
                                    </p:animEffect>
                                    <p:anim calcmode="lin" valueType="num">
                                      <p:cBhvr>
                                        <p:cTn id="18" dur="1000" fill="hold"/>
                                        <p:tgtEl>
                                          <p:spTgt spid="25"/>
                                        </p:tgtEl>
                                        <p:attrNameLst>
                                          <p:attrName>ppt_x</p:attrName>
                                        </p:attrNameLst>
                                      </p:cBhvr>
                                      <p:tavLst>
                                        <p:tav tm="0">
                                          <p:val>
                                            <p:strVal val="#ppt_x"/>
                                          </p:val>
                                        </p:tav>
                                        <p:tav tm="100000">
                                          <p:val>
                                            <p:strVal val="#ppt_x"/>
                                          </p:val>
                                        </p:tav>
                                      </p:tavLst>
                                    </p:anim>
                                    <p:anim calcmode="lin" valueType="num">
                                      <p:cBhvr>
                                        <p:cTn id="19" dur="1000" fill="hold"/>
                                        <p:tgtEl>
                                          <p:spTgt spid="25"/>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75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1000"/>
                                        <p:tgtEl>
                                          <p:spTgt spid="24"/>
                                        </p:tgtEl>
                                      </p:cBhvr>
                                    </p:animEffect>
                                    <p:anim calcmode="lin" valueType="num">
                                      <p:cBhvr>
                                        <p:cTn id="23" dur="1000" fill="hold"/>
                                        <p:tgtEl>
                                          <p:spTgt spid="24"/>
                                        </p:tgtEl>
                                        <p:attrNameLst>
                                          <p:attrName>ppt_x</p:attrName>
                                        </p:attrNameLst>
                                      </p:cBhvr>
                                      <p:tavLst>
                                        <p:tav tm="0">
                                          <p:val>
                                            <p:strVal val="#ppt_x"/>
                                          </p:val>
                                        </p:tav>
                                        <p:tav tm="100000">
                                          <p:val>
                                            <p:strVal val="#ppt_x"/>
                                          </p:val>
                                        </p:tav>
                                      </p:tavLst>
                                    </p:anim>
                                    <p:anim calcmode="lin" valueType="num">
                                      <p:cBhvr>
                                        <p:cTn id="24" dur="1000" fill="hold"/>
                                        <p:tgtEl>
                                          <p:spTgt spid="24"/>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23"/>
                                        </p:tgtEl>
                                        <p:attrNameLst>
                                          <p:attrName>style.visibility</p:attrName>
                                        </p:attrNameLst>
                                      </p:cBhvr>
                                      <p:to>
                                        <p:strVal val="visible"/>
                                      </p:to>
                                    </p:set>
                                    <p:animEffect transition="in" filter="fade">
                                      <p:cBhvr>
                                        <p:cTn id="27" dur="1000"/>
                                        <p:tgtEl>
                                          <p:spTgt spid="23"/>
                                        </p:tgtEl>
                                      </p:cBhvr>
                                    </p:animEffect>
                                    <p:anim calcmode="lin" valueType="num">
                                      <p:cBhvr>
                                        <p:cTn id="28" dur="1000" fill="hold"/>
                                        <p:tgtEl>
                                          <p:spTgt spid="23"/>
                                        </p:tgtEl>
                                        <p:attrNameLst>
                                          <p:attrName>ppt_x</p:attrName>
                                        </p:attrNameLst>
                                      </p:cBhvr>
                                      <p:tavLst>
                                        <p:tav tm="0">
                                          <p:val>
                                            <p:strVal val="#ppt_x"/>
                                          </p:val>
                                        </p:tav>
                                        <p:tav tm="100000">
                                          <p:val>
                                            <p:strVal val="#ppt_x"/>
                                          </p:val>
                                        </p:tav>
                                      </p:tavLst>
                                    </p:anim>
                                    <p:anim calcmode="lin" valueType="num">
                                      <p:cBhvr>
                                        <p:cTn id="29" dur="1000" fill="hold"/>
                                        <p:tgtEl>
                                          <p:spTgt spid="23"/>
                                        </p:tgtEl>
                                        <p:attrNameLst>
                                          <p:attrName>ppt_y</p:attrName>
                                        </p:attrNameLst>
                                      </p:cBhvr>
                                      <p:tavLst>
                                        <p:tav tm="0">
                                          <p:val>
                                            <p:strVal val="#ppt_y+.1"/>
                                          </p:val>
                                        </p:tav>
                                        <p:tav tm="100000">
                                          <p:val>
                                            <p:strVal val="#ppt_y"/>
                                          </p:val>
                                        </p:tav>
                                      </p:tavLst>
                                    </p:anim>
                                  </p:childTnLst>
                                </p:cTn>
                              </p:par>
                            </p:childTnLst>
                          </p:cTn>
                        </p:par>
                        <p:par>
                          <p:cTn id="30" fill="hold">
                            <p:stCondLst>
                              <p:cond delay="1000"/>
                            </p:stCondLst>
                            <p:childTnLst>
                              <p:par>
                                <p:cTn id="31" presetID="22" presetClass="entr" presetSubtype="1" fill="hold" grpId="0"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wipe(up)">
                                      <p:cBhvr>
                                        <p:cTn id="33" dur="500"/>
                                        <p:tgtEl>
                                          <p:spTgt spid="15"/>
                                        </p:tgtEl>
                                      </p:cBhvr>
                                    </p:animEffect>
                                  </p:childTnLst>
                                </p:cTn>
                              </p:par>
                              <p:par>
                                <p:cTn id="34" presetID="31" presetClass="entr" presetSubtype="0" fill="hold" nodeType="withEffect">
                                  <p:stCondLst>
                                    <p:cond delay="0"/>
                                  </p:stCondLst>
                                  <p:childTnLst>
                                    <p:set>
                                      <p:cBhvr>
                                        <p:cTn id="35" dur="1" fill="hold">
                                          <p:stCondLst>
                                            <p:cond delay="0"/>
                                          </p:stCondLst>
                                        </p:cTn>
                                        <p:tgtEl>
                                          <p:spTgt spid="3"/>
                                        </p:tgtEl>
                                        <p:attrNameLst>
                                          <p:attrName>style.visibility</p:attrName>
                                        </p:attrNameLst>
                                      </p:cBhvr>
                                      <p:to>
                                        <p:strVal val="visible"/>
                                      </p:to>
                                    </p:set>
                                    <p:anim calcmode="lin" valueType="num">
                                      <p:cBhvr>
                                        <p:cTn id="36" dur="1000" fill="hold"/>
                                        <p:tgtEl>
                                          <p:spTgt spid="3"/>
                                        </p:tgtEl>
                                        <p:attrNameLst>
                                          <p:attrName>ppt_w</p:attrName>
                                        </p:attrNameLst>
                                      </p:cBhvr>
                                      <p:tavLst>
                                        <p:tav tm="0">
                                          <p:val>
                                            <p:fltVal val="0"/>
                                          </p:val>
                                        </p:tav>
                                        <p:tav tm="100000">
                                          <p:val>
                                            <p:strVal val="#ppt_w"/>
                                          </p:val>
                                        </p:tav>
                                      </p:tavLst>
                                    </p:anim>
                                    <p:anim calcmode="lin" valueType="num">
                                      <p:cBhvr>
                                        <p:cTn id="37" dur="1000" fill="hold"/>
                                        <p:tgtEl>
                                          <p:spTgt spid="3"/>
                                        </p:tgtEl>
                                        <p:attrNameLst>
                                          <p:attrName>ppt_h</p:attrName>
                                        </p:attrNameLst>
                                      </p:cBhvr>
                                      <p:tavLst>
                                        <p:tav tm="0">
                                          <p:val>
                                            <p:fltVal val="0"/>
                                          </p:val>
                                        </p:tav>
                                        <p:tav tm="100000">
                                          <p:val>
                                            <p:strVal val="#ppt_h"/>
                                          </p:val>
                                        </p:tav>
                                      </p:tavLst>
                                    </p:anim>
                                    <p:anim calcmode="lin" valueType="num">
                                      <p:cBhvr>
                                        <p:cTn id="38" dur="1000" fill="hold"/>
                                        <p:tgtEl>
                                          <p:spTgt spid="3"/>
                                        </p:tgtEl>
                                        <p:attrNameLst>
                                          <p:attrName>style.rotation</p:attrName>
                                        </p:attrNameLst>
                                      </p:cBhvr>
                                      <p:tavLst>
                                        <p:tav tm="0">
                                          <p:val>
                                            <p:fltVal val="90"/>
                                          </p:val>
                                        </p:tav>
                                        <p:tav tm="100000">
                                          <p:val>
                                            <p:fltVal val="0"/>
                                          </p:val>
                                        </p:tav>
                                      </p:tavLst>
                                    </p:anim>
                                    <p:animEffect transition="in" filter="fade">
                                      <p:cBhvr>
                                        <p:cTn id="39" dur="1000"/>
                                        <p:tgtEl>
                                          <p:spTgt spid="3"/>
                                        </p:tgtEl>
                                      </p:cBhvr>
                                    </p:animEffect>
                                  </p:childTnLst>
                                </p:cTn>
                              </p:par>
                              <p:par>
                                <p:cTn id="40" presetID="31" presetClass="entr" presetSubtype="0" fill="hold" nodeType="withEffect">
                                  <p:stCondLst>
                                    <p:cond delay="500"/>
                                  </p:stCondLst>
                                  <p:childTnLst>
                                    <p:set>
                                      <p:cBhvr>
                                        <p:cTn id="41" dur="1" fill="hold">
                                          <p:stCondLst>
                                            <p:cond delay="0"/>
                                          </p:stCondLst>
                                        </p:cTn>
                                        <p:tgtEl>
                                          <p:spTgt spid="2"/>
                                        </p:tgtEl>
                                        <p:attrNameLst>
                                          <p:attrName>style.visibility</p:attrName>
                                        </p:attrNameLst>
                                      </p:cBhvr>
                                      <p:to>
                                        <p:strVal val="visible"/>
                                      </p:to>
                                    </p:set>
                                    <p:anim calcmode="lin" valueType="num">
                                      <p:cBhvr>
                                        <p:cTn id="42" dur="1000" fill="hold"/>
                                        <p:tgtEl>
                                          <p:spTgt spid="2"/>
                                        </p:tgtEl>
                                        <p:attrNameLst>
                                          <p:attrName>ppt_w</p:attrName>
                                        </p:attrNameLst>
                                      </p:cBhvr>
                                      <p:tavLst>
                                        <p:tav tm="0">
                                          <p:val>
                                            <p:fltVal val="0"/>
                                          </p:val>
                                        </p:tav>
                                        <p:tav tm="100000">
                                          <p:val>
                                            <p:strVal val="#ppt_w"/>
                                          </p:val>
                                        </p:tav>
                                      </p:tavLst>
                                    </p:anim>
                                    <p:anim calcmode="lin" valueType="num">
                                      <p:cBhvr>
                                        <p:cTn id="43" dur="1000" fill="hold"/>
                                        <p:tgtEl>
                                          <p:spTgt spid="2"/>
                                        </p:tgtEl>
                                        <p:attrNameLst>
                                          <p:attrName>ppt_h</p:attrName>
                                        </p:attrNameLst>
                                      </p:cBhvr>
                                      <p:tavLst>
                                        <p:tav tm="0">
                                          <p:val>
                                            <p:fltVal val="0"/>
                                          </p:val>
                                        </p:tav>
                                        <p:tav tm="100000">
                                          <p:val>
                                            <p:strVal val="#ppt_h"/>
                                          </p:val>
                                        </p:tav>
                                      </p:tavLst>
                                    </p:anim>
                                    <p:anim calcmode="lin" valueType="num">
                                      <p:cBhvr>
                                        <p:cTn id="44" dur="1000" fill="hold"/>
                                        <p:tgtEl>
                                          <p:spTgt spid="2"/>
                                        </p:tgtEl>
                                        <p:attrNameLst>
                                          <p:attrName>style.rotation</p:attrName>
                                        </p:attrNameLst>
                                      </p:cBhvr>
                                      <p:tavLst>
                                        <p:tav tm="0">
                                          <p:val>
                                            <p:fltVal val="90"/>
                                          </p:val>
                                        </p:tav>
                                        <p:tav tm="100000">
                                          <p:val>
                                            <p:fltVal val="0"/>
                                          </p:val>
                                        </p:tav>
                                      </p:tavLst>
                                    </p:anim>
                                    <p:animEffect transition="in" filter="fade">
                                      <p:cBhvr>
                                        <p:cTn id="45" dur="1000"/>
                                        <p:tgtEl>
                                          <p:spTgt spid="2"/>
                                        </p:tgtEl>
                                      </p:cBhvr>
                                    </p:animEffect>
                                  </p:childTnLst>
                                </p:cTn>
                              </p:par>
                              <p:par>
                                <p:cTn id="46" presetID="22" presetClass="entr" presetSubtype="1" fill="hold" grpId="0" nodeType="withEffect">
                                  <p:stCondLst>
                                    <p:cond delay="500"/>
                                  </p:stCondLst>
                                  <p:childTnLst>
                                    <p:set>
                                      <p:cBhvr>
                                        <p:cTn id="47" dur="1" fill="hold">
                                          <p:stCondLst>
                                            <p:cond delay="0"/>
                                          </p:stCondLst>
                                        </p:cTn>
                                        <p:tgtEl>
                                          <p:spTgt spid="38"/>
                                        </p:tgtEl>
                                        <p:attrNameLst>
                                          <p:attrName>style.visibility</p:attrName>
                                        </p:attrNameLst>
                                      </p:cBhvr>
                                      <p:to>
                                        <p:strVal val="visible"/>
                                      </p:to>
                                    </p:set>
                                    <p:animEffect transition="in" filter="wipe(up)">
                                      <p:cBhvr>
                                        <p:cTn id="48"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38"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5375" y="931701"/>
            <a:ext cx="1751366" cy="369332"/>
          </a:xfrm>
          <a:prstGeom prst="rect">
            <a:avLst/>
          </a:prstGeom>
          <a:solidFill>
            <a:srgbClr val="800080"/>
          </a:solidFill>
        </p:spPr>
        <p:txBody>
          <a:bodyPr wrap="square" rtlCol="0">
            <a:spAutoFit/>
          </a:bodyPr>
          <a:lstStyle/>
          <a:p>
            <a:r>
              <a:rPr lang="en-US" altLang="zh-CN" b="1" dirty="0">
                <a:solidFill>
                  <a:schemeClr val="bg1"/>
                </a:solidFill>
              </a:rPr>
              <a:t>TEXT  HERE</a:t>
            </a:r>
            <a:endParaRPr lang="zh-CN" altLang="en-US" b="1" dirty="0">
              <a:solidFill>
                <a:schemeClr val="bg1"/>
              </a:solidFill>
            </a:endParaRPr>
          </a:p>
        </p:txBody>
      </p:sp>
      <p:grpSp>
        <p:nvGrpSpPr>
          <p:cNvPr id="3" name="组合 2"/>
          <p:cNvGrpSpPr/>
          <p:nvPr/>
        </p:nvGrpSpPr>
        <p:grpSpPr>
          <a:xfrm>
            <a:off x="2356983" y="887612"/>
            <a:ext cx="519515" cy="457509"/>
            <a:chOff x="7004888" y="2091225"/>
            <a:chExt cx="519515" cy="457509"/>
          </a:xfrm>
        </p:grpSpPr>
        <p:sp>
          <p:nvSpPr>
            <p:cNvPr id="4" name="等腰三角形 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等腰三角形 4"/>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等腰三角形 5"/>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等腰三角形 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8" name="TextBox 7"/>
          <p:cNvSpPr txBox="1"/>
          <p:nvPr/>
        </p:nvSpPr>
        <p:spPr>
          <a:xfrm>
            <a:off x="827583" y="1477399"/>
            <a:ext cx="2128637" cy="1754326"/>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You can click here to enter you text. You can click here to enter you text. </a:t>
            </a:r>
            <a:endParaRPr lang="zh-CN" altLang="en-US" sz="1200" dirty="0">
              <a:solidFill>
                <a:schemeClr val="tx1">
                  <a:lumMod val="75000"/>
                  <a:lumOff val="25000"/>
                </a:schemeClr>
              </a:solidFill>
            </a:endParaRPr>
          </a:p>
        </p:txBody>
      </p:sp>
      <p:grpSp>
        <p:nvGrpSpPr>
          <p:cNvPr id="14" name="组合 13"/>
          <p:cNvGrpSpPr/>
          <p:nvPr/>
        </p:nvGrpSpPr>
        <p:grpSpPr>
          <a:xfrm>
            <a:off x="3209913" y="-797610"/>
            <a:ext cx="5933666" cy="2020717"/>
            <a:chOff x="3209913" y="-797610"/>
            <a:chExt cx="5933666" cy="2020717"/>
          </a:xfrm>
        </p:grpSpPr>
        <p:pic>
          <p:nvPicPr>
            <p:cNvPr id="9"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6766" t="19203" r="18133" b="48780"/>
            <a:stretch>
              <a:fillRect/>
            </a:stretch>
          </p:blipFill>
          <p:spPr bwMode="auto">
            <a:xfrm rot="18874727">
              <a:off x="4776170" y="-797610"/>
              <a:ext cx="1333632" cy="1333632"/>
            </a:xfrm>
            <a:prstGeom prst="rtTriangle">
              <a:avLst/>
            </a:prstGeom>
            <a:noFill/>
            <a:extLst>
              <a:ext uri="{909E8E84-426E-40DD-AFC4-6F175D3DCCD1}">
                <a14:hiddenFill xmlns:a14="http://schemas.microsoft.com/office/drawing/2010/main">
                  <a:solidFill>
                    <a:srgbClr val="FFFFFF"/>
                  </a:solidFill>
                </a14:hiddenFill>
              </a:ext>
            </a:extLst>
          </p:spPr>
        </p:pic>
        <p:sp>
          <p:nvSpPr>
            <p:cNvPr id="10" name="等腰三角形 9"/>
            <p:cNvSpPr/>
            <p:nvPr/>
          </p:nvSpPr>
          <p:spPr>
            <a:xfrm rot="16200000">
              <a:off x="5562312" y="-60993"/>
              <a:ext cx="1219850" cy="1348350"/>
            </a:xfrm>
            <a:custGeom>
              <a:avLst/>
              <a:gdLst>
                <a:gd name="connsiteX0" fmla="*/ 0 w 1058488"/>
                <a:gd name="connsiteY0" fmla="*/ 1090164 h 1090164"/>
                <a:gd name="connsiteX1" fmla="*/ 529244 w 1058488"/>
                <a:gd name="connsiteY1" fmla="*/ 0 h 1090164"/>
                <a:gd name="connsiteX2" fmla="*/ 1058488 w 1058488"/>
                <a:gd name="connsiteY2" fmla="*/ 1090164 h 1090164"/>
                <a:gd name="connsiteX3" fmla="*/ 0 w 1058488"/>
                <a:gd name="connsiteY3" fmla="*/ 1090164 h 1090164"/>
                <a:gd name="connsiteX0-1" fmla="*/ 0 w 1338187"/>
                <a:gd name="connsiteY0-2" fmla="*/ 1090164 h 1090164"/>
                <a:gd name="connsiteX1-3" fmla="*/ 529244 w 1338187"/>
                <a:gd name="connsiteY1-4" fmla="*/ 0 h 1090164"/>
                <a:gd name="connsiteX2-5" fmla="*/ 1338187 w 1338187"/>
                <a:gd name="connsiteY2-6" fmla="*/ 799707 h 1090164"/>
                <a:gd name="connsiteX3-7" fmla="*/ 0 w 1338187"/>
                <a:gd name="connsiteY3-8" fmla="*/ 1090164 h 1090164"/>
                <a:gd name="connsiteX0-9" fmla="*/ 0 w 1219850"/>
                <a:gd name="connsiteY0-10" fmla="*/ 1348350 h 1348350"/>
                <a:gd name="connsiteX1-11" fmla="*/ 410907 w 1219850"/>
                <a:gd name="connsiteY1-12" fmla="*/ 0 h 1348350"/>
                <a:gd name="connsiteX2-13" fmla="*/ 1219850 w 1219850"/>
                <a:gd name="connsiteY2-14" fmla="*/ 799707 h 1348350"/>
                <a:gd name="connsiteX3-15" fmla="*/ 0 w 1219850"/>
                <a:gd name="connsiteY3-16" fmla="*/ 1348350 h 1348350"/>
              </a:gdLst>
              <a:ahLst/>
              <a:cxnLst>
                <a:cxn ang="0">
                  <a:pos x="connsiteX0-1" y="connsiteY0-2"/>
                </a:cxn>
                <a:cxn ang="0">
                  <a:pos x="connsiteX1-3" y="connsiteY1-4"/>
                </a:cxn>
                <a:cxn ang="0">
                  <a:pos x="connsiteX2-5" y="connsiteY2-6"/>
                </a:cxn>
                <a:cxn ang="0">
                  <a:pos x="connsiteX3-7" y="connsiteY3-8"/>
                </a:cxn>
              </a:cxnLst>
              <a:rect l="l" t="t" r="r" b="b"/>
              <a:pathLst>
                <a:path w="1219850" h="1348350">
                  <a:moveTo>
                    <a:pt x="0" y="1348350"/>
                  </a:moveTo>
                  <a:lnTo>
                    <a:pt x="410907" y="0"/>
                  </a:lnTo>
                  <a:lnTo>
                    <a:pt x="1219850" y="799707"/>
                  </a:lnTo>
                  <a:lnTo>
                    <a:pt x="0" y="1348350"/>
                  </a:lnTo>
                  <a:close/>
                </a:path>
              </a:pathLst>
            </a:cu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1"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6766" t="19203" r="18133" b="48780"/>
            <a:stretch>
              <a:fillRect/>
            </a:stretch>
          </p:blipFill>
          <p:spPr bwMode="auto">
            <a:xfrm rot="20084185">
              <a:off x="6561961" y="-333315"/>
              <a:ext cx="1320273" cy="1320273"/>
            </a:xfrm>
            <a:prstGeom prst="rtTriangle">
              <a:avLst/>
            </a:prstGeom>
            <a:noFill/>
            <a:extLst>
              <a:ext uri="{909E8E84-426E-40DD-AFC4-6F175D3DCCD1}">
                <a14:hiddenFill xmlns:a14="http://schemas.microsoft.com/office/drawing/2010/main">
                  <a:solidFill>
                    <a:srgbClr val="FFFFFF"/>
                  </a:solidFill>
                </a14:hiddenFill>
              </a:ext>
            </a:extLst>
          </p:spPr>
        </p:pic>
        <p:sp>
          <p:nvSpPr>
            <p:cNvPr id="12" name="等腰三角形 9"/>
            <p:cNvSpPr/>
            <p:nvPr/>
          </p:nvSpPr>
          <p:spPr>
            <a:xfrm rot="16200000">
              <a:off x="7461447" y="-1075608"/>
              <a:ext cx="606665" cy="2757598"/>
            </a:xfrm>
            <a:custGeom>
              <a:avLst/>
              <a:gdLst>
                <a:gd name="connsiteX0" fmla="*/ 0 w 1058488"/>
                <a:gd name="connsiteY0" fmla="*/ 1090164 h 1090164"/>
                <a:gd name="connsiteX1" fmla="*/ 529244 w 1058488"/>
                <a:gd name="connsiteY1" fmla="*/ 0 h 1090164"/>
                <a:gd name="connsiteX2" fmla="*/ 1058488 w 1058488"/>
                <a:gd name="connsiteY2" fmla="*/ 1090164 h 1090164"/>
                <a:gd name="connsiteX3" fmla="*/ 0 w 1058488"/>
                <a:gd name="connsiteY3" fmla="*/ 1090164 h 1090164"/>
                <a:gd name="connsiteX0-1" fmla="*/ 0 w 1338187"/>
                <a:gd name="connsiteY0-2" fmla="*/ 1090164 h 1090164"/>
                <a:gd name="connsiteX1-3" fmla="*/ 529244 w 1338187"/>
                <a:gd name="connsiteY1-4" fmla="*/ 0 h 1090164"/>
                <a:gd name="connsiteX2-5" fmla="*/ 1338187 w 1338187"/>
                <a:gd name="connsiteY2-6" fmla="*/ 799707 h 1090164"/>
                <a:gd name="connsiteX3-7" fmla="*/ 0 w 1338187"/>
                <a:gd name="connsiteY3-8" fmla="*/ 1090164 h 1090164"/>
                <a:gd name="connsiteX0-9" fmla="*/ 0 w 1219850"/>
                <a:gd name="connsiteY0-10" fmla="*/ 1348350 h 1348350"/>
                <a:gd name="connsiteX1-11" fmla="*/ 410907 w 1219850"/>
                <a:gd name="connsiteY1-12" fmla="*/ 0 h 1348350"/>
                <a:gd name="connsiteX2-13" fmla="*/ 1219850 w 1219850"/>
                <a:gd name="connsiteY2-14" fmla="*/ 799707 h 1348350"/>
                <a:gd name="connsiteX3-15" fmla="*/ 0 w 1219850"/>
                <a:gd name="connsiteY3-16" fmla="*/ 1348350 h 1348350"/>
                <a:gd name="connsiteX0-17" fmla="*/ 0 w 1413488"/>
                <a:gd name="connsiteY0-18" fmla="*/ 1724868 h 1724868"/>
                <a:gd name="connsiteX1-19" fmla="*/ 604545 w 1413488"/>
                <a:gd name="connsiteY1-20" fmla="*/ 0 h 1724868"/>
                <a:gd name="connsiteX2-21" fmla="*/ 1413488 w 1413488"/>
                <a:gd name="connsiteY2-22" fmla="*/ 799707 h 1724868"/>
                <a:gd name="connsiteX3-23" fmla="*/ 0 w 1413488"/>
                <a:gd name="connsiteY3-24" fmla="*/ 1724868 h 1724868"/>
                <a:gd name="connsiteX0-25" fmla="*/ 0 w 606665"/>
                <a:gd name="connsiteY0-26" fmla="*/ 1724868 h 2757598"/>
                <a:gd name="connsiteX1-27" fmla="*/ 604545 w 606665"/>
                <a:gd name="connsiteY1-28" fmla="*/ 0 h 2757598"/>
                <a:gd name="connsiteX2-29" fmla="*/ 606665 w 606665"/>
                <a:gd name="connsiteY2-30" fmla="*/ 2757598 h 2757598"/>
                <a:gd name="connsiteX3-31" fmla="*/ 0 w 606665"/>
                <a:gd name="connsiteY3-32" fmla="*/ 1724868 h 2757598"/>
              </a:gdLst>
              <a:ahLst/>
              <a:cxnLst>
                <a:cxn ang="0">
                  <a:pos x="connsiteX0-1" y="connsiteY0-2"/>
                </a:cxn>
                <a:cxn ang="0">
                  <a:pos x="connsiteX1-3" y="connsiteY1-4"/>
                </a:cxn>
                <a:cxn ang="0">
                  <a:pos x="connsiteX2-5" y="connsiteY2-6"/>
                </a:cxn>
                <a:cxn ang="0">
                  <a:pos x="connsiteX3-7" y="connsiteY3-8"/>
                </a:cxn>
              </a:cxnLst>
              <a:rect l="l" t="t" r="r" b="b"/>
              <a:pathLst>
                <a:path w="606665" h="2757598">
                  <a:moveTo>
                    <a:pt x="0" y="1724868"/>
                  </a:moveTo>
                  <a:lnTo>
                    <a:pt x="604545" y="0"/>
                  </a:lnTo>
                  <a:cubicBezTo>
                    <a:pt x="605252" y="919199"/>
                    <a:pt x="605958" y="1838399"/>
                    <a:pt x="606665" y="2757598"/>
                  </a:cubicBezTo>
                  <a:lnTo>
                    <a:pt x="0" y="1724868"/>
                  </a:lnTo>
                  <a:close/>
                </a:path>
              </a:pathLst>
            </a:cu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等腰三角形 9"/>
            <p:cNvSpPr/>
            <p:nvPr/>
          </p:nvSpPr>
          <p:spPr>
            <a:xfrm rot="16200000">
              <a:off x="3875831" y="-682387"/>
              <a:ext cx="851970" cy="2183806"/>
            </a:xfrm>
            <a:custGeom>
              <a:avLst/>
              <a:gdLst>
                <a:gd name="connsiteX0" fmla="*/ 0 w 1058488"/>
                <a:gd name="connsiteY0" fmla="*/ 1090164 h 1090164"/>
                <a:gd name="connsiteX1" fmla="*/ 529244 w 1058488"/>
                <a:gd name="connsiteY1" fmla="*/ 0 h 1090164"/>
                <a:gd name="connsiteX2" fmla="*/ 1058488 w 1058488"/>
                <a:gd name="connsiteY2" fmla="*/ 1090164 h 1090164"/>
                <a:gd name="connsiteX3" fmla="*/ 0 w 1058488"/>
                <a:gd name="connsiteY3" fmla="*/ 1090164 h 1090164"/>
                <a:gd name="connsiteX0-1" fmla="*/ 0 w 1338187"/>
                <a:gd name="connsiteY0-2" fmla="*/ 1090164 h 1090164"/>
                <a:gd name="connsiteX1-3" fmla="*/ 529244 w 1338187"/>
                <a:gd name="connsiteY1-4" fmla="*/ 0 h 1090164"/>
                <a:gd name="connsiteX2-5" fmla="*/ 1338187 w 1338187"/>
                <a:gd name="connsiteY2-6" fmla="*/ 799707 h 1090164"/>
                <a:gd name="connsiteX3-7" fmla="*/ 0 w 1338187"/>
                <a:gd name="connsiteY3-8" fmla="*/ 1090164 h 1090164"/>
                <a:gd name="connsiteX0-9" fmla="*/ 0 w 1219850"/>
                <a:gd name="connsiteY0-10" fmla="*/ 1348350 h 1348350"/>
                <a:gd name="connsiteX1-11" fmla="*/ 410907 w 1219850"/>
                <a:gd name="connsiteY1-12" fmla="*/ 0 h 1348350"/>
                <a:gd name="connsiteX2-13" fmla="*/ 1219850 w 1219850"/>
                <a:gd name="connsiteY2-14" fmla="*/ 799707 h 1348350"/>
                <a:gd name="connsiteX3-15" fmla="*/ 0 w 1219850"/>
                <a:gd name="connsiteY3-16" fmla="*/ 1348350 h 1348350"/>
                <a:gd name="connsiteX0-17" fmla="*/ 0 w 1058485"/>
                <a:gd name="connsiteY0-18" fmla="*/ 2477903 h 2477903"/>
                <a:gd name="connsiteX1-19" fmla="*/ 249542 w 1058485"/>
                <a:gd name="connsiteY1-20" fmla="*/ 0 h 2477903"/>
                <a:gd name="connsiteX2-21" fmla="*/ 1058485 w 1058485"/>
                <a:gd name="connsiteY2-22" fmla="*/ 799707 h 2477903"/>
                <a:gd name="connsiteX3-23" fmla="*/ 0 w 1058485"/>
                <a:gd name="connsiteY3-24" fmla="*/ 2477903 h 2477903"/>
                <a:gd name="connsiteX0-25" fmla="*/ 415313 w 664855"/>
                <a:gd name="connsiteY0-26" fmla="*/ 2477903 h 2477903"/>
                <a:gd name="connsiteX1-27" fmla="*/ 664855 w 664855"/>
                <a:gd name="connsiteY1-28" fmla="*/ 0 h 2477903"/>
                <a:gd name="connsiteX2-29" fmla="*/ 0 w 664855"/>
                <a:gd name="connsiteY2-30" fmla="*/ 745918 h 2477903"/>
                <a:gd name="connsiteX3-31" fmla="*/ 415313 w 664855"/>
                <a:gd name="connsiteY3-32" fmla="*/ 2477903 h 2477903"/>
                <a:gd name="connsiteX0-33" fmla="*/ 415313 w 1267283"/>
                <a:gd name="connsiteY0-34" fmla="*/ 1731985 h 1731985"/>
                <a:gd name="connsiteX1-35" fmla="*/ 1267283 w 1267283"/>
                <a:gd name="connsiteY1-36" fmla="*/ 889245 h 1731985"/>
                <a:gd name="connsiteX2-37" fmla="*/ 0 w 1267283"/>
                <a:gd name="connsiteY2-38" fmla="*/ 0 h 1731985"/>
                <a:gd name="connsiteX3-39" fmla="*/ 415313 w 1267283"/>
                <a:gd name="connsiteY3-40" fmla="*/ 1731985 h 1731985"/>
                <a:gd name="connsiteX0-41" fmla="*/ 0 w 851970"/>
                <a:gd name="connsiteY0-42" fmla="*/ 2183806 h 2183806"/>
                <a:gd name="connsiteX1-43" fmla="*/ 851970 w 851970"/>
                <a:gd name="connsiteY1-44" fmla="*/ 1341066 h 2183806"/>
                <a:gd name="connsiteX2-45" fmla="*/ 832574 w 851970"/>
                <a:gd name="connsiteY2-46" fmla="*/ 0 h 2183806"/>
                <a:gd name="connsiteX3-47" fmla="*/ 0 w 851970"/>
                <a:gd name="connsiteY3-48" fmla="*/ 2183806 h 2183806"/>
              </a:gdLst>
              <a:ahLst/>
              <a:cxnLst>
                <a:cxn ang="0">
                  <a:pos x="connsiteX0-1" y="connsiteY0-2"/>
                </a:cxn>
                <a:cxn ang="0">
                  <a:pos x="connsiteX1-3" y="connsiteY1-4"/>
                </a:cxn>
                <a:cxn ang="0">
                  <a:pos x="connsiteX2-5" y="connsiteY2-6"/>
                </a:cxn>
                <a:cxn ang="0">
                  <a:pos x="connsiteX3-7" y="connsiteY3-8"/>
                </a:cxn>
              </a:cxnLst>
              <a:rect l="l" t="t" r="r" b="b"/>
              <a:pathLst>
                <a:path w="851970" h="2183806">
                  <a:moveTo>
                    <a:pt x="0" y="2183806"/>
                  </a:moveTo>
                  <a:lnTo>
                    <a:pt x="851970" y="1341066"/>
                  </a:lnTo>
                  <a:lnTo>
                    <a:pt x="832574" y="0"/>
                  </a:lnTo>
                  <a:lnTo>
                    <a:pt x="0" y="2183806"/>
                  </a:lnTo>
                  <a:close/>
                </a:path>
              </a:pathLst>
            </a:cu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aphicFrame>
        <p:nvGraphicFramePr>
          <p:cNvPr id="27" name="图表 26"/>
          <p:cNvGraphicFramePr/>
          <p:nvPr/>
        </p:nvGraphicFramePr>
        <p:xfrm>
          <a:off x="3068787" y="1489678"/>
          <a:ext cx="6039224" cy="2930098"/>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Box 14"/>
          <p:cNvSpPr txBox="1"/>
          <p:nvPr/>
        </p:nvSpPr>
        <p:spPr>
          <a:xfrm>
            <a:off x="174682" y="228693"/>
            <a:ext cx="2877711" cy="523220"/>
          </a:xfrm>
          <a:prstGeom prst="rect">
            <a:avLst/>
          </a:prstGeom>
          <a:noFill/>
        </p:spPr>
        <p:txBody>
          <a:bodyPr wrap="none" rtlCol="0">
            <a:spAutoFit/>
          </a:bodyPr>
          <a:lstStyle/>
          <a:p>
            <a:pPr algn="ctr"/>
            <a:r>
              <a:rPr lang="en-US" altLang="zh-CN" sz="2800" b="1" dirty="0">
                <a:solidFill>
                  <a:srgbClr val="800080"/>
                </a:solidFill>
                <a:latin typeface="Adobe Gothic Std B" pitchFamily="34" charset="-128"/>
                <a:ea typeface="Adobe Gothic Std B" pitchFamily="34" charset="-128"/>
              </a:rPr>
              <a:t>ADD YOUR TEXT</a:t>
            </a:r>
            <a:endParaRPr lang="zh-CN" altLang="en-US" sz="2800" b="1" dirty="0">
              <a:solidFill>
                <a:srgbClr val="800080"/>
              </a:solidFill>
              <a:latin typeface="Adobe Gothic Std B" pitchFamily="34" charset="-128"/>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2" presetClass="entr" presetSubtype="1" fill="hold"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up)">
                                      <p:cBhvr>
                                        <p:cTn id="12" dur="500"/>
                                        <p:tgtEl>
                                          <p:spTgt spid="14"/>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childTnLst>
                          </p:cTn>
                        </p:par>
                        <p:par>
                          <p:cTn id="17" fill="hold">
                            <p:stCondLst>
                              <p:cond delay="1500"/>
                            </p:stCondLst>
                            <p:childTnLst>
                              <p:par>
                                <p:cTn id="18" presetID="31" presetClass="entr" presetSubtype="0"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p:cTn id="20" dur="500" fill="hold"/>
                                        <p:tgtEl>
                                          <p:spTgt spid="3"/>
                                        </p:tgtEl>
                                        <p:attrNameLst>
                                          <p:attrName>ppt_w</p:attrName>
                                        </p:attrNameLst>
                                      </p:cBhvr>
                                      <p:tavLst>
                                        <p:tav tm="0">
                                          <p:val>
                                            <p:fltVal val="0"/>
                                          </p:val>
                                        </p:tav>
                                        <p:tav tm="100000">
                                          <p:val>
                                            <p:strVal val="#ppt_w"/>
                                          </p:val>
                                        </p:tav>
                                      </p:tavLst>
                                    </p:anim>
                                    <p:anim calcmode="lin" valueType="num">
                                      <p:cBhvr>
                                        <p:cTn id="21" dur="500" fill="hold"/>
                                        <p:tgtEl>
                                          <p:spTgt spid="3"/>
                                        </p:tgtEl>
                                        <p:attrNameLst>
                                          <p:attrName>ppt_h</p:attrName>
                                        </p:attrNameLst>
                                      </p:cBhvr>
                                      <p:tavLst>
                                        <p:tav tm="0">
                                          <p:val>
                                            <p:fltVal val="0"/>
                                          </p:val>
                                        </p:tav>
                                        <p:tav tm="100000">
                                          <p:val>
                                            <p:strVal val="#ppt_h"/>
                                          </p:val>
                                        </p:tav>
                                      </p:tavLst>
                                    </p:anim>
                                    <p:anim calcmode="lin" valueType="num">
                                      <p:cBhvr>
                                        <p:cTn id="22" dur="500" fill="hold"/>
                                        <p:tgtEl>
                                          <p:spTgt spid="3"/>
                                        </p:tgtEl>
                                        <p:attrNameLst>
                                          <p:attrName>style.rotation</p:attrName>
                                        </p:attrNameLst>
                                      </p:cBhvr>
                                      <p:tavLst>
                                        <p:tav tm="0">
                                          <p:val>
                                            <p:fltVal val="90"/>
                                          </p:val>
                                        </p:tav>
                                        <p:tav tm="100000">
                                          <p:val>
                                            <p:fltVal val="0"/>
                                          </p:val>
                                        </p:tav>
                                      </p:tavLst>
                                    </p:anim>
                                    <p:animEffect transition="in" filter="fade">
                                      <p:cBhvr>
                                        <p:cTn id="23" dur="500"/>
                                        <p:tgtEl>
                                          <p:spTgt spid="3"/>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par>
                          <p:cTn id="28" fill="hold">
                            <p:stCondLst>
                              <p:cond delay="2500"/>
                            </p:stCondLst>
                            <p:childTnLst>
                              <p:par>
                                <p:cTn id="29" presetID="22" presetClass="entr" presetSubtype="8" fill="hold" grpId="0" nodeType="after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wipe(left)">
                                      <p:cBhvr>
                                        <p:cTn id="3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p:bldGraphic spid="27" grpId="0">
        <p:bldAsOne/>
      </p:bldGraphic>
      <p:bldP spid="1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直接连接符 27"/>
          <p:cNvCxnSpPr>
            <a:stCxn id="15" idx="2"/>
            <a:endCxn id="16" idx="6"/>
          </p:cNvCxnSpPr>
          <p:nvPr/>
        </p:nvCxnSpPr>
        <p:spPr>
          <a:xfrm flipH="1">
            <a:off x="5490038" y="3829231"/>
            <a:ext cx="1602242" cy="561023"/>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11" idx="7"/>
          </p:cNvCxnSpPr>
          <p:nvPr/>
        </p:nvCxnSpPr>
        <p:spPr>
          <a:xfrm flipH="1">
            <a:off x="3958524" y="2534027"/>
            <a:ext cx="871816" cy="710947"/>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13" idx="7"/>
          </p:cNvCxnSpPr>
          <p:nvPr/>
        </p:nvCxnSpPr>
        <p:spPr>
          <a:xfrm flipV="1">
            <a:off x="7573364" y="1851670"/>
            <a:ext cx="300740" cy="572317"/>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endCxn id="8" idx="6"/>
          </p:cNvCxnSpPr>
          <p:nvPr/>
        </p:nvCxnSpPr>
        <p:spPr>
          <a:xfrm flipH="1">
            <a:off x="4230529" y="2296018"/>
            <a:ext cx="1709623" cy="948956"/>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2"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0527" t="19203" r="11894" b="24177"/>
          <a:stretch>
            <a:fillRect/>
          </a:stretch>
        </p:blipFill>
        <p:spPr bwMode="auto">
          <a:xfrm flipV="1">
            <a:off x="0" y="-3"/>
            <a:ext cx="6300192" cy="3435847"/>
          </a:xfrm>
          <a:prstGeom prst="rtTriangle">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884512" y="713256"/>
            <a:ext cx="4104456" cy="1026179"/>
          </a:xfrm>
          <a:custGeom>
            <a:avLst/>
            <a:gdLst>
              <a:gd name="connsiteX0" fmla="*/ 0 w 4104456"/>
              <a:gd name="connsiteY0" fmla="*/ 0 h 1004664"/>
              <a:gd name="connsiteX1" fmla="*/ 4104456 w 4104456"/>
              <a:gd name="connsiteY1" fmla="*/ 0 h 1004664"/>
              <a:gd name="connsiteX2" fmla="*/ 4104456 w 4104456"/>
              <a:gd name="connsiteY2" fmla="*/ 1004664 h 1004664"/>
              <a:gd name="connsiteX3" fmla="*/ 0 w 4104456"/>
              <a:gd name="connsiteY3" fmla="*/ 1004664 h 1004664"/>
              <a:gd name="connsiteX4" fmla="*/ 0 w 4104456"/>
              <a:gd name="connsiteY4" fmla="*/ 0 h 1004664"/>
              <a:gd name="connsiteX0-1" fmla="*/ 0 w 4104456"/>
              <a:gd name="connsiteY0-2" fmla="*/ 0 h 1026179"/>
              <a:gd name="connsiteX1-3" fmla="*/ 4104456 w 4104456"/>
              <a:gd name="connsiteY1-4" fmla="*/ 0 h 1026179"/>
              <a:gd name="connsiteX2-5" fmla="*/ 2329444 w 4104456"/>
              <a:gd name="connsiteY2-6" fmla="*/ 1026179 h 1026179"/>
              <a:gd name="connsiteX3-7" fmla="*/ 0 w 4104456"/>
              <a:gd name="connsiteY3-8" fmla="*/ 1004664 h 1026179"/>
              <a:gd name="connsiteX4-9" fmla="*/ 0 w 4104456"/>
              <a:gd name="connsiteY4-10" fmla="*/ 0 h 102617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4104456" h="1026179">
                <a:moveTo>
                  <a:pt x="0" y="0"/>
                </a:moveTo>
                <a:lnTo>
                  <a:pt x="4104456" y="0"/>
                </a:lnTo>
                <a:lnTo>
                  <a:pt x="2329444" y="1026179"/>
                </a:lnTo>
                <a:lnTo>
                  <a:pt x="0" y="1004664"/>
                </a:lnTo>
                <a:lnTo>
                  <a:pt x="0" y="0"/>
                </a:lnTo>
                <a:close/>
              </a:path>
            </a:pathLst>
          </a:custGeom>
          <a:solidFill>
            <a:srgbClr val="FFFFFF">
              <a:alpha val="6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800080"/>
              </a:solidFill>
            </a:endParaRPr>
          </a:p>
        </p:txBody>
      </p:sp>
      <p:sp>
        <p:nvSpPr>
          <p:cNvPr id="5" name="TextBox 4"/>
          <p:cNvSpPr txBox="1"/>
          <p:nvPr/>
        </p:nvSpPr>
        <p:spPr>
          <a:xfrm>
            <a:off x="1082254" y="965368"/>
            <a:ext cx="259648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en-US" altLang="zh-CN" dirty="0"/>
              <a:t>ADD YOUR TEXT</a:t>
            </a:r>
            <a:endParaRPr lang="zh-CN" altLang="en-US" dirty="0"/>
          </a:p>
        </p:txBody>
      </p:sp>
      <p:sp>
        <p:nvSpPr>
          <p:cNvPr id="6" name="椭圆 5"/>
          <p:cNvSpPr/>
          <p:nvPr/>
        </p:nvSpPr>
        <p:spPr>
          <a:xfrm>
            <a:off x="7503375" y="899180"/>
            <a:ext cx="1115993" cy="1115993"/>
          </a:xfrm>
          <a:prstGeom prst="ellipse">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椭圆 6"/>
          <p:cNvSpPr/>
          <p:nvPr/>
        </p:nvSpPr>
        <p:spPr>
          <a:xfrm>
            <a:off x="5490038" y="2112615"/>
            <a:ext cx="1054968" cy="1054968"/>
          </a:xfrm>
          <a:prstGeom prst="ellipse">
            <a:avLst/>
          </a:prstGeom>
          <a:solidFill>
            <a:srgbClr val="CC009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椭圆 7"/>
          <p:cNvSpPr/>
          <p:nvPr/>
        </p:nvSpPr>
        <p:spPr>
          <a:xfrm>
            <a:off x="3316129" y="2787774"/>
            <a:ext cx="914400" cy="914400"/>
          </a:xfrm>
          <a:prstGeom prst="ellipse">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p:cNvSpPr/>
          <p:nvPr/>
        </p:nvSpPr>
        <p:spPr>
          <a:xfrm>
            <a:off x="3760565" y="2197039"/>
            <a:ext cx="197958" cy="197958"/>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5940152" y="3763791"/>
            <a:ext cx="1054968" cy="1054968"/>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p:cNvSpPr/>
          <p:nvPr/>
        </p:nvSpPr>
        <p:spPr>
          <a:xfrm>
            <a:off x="4745856" y="2519532"/>
            <a:ext cx="98979" cy="98979"/>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p:cNvSpPr/>
          <p:nvPr/>
        </p:nvSpPr>
        <p:spPr>
          <a:xfrm>
            <a:off x="8061371" y="2717490"/>
            <a:ext cx="98979" cy="98979"/>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椭圆 12"/>
          <p:cNvSpPr/>
          <p:nvPr/>
        </p:nvSpPr>
        <p:spPr>
          <a:xfrm>
            <a:off x="7404396" y="2394997"/>
            <a:ext cx="197958" cy="197958"/>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p:cNvSpPr/>
          <p:nvPr/>
        </p:nvSpPr>
        <p:spPr>
          <a:xfrm>
            <a:off x="7740352" y="4011910"/>
            <a:ext cx="98979" cy="98979"/>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p:cNvSpPr/>
          <p:nvPr/>
        </p:nvSpPr>
        <p:spPr>
          <a:xfrm>
            <a:off x="7092280" y="3730252"/>
            <a:ext cx="197958" cy="197958"/>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5"/>
          <p:cNvSpPr/>
          <p:nvPr/>
        </p:nvSpPr>
        <p:spPr>
          <a:xfrm>
            <a:off x="5292080" y="4291275"/>
            <a:ext cx="197958" cy="197958"/>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22"/>
          <p:cNvCxnSpPr>
            <a:stCxn id="13" idx="6"/>
            <a:endCxn id="12" idx="5"/>
          </p:cNvCxnSpPr>
          <p:nvPr/>
        </p:nvCxnSpPr>
        <p:spPr>
          <a:xfrm>
            <a:off x="7602354" y="2493976"/>
            <a:ext cx="543501" cy="307998"/>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11" idx="0"/>
            <a:endCxn id="9" idx="6"/>
          </p:cNvCxnSpPr>
          <p:nvPr/>
        </p:nvCxnSpPr>
        <p:spPr>
          <a:xfrm flipH="1" flipV="1">
            <a:off x="3958523" y="2296018"/>
            <a:ext cx="836823" cy="223514"/>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14" idx="0"/>
            <a:endCxn id="15" idx="6"/>
          </p:cNvCxnSpPr>
          <p:nvPr/>
        </p:nvCxnSpPr>
        <p:spPr>
          <a:xfrm flipH="1" flipV="1">
            <a:off x="7290238" y="3829231"/>
            <a:ext cx="499604" cy="182679"/>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13" idx="4"/>
            <a:endCxn id="15" idx="0"/>
          </p:cNvCxnSpPr>
          <p:nvPr/>
        </p:nvCxnSpPr>
        <p:spPr>
          <a:xfrm flipH="1">
            <a:off x="7191259" y="2592955"/>
            <a:ext cx="312116" cy="1137297"/>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0" name="直接连接符 49"/>
          <p:cNvCxnSpPr>
            <a:endCxn id="7" idx="7"/>
          </p:cNvCxnSpPr>
          <p:nvPr/>
        </p:nvCxnSpPr>
        <p:spPr>
          <a:xfrm flipH="1" flipV="1">
            <a:off x="6390510" y="2267111"/>
            <a:ext cx="1013887" cy="226865"/>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5864848" y="1210249"/>
            <a:ext cx="1425390" cy="369332"/>
          </a:xfrm>
          <a:prstGeom prst="rect">
            <a:avLst/>
          </a:prstGeom>
          <a:noFill/>
        </p:spPr>
        <p:txBody>
          <a:bodyPr wrap="none" rtlCol="0">
            <a:spAutoFit/>
          </a:bodyPr>
          <a:lstStyle/>
          <a:p>
            <a:r>
              <a:rPr lang="en-US" altLang="zh-CN" b="1" dirty="0">
                <a:solidFill>
                  <a:srgbClr val="800080"/>
                </a:solidFill>
              </a:rPr>
              <a:t>TEXT  HERE &gt;</a:t>
            </a:r>
            <a:endParaRPr lang="zh-CN" altLang="en-US" b="1" dirty="0">
              <a:solidFill>
                <a:srgbClr val="800080"/>
              </a:solidFill>
            </a:endParaRPr>
          </a:p>
        </p:txBody>
      </p:sp>
      <p:sp>
        <p:nvSpPr>
          <p:cNvPr id="55" name="TextBox 54"/>
          <p:cNvSpPr txBox="1"/>
          <p:nvPr/>
        </p:nvSpPr>
        <p:spPr>
          <a:xfrm>
            <a:off x="1744174" y="3060308"/>
            <a:ext cx="1425390" cy="369332"/>
          </a:xfrm>
          <a:prstGeom prst="rect">
            <a:avLst/>
          </a:prstGeom>
          <a:noFill/>
        </p:spPr>
        <p:txBody>
          <a:bodyPr wrap="none" rtlCol="0">
            <a:spAutoFit/>
          </a:bodyPr>
          <a:lstStyle/>
          <a:p>
            <a:r>
              <a:rPr lang="en-US" altLang="zh-CN" b="1" dirty="0">
                <a:solidFill>
                  <a:srgbClr val="800080"/>
                </a:solidFill>
              </a:rPr>
              <a:t>TEXT  HERE &gt;</a:t>
            </a:r>
            <a:endParaRPr lang="zh-CN" altLang="en-US" b="1" dirty="0">
              <a:solidFill>
                <a:srgbClr val="800080"/>
              </a:solidFill>
            </a:endParaRPr>
          </a:p>
        </p:txBody>
      </p:sp>
      <p:sp>
        <p:nvSpPr>
          <p:cNvPr id="56" name="TextBox 55"/>
          <p:cNvSpPr txBox="1"/>
          <p:nvPr/>
        </p:nvSpPr>
        <p:spPr>
          <a:xfrm>
            <a:off x="4505934" y="4489233"/>
            <a:ext cx="1425390" cy="369332"/>
          </a:xfrm>
          <a:prstGeom prst="rect">
            <a:avLst/>
          </a:prstGeom>
          <a:noFill/>
        </p:spPr>
        <p:txBody>
          <a:bodyPr wrap="none" rtlCol="0">
            <a:spAutoFit/>
          </a:bodyPr>
          <a:lstStyle/>
          <a:p>
            <a:r>
              <a:rPr lang="en-US" altLang="zh-CN" b="1" dirty="0">
                <a:solidFill>
                  <a:srgbClr val="800080"/>
                </a:solidFill>
              </a:rPr>
              <a:t>TEXT  HERE &gt;</a:t>
            </a:r>
            <a:endParaRPr lang="zh-CN" altLang="en-US" b="1" dirty="0">
              <a:solidFill>
                <a:srgbClr val="800080"/>
              </a:solidFill>
            </a:endParaRPr>
          </a:p>
        </p:txBody>
      </p:sp>
      <p:sp>
        <p:nvSpPr>
          <p:cNvPr id="57" name="TextBox 56"/>
          <p:cNvSpPr txBox="1"/>
          <p:nvPr/>
        </p:nvSpPr>
        <p:spPr>
          <a:xfrm>
            <a:off x="5186716" y="3167583"/>
            <a:ext cx="1425390" cy="369332"/>
          </a:xfrm>
          <a:prstGeom prst="rect">
            <a:avLst/>
          </a:prstGeom>
          <a:noFill/>
        </p:spPr>
        <p:txBody>
          <a:bodyPr wrap="none" rtlCol="0">
            <a:spAutoFit/>
          </a:bodyPr>
          <a:lstStyle/>
          <a:p>
            <a:r>
              <a:rPr lang="en-US" altLang="zh-CN" b="1" dirty="0">
                <a:solidFill>
                  <a:srgbClr val="800080"/>
                </a:solidFill>
              </a:rPr>
              <a:t>TEXT  HERE &gt;</a:t>
            </a:r>
            <a:endParaRPr lang="zh-CN" altLang="en-US" b="1" dirty="0">
              <a:solidFill>
                <a:srgbClr val="800080"/>
              </a:solidFill>
            </a:endParaRPr>
          </a:p>
        </p:txBody>
      </p:sp>
      <p:sp>
        <p:nvSpPr>
          <p:cNvPr id="58" name="KSO_Shape"/>
          <p:cNvSpPr/>
          <p:nvPr/>
        </p:nvSpPr>
        <p:spPr bwMode="auto">
          <a:xfrm>
            <a:off x="3606790" y="2981325"/>
            <a:ext cx="333077" cy="527298"/>
          </a:xfrm>
          <a:custGeom>
            <a:avLst/>
            <a:gdLst>
              <a:gd name="T0" fmla="*/ 752466 w 3864"/>
              <a:gd name="T1" fmla="*/ 18704 h 6111"/>
              <a:gd name="T2" fmla="*/ 914176 w 3864"/>
              <a:gd name="T3" fmla="*/ 86973 h 6111"/>
              <a:gd name="T4" fmla="*/ 1037561 w 3864"/>
              <a:gd name="T5" fmla="*/ 186728 h 6111"/>
              <a:gd name="T6" fmla="*/ 1138202 w 3864"/>
              <a:gd name="T7" fmla="*/ 327631 h 6111"/>
              <a:gd name="T8" fmla="*/ 1194598 w 3864"/>
              <a:gd name="T9" fmla="*/ 495344 h 6111"/>
              <a:gd name="T10" fmla="*/ 1198025 w 3864"/>
              <a:gd name="T11" fmla="*/ 684254 h 6111"/>
              <a:gd name="T12" fmla="*/ 1120442 w 3864"/>
              <a:gd name="T13" fmla="*/ 908390 h 6111"/>
              <a:gd name="T14" fmla="*/ 995186 w 3864"/>
              <a:gd name="T15" fmla="*/ 1057710 h 6111"/>
              <a:gd name="T16" fmla="*/ 1019490 w 3864"/>
              <a:gd name="T17" fmla="*/ 1234774 h 6111"/>
              <a:gd name="T18" fmla="*/ 1022605 w 3864"/>
              <a:gd name="T19" fmla="*/ 1374431 h 6111"/>
              <a:gd name="T20" fmla="*/ 1029772 w 3864"/>
              <a:gd name="T21" fmla="*/ 1510658 h 6111"/>
              <a:gd name="T22" fmla="*/ 994252 w 3864"/>
              <a:gd name="T23" fmla="*/ 1669642 h 6111"/>
              <a:gd name="T24" fmla="*/ 192556 w 3864"/>
              <a:gd name="T25" fmla="*/ 1612283 h 6111"/>
              <a:gd name="T26" fmla="*/ 208135 w 3864"/>
              <a:gd name="T27" fmla="*/ 1505982 h 6111"/>
              <a:gd name="T28" fmla="*/ 192556 w 3864"/>
              <a:gd name="T29" fmla="*/ 1387523 h 6111"/>
              <a:gd name="T30" fmla="*/ 208135 w 3864"/>
              <a:gd name="T31" fmla="*/ 1281222 h 6111"/>
              <a:gd name="T32" fmla="*/ 217171 w 3864"/>
              <a:gd name="T33" fmla="*/ 1065191 h 6111"/>
              <a:gd name="T34" fmla="*/ 87242 w 3864"/>
              <a:gd name="T35" fmla="*/ 914624 h 6111"/>
              <a:gd name="T36" fmla="*/ 5920 w 3864"/>
              <a:gd name="T37" fmla="*/ 686124 h 6111"/>
              <a:gd name="T38" fmla="*/ 9347 w 3864"/>
              <a:gd name="T39" fmla="*/ 495344 h 6111"/>
              <a:gd name="T40" fmla="*/ 66055 w 3864"/>
              <a:gd name="T41" fmla="*/ 327631 h 6111"/>
              <a:gd name="T42" fmla="*/ 166072 w 3864"/>
              <a:gd name="T43" fmla="*/ 186728 h 6111"/>
              <a:gd name="T44" fmla="*/ 289769 w 3864"/>
              <a:gd name="T45" fmla="*/ 86973 h 6111"/>
              <a:gd name="T46" fmla="*/ 451479 w 3864"/>
              <a:gd name="T47" fmla="*/ 18704 h 6111"/>
              <a:gd name="T48" fmla="*/ 469551 w 3864"/>
              <a:gd name="T49" fmla="*/ 716986 h 6111"/>
              <a:gd name="T50" fmla="*/ 518157 w 3864"/>
              <a:gd name="T51" fmla="*/ 721350 h 6111"/>
              <a:gd name="T52" fmla="*/ 583589 w 3864"/>
              <a:gd name="T53" fmla="*/ 726338 h 6111"/>
              <a:gd name="T54" fmla="*/ 636869 w 3864"/>
              <a:gd name="T55" fmla="*/ 711375 h 6111"/>
              <a:gd name="T56" fmla="*/ 708844 w 3864"/>
              <a:gd name="T57" fmla="*/ 728208 h 6111"/>
              <a:gd name="T58" fmla="*/ 798891 w 3864"/>
              <a:gd name="T59" fmla="*/ 1184273 h 6111"/>
              <a:gd name="T60" fmla="*/ 933805 w 3864"/>
              <a:gd name="T61" fmla="*/ 944863 h 6111"/>
              <a:gd name="T62" fmla="*/ 1034134 w 3864"/>
              <a:gd name="T63" fmla="*/ 803648 h 6111"/>
              <a:gd name="T64" fmla="*/ 1078378 w 3864"/>
              <a:gd name="T65" fmla="*/ 618790 h 6111"/>
              <a:gd name="T66" fmla="*/ 1064046 w 3864"/>
              <a:gd name="T67" fmla="*/ 482563 h 6111"/>
              <a:gd name="T68" fmla="*/ 1009519 w 3864"/>
              <a:gd name="T69" fmla="*/ 354440 h 6111"/>
              <a:gd name="T70" fmla="*/ 930689 w 3864"/>
              <a:gd name="T71" fmla="*/ 256868 h 6111"/>
              <a:gd name="T72" fmla="*/ 819144 w 3864"/>
              <a:gd name="T73" fmla="*/ 177064 h 6111"/>
              <a:gd name="T74" fmla="*/ 686411 w 3864"/>
              <a:gd name="T75" fmla="*/ 132175 h 6111"/>
              <a:gd name="T76" fmla="*/ 553054 w 3864"/>
              <a:gd name="T77" fmla="*/ 127187 h 6111"/>
              <a:gd name="T78" fmla="*/ 415959 w 3864"/>
              <a:gd name="T79" fmla="*/ 162413 h 6111"/>
              <a:gd name="T80" fmla="*/ 298494 w 3864"/>
              <a:gd name="T81" fmla="*/ 234111 h 6111"/>
              <a:gd name="T82" fmla="*/ 213121 w 3864"/>
              <a:gd name="T83" fmla="*/ 326073 h 6111"/>
              <a:gd name="T84" fmla="*/ 150182 w 3864"/>
              <a:gd name="T85" fmla="*/ 448895 h 6111"/>
              <a:gd name="T86" fmla="*/ 125255 w 3864"/>
              <a:gd name="T87" fmla="*/ 589799 h 6111"/>
              <a:gd name="T88" fmla="*/ 152674 w 3864"/>
              <a:gd name="T89" fmla="*/ 764057 h 6111"/>
              <a:gd name="T90" fmla="*/ 242098 w 3864"/>
              <a:gd name="T91" fmla="*/ 915560 h 6111"/>
              <a:gd name="T92" fmla="*/ 415959 w 3864"/>
              <a:gd name="T93" fmla="*/ 1043682 h 6111"/>
              <a:gd name="T94" fmla="*/ 711649 w 3864"/>
              <a:gd name="T95" fmla="*/ 759070 h 6111"/>
              <a:gd name="T96" fmla="*/ 637181 w 3864"/>
              <a:gd name="T97" fmla="*/ 750965 h 6111"/>
              <a:gd name="T98" fmla="*/ 565829 w 3864"/>
              <a:gd name="T99" fmla="*/ 752835 h 6111"/>
              <a:gd name="T100" fmla="*/ 499151 w 3864"/>
              <a:gd name="T101" fmla="*/ 755641 h 6111"/>
              <a:gd name="T102" fmla="*/ 724735 w 3864"/>
              <a:gd name="T103" fmla="*/ 757199 h 6111"/>
              <a:gd name="T104" fmla="*/ 459580 w 3864"/>
              <a:gd name="T105" fmla="*/ 1821144 h 6111"/>
              <a:gd name="T106" fmla="*/ 525012 w 3864"/>
              <a:gd name="T107" fmla="*/ 1883802 h 6111"/>
              <a:gd name="T108" fmla="*/ 607893 w 3864"/>
              <a:gd name="T109" fmla="*/ 1905000 h 6111"/>
              <a:gd name="T110" fmla="*/ 704794 w 3864"/>
              <a:gd name="T111" fmla="*/ 1875385 h 6111"/>
              <a:gd name="T112" fmla="*/ 767421 w 3864"/>
              <a:gd name="T113" fmla="*/ 1799323 h 6111"/>
              <a:gd name="T114" fmla="*/ 906075 w 3864"/>
              <a:gd name="T115" fmla="*/ 1524998 h 6111"/>
              <a:gd name="T116" fmla="*/ 906698 w 3864"/>
              <a:gd name="T117" fmla="*/ 1530609 h 6111"/>
              <a:gd name="T118" fmla="*/ 906075 w 3864"/>
              <a:gd name="T119" fmla="*/ 1319254 h 611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864" h="6111">
                <a:moveTo>
                  <a:pt x="1932" y="0"/>
                </a:moveTo>
                <a:lnTo>
                  <a:pt x="1932" y="0"/>
                </a:lnTo>
                <a:lnTo>
                  <a:pt x="1982" y="0"/>
                </a:lnTo>
                <a:lnTo>
                  <a:pt x="2031" y="2"/>
                </a:lnTo>
                <a:lnTo>
                  <a:pt x="2081" y="5"/>
                </a:lnTo>
                <a:lnTo>
                  <a:pt x="2129" y="9"/>
                </a:lnTo>
                <a:lnTo>
                  <a:pt x="2178" y="15"/>
                </a:lnTo>
                <a:lnTo>
                  <a:pt x="2226" y="22"/>
                </a:lnTo>
                <a:lnTo>
                  <a:pt x="2273" y="30"/>
                </a:lnTo>
                <a:lnTo>
                  <a:pt x="2321" y="39"/>
                </a:lnTo>
                <a:lnTo>
                  <a:pt x="2367" y="48"/>
                </a:lnTo>
                <a:lnTo>
                  <a:pt x="2415" y="60"/>
                </a:lnTo>
                <a:lnTo>
                  <a:pt x="2460" y="73"/>
                </a:lnTo>
                <a:lnTo>
                  <a:pt x="2507" y="87"/>
                </a:lnTo>
                <a:lnTo>
                  <a:pt x="2551" y="101"/>
                </a:lnTo>
                <a:lnTo>
                  <a:pt x="2596" y="117"/>
                </a:lnTo>
                <a:lnTo>
                  <a:pt x="2640" y="133"/>
                </a:lnTo>
                <a:lnTo>
                  <a:pt x="2683" y="152"/>
                </a:lnTo>
                <a:lnTo>
                  <a:pt x="2727" y="170"/>
                </a:lnTo>
                <a:lnTo>
                  <a:pt x="2769" y="190"/>
                </a:lnTo>
                <a:lnTo>
                  <a:pt x="2811" y="211"/>
                </a:lnTo>
                <a:lnTo>
                  <a:pt x="2853" y="233"/>
                </a:lnTo>
                <a:lnTo>
                  <a:pt x="2893" y="255"/>
                </a:lnTo>
                <a:lnTo>
                  <a:pt x="2934" y="279"/>
                </a:lnTo>
                <a:lnTo>
                  <a:pt x="2973" y="304"/>
                </a:lnTo>
                <a:lnTo>
                  <a:pt x="3012" y="329"/>
                </a:lnTo>
                <a:lnTo>
                  <a:pt x="3050" y="356"/>
                </a:lnTo>
                <a:lnTo>
                  <a:pt x="3087" y="383"/>
                </a:lnTo>
                <a:lnTo>
                  <a:pt x="3124" y="412"/>
                </a:lnTo>
                <a:lnTo>
                  <a:pt x="3160" y="441"/>
                </a:lnTo>
                <a:lnTo>
                  <a:pt x="3196" y="471"/>
                </a:lnTo>
                <a:lnTo>
                  <a:pt x="3231" y="501"/>
                </a:lnTo>
                <a:lnTo>
                  <a:pt x="3265" y="532"/>
                </a:lnTo>
                <a:lnTo>
                  <a:pt x="3297" y="565"/>
                </a:lnTo>
                <a:lnTo>
                  <a:pt x="3330" y="599"/>
                </a:lnTo>
                <a:lnTo>
                  <a:pt x="3362" y="632"/>
                </a:lnTo>
                <a:lnTo>
                  <a:pt x="3393" y="667"/>
                </a:lnTo>
                <a:lnTo>
                  <a:pt x="3423" y="702"/>
                </a:lnTo>
                <a:lnTo>
                  <a:pt x="3452" y="739"/>
                </a:lnTo>
                <a:lnTo>
                  <a:pt x="3480" y="775"/>
                </a:lnTo>
                <a:lnTo>
                  <a:pt x="3507" y="813"/>
                </a:lnTo>
                <a:lnTo>
                  <a:pt x="3534" y="852"/>
                </a:lnTo>
                <a:lnTo>
                  <a:pt x="3560" y="890"/>
                </a:lnTo>
                <a:lnTo>
                  <a:pt x="3584" y="930"/>
                </a:lnTo>
                <a:lnTo>
                  <a:pt x="3607" y="970"/>
                </a:lnTo>
                <a:lnTo>
                  <a:pt x="3631" y="1011"/>
                </a:lnTo>
                <a:lnTo>
                  <a:pt x="3653" y="1051"/>
                </a:lnTo>
                <a:lnTo>
                  <a:pt x="3674" y="1094"/>
                </a:lnTo>
                <a:lnTo>
                  <a:pt x="3693" y="1136"/>
                </a:lnTo>
                <a:lnTo>
                  <a:pt x="3712" y="1179"/>
                </a:lnTo>
                <a:lnTo>
                  <a:pt x="3729" y="1223"/>
                </a:lnTo>
                <a:lnTo>
                  <a:pt x="3747" y="1267"/>
                </a:lnTo>
                <a:lnTo>
                  <a:pt x="3762" y="1312"/>
                </a:lnTo>
                <a:lnTo>
                  <a:pt x="3777" y="1357"/>
                </a:lnTo>
                <a:lnTo>
                  <a:pt x="3791" y="1402"/>
                </a:lnTo>
                <a:lnTo>
                  <a:pt x="3802" y="1449"/>
                </a:lnTo>
                <a:lnTo>
                  <a:pt x="3814" y="1495"/>
                </a:lnTo>
                <a:lnTo>
                  <a:pt x="3824" y="1543"/>
                </a:lnTo>
                <a:lnTo>
                  <a:pt x="3834" y="1589"/>
                </a:lnTo>
                <a:lnTo>
                  <a:pt x="3842" y="1638"/>
                </a:lnTo>
                <a:lnTo>
                  <a:pt x="3848" y="1685"/>
                </a:lnTo>
                <a:lnTo>
                  <a:pt x="3853" y="1734"/>
                </a:lnTo>
                <a:lnTo>
                  <a:pt x="3858" y="1783"/>
                </a:lnTo>
                <a:lnTo>
                  <a:pt x="3862" y="1832"/>
                </a:lnTo>
                <a:lnTo>
                  <a:pt x="3863" y="1882"/>
                </a:lnTo>
                <a:lnTo>
                  <a:pt x="3864" y="1932"/>
                </a:lnTo>
                <a:lnTo>
                  <a:pt x="3863" y="1999"/>
                </a:lnTo>
                <a:lnTo>
                  <a:pt x="3859" y="2065"/>
                </a:lnTo>
                <a:lnTo>
                  <a:pt x="3853" y="2130"/>
                </a:lnTo>
                <a:lnTo>
                  <a:pt x="3845" y="2195"/>
                </a:lnTo>
                <a:lnTo>
                  <a:pt x="3836" y="2260"/>
                </a:lnTo>
                <a:lnTo>
                  <a:pt x="3823" y="2324"/>
                </a:lnTo>
                <a:lnTo>
                  <a:pt x="3809" y="2387"/>
                </a:lnTo>
                <a:lnTo>
                  <a:pt x="3793" y="2449"/>
                </a:lnTo>
                <a:lnTo>
                  <a:pt x="3776" y="2511"/>
                </a:lnTo>
                <a:lnTo>
                  <a:pt x="3755" y="2571"/>
                </a:lnTo>
                <a:lnTo>
                  <a:pt x="3733" y="2631"/>
                </a:lnTo>
                <a:lnTo>
                  <a:pt x="3709" y="2690"/>
                </a:lnTo>
                <a:lnTo>
                  <a:pt x="3683" y="2747"/>
                </a:lnTo>
                <a:lnTo>
                  <a:pt x="3656" y="2804"/>
                </a:lnTo>
                <a:lnTo>
                  <a:pt x="3626" y="2859"/>
                </a:lnTo>
                <a:lnTo>
                  <a:pt x="3596" y="2914"/>
                </a:lnTo>
                <a:lnTo>
                  <a:pt x="3566" y="2963"/>
                </a:lnTo>
                <a:lnTo>
                  <a:pt x="3534" y="3011"/>
                </a:lnTo>
                <a:lnTo>
                  <a:pt x="3502" y="3058"/>
                </a:lnTo>
                <a:lnTo>
                  <a:pt x="3467" y="3103"/>
                </a:lnTo>
                <a:lnTo>
                  <a:pt x="3432" y="3148"/>
                </a:lnTo>
                <a:lnTo>
                  <a:pt x="3395" y="3193"/>
                </a:lnTo>
                <a:lnTo>
                  <a:pt x="3358" y="3234"/>
                </a:lnTo>
                <a:lnTo>
                  <a:pt x="3318" y="3276"/>
                </a:lnTo>
                <a:lnTo>
                  <a:pt x="3278" y="3317"/>
                </a:lnTo>
                <a:lnTo>
                  <a:pt x="3237" y="3356"/>
                </a:lnTo>
                <a:lnTo>
                  <a:pt x="3194" y="3393"/>
                </a:lnTo>
                <a:lnTo>
                  <a:pt x="3150" y="3431"/>
                </a:lnTo>
                <a:lnTo>
                  <a:pt x="3106" y="3465"/>
                </a:lnTo>
                <a:lnTo>
                  <a:pt x="3059" y="3500"/>
                </a:lnTo>
                <a:lnTo>
                  <a:pt x="3013" y="3533"/>
                </a:lnTo>
                <a:lnTo>
                  <a:pt x="2965" y="3564"/>
                </a:lnTo>
                <a:lnTo>
                  <a:pt x="2965" y="3763"/>
                </a:lnTo>
                <a:lnTo>
                  <a:pt x="3040" y="3756"/>
                </a:lnTo>
                <a:lnTo>
                  <a:pt x="3184" y="3744"/>
                </a:lnTo>
                <a:lnTo>
                  <a:pt x="3240" y="3879"/>
                </a:lnTo>
                <a:lnTo>
                  <a:pt x="3257" y="3921"/>
                </a:lnTo>
                <a:lnTo>
                  <a:pt x="3272" y="3961"/>
                </a:lnTo>
                <a:lnTo>
                  <a:pt x="3283" y="4003"/>
                </a:lnTo>
                <a:lnTo>
                  <a:pt x="3293" y="4044"/>
                </a:lnTo>
                <a:lnTo>
                  <a:pt x="3301" y="4084"/>
                </a:lnTo>
                <a:lnTo>
                  <a:pt x="3305" y="4125"/>
                </a:lnTo>
                <a:lnTo>
                  <a:pt x="3309" y="4166"/>
                </a:lnTo>
                <a:lnTo>
                  <a:pt x="3310" y="4206"/>
                </a:lnTo>
                <a:lnTo>
                  <a:pt x="3309" y="4248"/>
                </a:lnTo>
                <a:lnTo>
                  <a:pt x="3305" y="4289"/>
                </a:lnTo>
                <a:lnTo>
                  <a:pt x="3300" y="4329"/>
                </a:lnTo>
                <a:lnTo>
                  <a:pt x="3292" y="4370"/>
                </a:lnTo>
                <a:lnTo>
                  <a:pt x="3282" y="4409"/>
                </a:lnTo>
                <a:lnTo>
                  <a:pt x="3269" y="4449"/>
                </a:lnTo>
                <a:lnTo>
                  <a:pt x="3256" y="4487"/>
                </a:lnTo>
                <a:lnTo>
                  <a:pt x="3239" y="4527"/>
                </a:lnTo>
                <a:lnTo>
                  <a:pt x="3224" y="4560"/>
                </a:lnTo>
                <a:lnTo>
                  <a:pt x="3240" y="4600"/>
                </a:lnTo>
                <a:lnTo>
                  <a:pt x="3257" y="4642"/>
                </a:lnTo>
                <a:lnTo>
                  <a:pt x="3272" y="4682"/>
                </a:lnTo>
                <a:lnTo>
                  <a:pt x="3283" y="4724"/>
                </a:lnTo>
                <a:lnTo>
                  <a:pt x="3293" y="4765"/>
                </a:lnTo>
                <a:lnTo>
                  <a:pt x="3301" y="4805"/>
                </a:lnTo>
                <a:lnTo>
                  <a:pt x="3305" y="4846"/>
                </a:lnTo>
                <a:lnTo>
                  <a:pt x="3309" y="4888"/>
                </a:lnTo>
                <a:lnTo>
                  <a:pt x="3310" y="4927"/>
                </a:lnTo>
                <a:lnTo>
                  <a:pt x="3309" y="4969"/>
                </a:lnTo>
                <a:lnTo>
                  <a:pt x="3305" y="5010"/>
                </a:lnTo>
                <a:lnTo>
                  <a:pt x="3300" y="5050"/>
                </a:lnTo>
                <a:lnTo>
                  <a:pt x="3292" y="5091"/>
                </a:lnTo>
                <a:lnTo>
                  <a:pt x="3282" y="5130"/>
                </a:lnTo>
                <a:lnTo>
                  <a:pt x="3269" y="5170"/>
                </a:lnTo>
                <a:lnTo>
                  <a:pt x="3256" y="5209"/>
                </a:lnTo>
                <a:lnTo>
                  <a:pt x="3239" y="5248"/>
                </a:lnTo>
                <a:lnTo>
                  <a:pt x="3191" y="5356"/>
                </a:lnTo>
                <a:lnTo>
                  <a:pt x="3073" y="5366"/>
                </a:lnTo>
                <a:lnTo>
                  <a:pt x="886" y="5559"/>
                </a:lnTo>
                <a:lnTo>
                  <a:pt x="735" y="5573"/>
                </a:lnTo>
                <a:lnTo>
                  <a:pt x="681" y="5430"/>
                </a:lnTo>
                <a:lnTo>
                  <a:pt x="668" y="5395"/>
                </a:lnTo>
                <a:lnTo>
                  <a:pt x="656" y="5359"/>
                </a:lnTo>
                <a:lnTo>
                  <a:pt x="646" y="5323"/>
                </a:lnTo>
                <a:lnTo>
                  <a:pt x="636" y="5286"/>
                </a:lnTo>
                <a:lnTo>
                  <a:pt x="628" y="5249"/>
                </a:lnTo>
                <a:lnTo>
                  <a:pt x="623" y="5210"/>
                </a:lnTo>
                <a:lnTo>
                  <a:pt x="618" y="5172"/>
                </a:lnTo>
                <a:lnTo>
                  <a:pt x="616" y="5133"/>
                </a:lnTo>
                <a:lnTo>
                  <a:pt x="614" y="5091"/>
                </a:lnTo>
                <a:lnTo>
                  <a:pt x="617" y="5049"/>
                </a:lnTo>
                <a:lnTo>
                  <a:pt x="621" y="5006"/>
                </a:lnTo>
                <a:lnTo>
                  <a:pt x="628" y="4963"/>
                </a:lnTo>
                <a:lnTo>
                  <a:pt x="633" y="4941"/>
                </a:lnTo>
                <a:lnTo>
                  <a:pt x="638" y="4919"/>
                </a:lnTo>
                <a:lnTo>
                  <a:pt x="645" y="4897"/>
                </a:lnTo>
                <a:lnTo>
                  <a:pt x="652" y="4875"/>
                </a:lnTo>
                <a:lnTo>
                  <a:pt x="659" y="4853"/>
                </a:lnTo>
                <a:lnTo>
                  <a:pt x="668" y="4831"/>
                </a:lnTo>
                <a:lnTo>
                  <a:pt x="677" y="4808"/>
                </a:lnTo>
                <a:lnTo>
                  <a:pt x="688" y="4786"/>
                </a:lnTo>
                <a:lnTo>
                  <a:pt x="700" y="4759"/>
                </a:lnTo>
                <a:lnTo>
                  <a:pt x="681" y="4709"/>
                </a:lnTo>
                <a:lnTo>
                  <a:pt x="668" y="4674"/>
                </a:lnTo>
                <a:lnTo>
                  <a:pt x="656" y="4638"/>
                </a:lnTo>
                <a:lnTo>
                  <a:pt x="646" y="4602"/>
                </a:lnTo>
                <a:lnTo>
                  <a:pt x="636" y="4565"/>
                </a:lnTo>
                <a:lnTo>
                  <a:pt x="628" y="4528"/>
                </a:lnTo>
                <a:lnTo>
                  <a:pt x="623" y="4489"/>
                </a:lnTo>
                <a:lnTo>
                  <a:pt x="618" y="4451"/>
                </a:lnTo>
                <a:lnTo>
                  <a:pt x="616" y="4412"/>
                </a:lnTo>
                <a:lnTo>
                  <a:pt x="614" y="4370"/>
                </a:lnTo>
                <a:lnTo>
                  <a:pt x="617" y="4327"/>
                </a:lnTo>
                <a:lnTo>
                  <a:pt x="621" y="4285"/>
                </a:lnTo>
                <a:lnTo>
                  <a:pt x="628" y="4242"/>
                </a:lnTo>
                <a:lnTo>
                  <a:pt x="633" y="4220"/>
                </a:lnTo>
                <a:lnTo>
                  <a:pt x="638" y="4198"/>
                </a:lnTo>
                <a:lnTo>
                  <a:pt x="645" y="4176"/>
                </a:lnTo>
                <a:lnTo>
                  <a:pt x="652" y="4154"/>
                </a:lnTo>
                <a:lnTo>
                  <a:pt x="659" y="4132"/>
                </a:lnTo>
                <a:lnTo>
                  <a:pt x="668" y="4110"/>
                </a:lnTo>
                <a:lnTo>
                  <a:pt x="677" y="4087"/>
                </a:lnTo>
                <a:lnTo>
                  <a:pt x="688" y="4064"/>
                </a:lnTo>
                <a:lnTo>
                  <a:pt x="736" y="3960"/>
                </a:lnTo>
                <a:lnTo>
                  <a:pt x="851" y="3950"/>
                </a:lnTo>
                <a:lnTo>
                  <a:pt x="934" y="3943"/>
                </a:lnTo>
                <a:lnTo>
                  <a:pt x="934" y="3586"/>
                </a:lnTo>
                <a:lnTo>
                  <a:pt x="885" y="3555"/>
                </a:lnTo>
                <a:lnTo>
                  <a:pt x="836" y="3522"/>
                </a:lnTo>
                <a:lnTo>
                  <a:pt x="789" y="3489"/>
                </a:lnTo>
                <a:lnTo>
                  <a:pt x="742" y="3454"/>
                </a:lnTo>
                <a:lnTo>
                  <a:pt x="697" y="3417"/>
                </a:lnTo>
                <a:lnTo>
                  <a:pt x="653" y="3378"/>
                </a:lnTo>
                <a:lnTo>
                  <a:pt x="610" y="3340"/>
                </a:lnTo>
                <a:lnTo>
                  <a:pt x="568" y="3299"/>
                </a:lnTo>
                <a:lnTo>
                  <a:pt x="527" y="3258"/>
                </a:lnTo>
                <a:lnTo>
                  <a:pt x="488" y="3215"/>
                </a:lnTo>
                <a:lnTo>
                  <a:pt x="450" y="3170"/>
                </a:lnTo>
                <a:lnTo>
                  <a:pt x="414" y="3125"/>
                </a:lnTo>
                <a:lnTo>
                  <a:pt x="378" y="3079"/>
                </a:lnTo>
                <a:lnTo>
                  <a:pt x="344" y="3031"/>
                </a:lnTo>
                <a:lnTo>
                  <a:pt x="311" y="2982"/>
                </a:lnTo>
                <a:lnTo>
                  <a:pt x="280" y="2934"/>
                </a:lnTo>
                <a:lnTo>
                  <a:pt x="248" y="2878"/>
                </a:lnTo>
                <a:lnTo>
                  <a:pt x="217" y="2821"/>
                </a:lnTo>
                <a:lnTo>
                  <a:pt x="188" y="2763"/>
                </a:lnTo>
                <a:lnTo>
                  <a:pt x="162" y="2705"/>
                </a:lnTo>
                <a:lnTo>
                  <a:pt x="136" y="2644"/>
                </a:lnTo>
                <a:lnTo>
                  <a:pt x="113" y="2584"/>
                </a:lnTo>
                <a:lnTo>
                  <a:pt x="92" y="2523"/>
                </a:lnTo>
                <a:lnTo>
                  <a:pt x="73" y="2460"/>
                </a:lnTo>
                <a:lnTo>
                  <a:pt x="56" y="2396"/>
                </a:lnTo>
                <a:lnTo>
                  <a:pt x="42" y="2332"/>
                </a:lnTo>
                <a:lnTo>
                  <a:pt x="29" y="2267"/>
                </a:lnTo>
                <a:lnTo>
                  <a:pt x="19" y="2201"/>
                </a:lnTo>
                <a:lnTo>
                  <a:pt x="11" y="2135"/>
                </a:lnTo>
                <a:lnTo>
                  <a:pt x="5" y="2067"/>
                </a:lnTo>
                <a:lnTo>
                  <a:pt x="1" y="2000"/>
                </a:lnTo>
                <a:lnTo>
                  <a:pt x="0" y="1932"/>
                </a:lnTo>
                <a:lnTo>
                  <a:pt x="0" y="1882"/>
                </a:lnTo>
                <a:lnTo>
                  <a:pt x="3" y="1832"/>
                </a:lnTo>
                <a:lnTo>
                  <a:pt x="5" y="1783"/>
                </a:lnTo>
                <a:lnTo>
                  <a:pt x="10" y="1734"/>
                </a:lnTo>
                <a:lnTo>
                  <a:pt x="15" y="1685"/>
                </a:lnTo>
                <a:lnTo>
                  <a:pt x="22" y="1638"/>
                </a:lnTo>
                <a:lnTo>
                  <a:pt x="30" y="1589"/>
                </a:lnTo>
                <a:lnTo>
                  <a:pt x="39" y="1543"/>
                </a:lnTo>
                <a:lnTo>
                  <a:pt x="49" y="1495"/>
                </a:lnTo>
                <a:lnTo>
                  <a:pt x="61" y="1449"/>
                </a:lnTo>
                <a:lnTo>
                  <a:pt x="73" y="1402"/>
                </a:lnTo>
                <a:lnTo>
                  <a:pt x="86" y="1357"/>
                </a:lnTo>
                <a:lnTo>
                  <a:pt x="101" y="1312"/>
                </a:lnTo>
                <a:lnTo>
                  <a:pt x="118" y="1267"/>
                </a:lnTo>
                <a:lnTo>
                  <a:pt x="134" y="1223"/>
                </a:lnTo>
                <a:lnTo>
                  <a:pt x="151" y="1179"/>
                </a:lnTo>
                <a:lnTo>
                  <a:pt x="171" y="1136"/>
                </a:lnTo>
                <a:lnTo>
                  <a:pt x="191" y="1094"/>
                </a:lnTo>
                <a:lnTo>
                  <a:pt x="212" y="1051"/>
                </a:lnTo>
                <a:lnTo>
                  <a:pt x="232" y="1011"/>
                </a:lnTo>
                <a:lnTo>
                  <a:pt x="256" y="970"/>
                </a:lnTo>
                <a:lnTo>
                  <a:pt x="279" y="930"/>
                </a:lnTo>
                <a:lnTo>
                  <a:pt x="304" y="890"/>
                </a:lnTo>
                <a:lnTo>
                  <a:pt x="330" y="852"/>
                </a:lnTo>
                <a:lnTo>
                  <a:pt x="357" y="813"/>
                </a:lnTo>
                <a:lnTo>
                  <a:pt x="383" y="775"/>
                </a:lnTo>
                <a:lnTo>
                  <a:pt x="411" y="739"/>
                </a:lnTo>
                <a:lnTo>
                  <a:pt x="441" y="702"/>
                </a:lnTo>
                <a:lnTo>
                  <a:pt x="470" y="667"/>
                </a:lnTo>
                <a:lnTo>
                  <a:pt x="502" y="632"/>
                </a:lnTo>
                <a:lnTo>
                  <a:pt x="533" y="599"/>
                </a:lnTo>
                <a:lnTo>
                  <a:pt x="566" y="565"/>
                </a:lnTo>
                <a:lnTo>
                  <a:pt x="599" y="532"/>
                </a:lnTo>
                <a:lnTo>
                  <a:pt x="633" y="501"/>
                </a:lnTo>
                <a:lnTo>
                  <a:pt x="668" y="471"/>
                </a:lnTo>
                <a:lnTo>
                  <a:pt x="703" y="441"/>
                </a:lnTo>
                <a:lnTo>
                  <a:pt x="739" y="412"/>
                </a:lnTo>
                <a:lnTo>
                  <a:pt x="776" y="383"/>
                </a:lnTo>
                <a:lnTo>
                  <a:pt x="813" y="356"/>
                </a:lnTo>
                <a:lnTo>
                  <a:pt x="851" y="329"/>
                </a:lnTo>
                <a:lnTo>
                  <a:pt x="891" y="304"/>
                </a:lnTo>
                <a:lnTo>
                  <a:pt x="930" y="279"/>
                </a:lnTo>
                <a:lnTo>
                  <a:pt x="970" y="255"/>
                </a:lnTo>
                <a:lnTo>
                  <a:pt x="1010" y="233"/>
                </a:lnTo>
                <a:lnTo>
                  <a:pt x="1052" y="211"/>
                </a:lnTo>
                <a:lnTo>
                  <a:pt x="1094" y="190"/>
                </a:lnTo>
                <a:lnTo>
                  <a:pt x="1137" y="170"/>
                </a:lnTo>
                <a:lnTo>
                  <a:pt x="1180" y="152"/>
                </a:lnTo>
                <a:lnTo>
                  <a:pt x="1224" y="133"/>
                </a:lnTo>
                <a:lnTo>
                  <a:pt x="1268" y="117"/>
                </a:lnTo>
                <a:lnTo>
                  <a:pt x="1312" y="101"/>
                </a:lnTo>
                <a:lnTo>
                  <a:pt x="1357" y="87"/>
                </a:lnTo>
                <a:lnTo>
                  <a:pt x="1403" y="73"/>
                </a:lnTo>
                <a:lnTo>
                  <a:pt x="1449" y="60"/>
                </a:lnTo>
                <a:lnTo>
                  <a:pt x="1496" y="48"/>
                </a:lnTo>
                <a:lnTo>
                  <a:pt x="1542" y="39"/>
                </a:lnTo>
                <a:lnTo>
                  <a:pt x="1590" y="30"/>
                </a:lnTo>
                <a:lnTo>
                  <a:pt x="1637" y="22"/>
                </a:lnTo>
                <a:lnTo>
                  <a:pt x="1686" y="15"/>
                </a:lnTo>
                <a:lnTo>
                  <a:pt x="1735" y="9"/>
                </a:lnTo>
                <a:lnTo>
                  <a:pt x="1783" y="5"/>
                </a:lnTo>
                <a:lnTo>
                  <a:pt x="1832" y="2"/>
                </a:lnTo>
                <a:lnTo>
                  <a:pt x="1882" y="0"/>
                </a:lnTo>
                <a:lnTo>
                  <a:pt x="1932" y="0"/>
                </a:lnTo>
                <a:close/>
                <a:moveTo>
                  <a:pt x="1507" y="2300"/>
                </a:moveTo>
                <a:lnTo>
                  <a:pt x="1507" y="2300"/>
                </a:lnTo>
                <a:lnTo>
                  <a:pt x="1533" y="2310"/>
                </a:lnTo>
                <a:lnTo>
                  <a:pt x="1557" y="2318"/>
                </a:lnTo>
                <a:lnTo>
                  <a:pt x="1569" y="2321"/>
                </a:lnTo>
                <a:lnTo>
                  <a:pt x="1580" y="2323"/>
                </a:lnTo>
                <a:lnTo>
                  <a:pt x="1592" y="2324"/>
                </a:lnTo>
                <a:lnTo>
                  <a:pt x="1604" y="2324"/>
                </a:lnTo>
                <a:lnTo>
                  <a:pt x="1619" y="2324"/>
                </a:lnTo>
                <a:lnTo>
                  <a:pt x="1633" y="2322"/>
                </a:lnTo>
                <a:lnTo>
                  <a:pt x="1648" y="2318"/>
                </a:lnTo>
                <a:lnTo>
                  <a:pt x="1663" y="2314"/>
                </a:lnTo>
                <a:lnTo>
                  <a:pt x="1677" y="2308"/>
                </a:lnTo>
                <a:lnTo>
                  <a:pt x="1691" y="2300"/>
                </a:lnTo>
                <a:lnTo>
                  <a:pt x="1705" y="2289"/>
                </a:lnTo>
                <a:lnTo>
                  <a:pt x="1718" y="2279"/>
                </a:lnTo>
                <a:lnTo>
                  <a:pt x="1750" y="2251"/>
                </a:lnTo>
                <a:lnTo>
                  <a:pt x="1782" y="2276"/>
                </a:lnTo>
                <a:lnTo>
                  <a:pt x="1801" y="2290"/>
                </a:lnTo>
                <a:lnTo>
                  <a:pt x="1819" y="2303"/>
                </a:lnTo>
                <a:lnTo>
                  <a:pt x="1838" y="2314"/>
                </a:lnTo>
                <a:lnTo>
                  <a:pt x="1855" y="2323"/>
                </a:lnTo>
                <a:lnTo>
                  <a:pt x="1873" y="2330"/>
                </a:lnTo>
                <a:lnTo>
                  <a:pt x="1890" y="2336"/>
                </a:lnTo>
                <a:lnTo>
                  <a:pt x="1908" y="2339"/>
                </a:lnTo>
                <a:lnTo>
                  <a:pt x="1924" y="2340"/>
                </a:lnTo>
                <a:lnTo>
                  <a:pt x="1939" y="2340"/>
                </a:lnTo>
                <a:lnTo>
                  <a:pt x="1954" y="2338"/>
                </a:lnTo>
                <a:lnTo>
                  <a:pt x="1969" y="2333"/>
                </a:lnTo>
                <a:lnTo>
                  <a:pt x="1984" y="2328"/>
                </a:lnTo>
                <a:lnTo>
                  <a:pt x="1999" y="2319"/>
                </a:lnTo>
                <a:lnTo>
                  <a:pt x="2013" y="2309"/>
                </a:lnTo>
                <a:lnTo>
                  <a:pt x="2028" y="2296"/>
                </a:lnTo>
                <a:lnTo>
                  <a:pt x="2044" y="2282"/>
                </a:lnTo>
                <a:lnTo>
                  <a:pt x="2077" y="2246"/>
                </a:lnTo>
                <a:lnTo>
                  <a:pt x="2113" y="2279"/>
                </a:lnTo>
                <a:lnTo>
                  <a:pt x="2134" y="2295"/>
                </a:lnTo>
                <a:lnTo>
                  <a:pt x="2154" y="2308"/>
                </a:lnTo>
                <a:lnTo>
                  <a:pt x="2175" y="2319"/>
                </a:lnTo>
                <a:lnTo>
                  <a:pt x="2194" y="2326"/>
                </a:lnTo>
                <a:lnTo>
                  <a:pt x="2215" y="2332"/>
                </a:lnTo>
                <a:lnTo>
                  <a:pt x="2235" y="2336"/>
                </a:lnTo>
                <a:lnTo>
                  <a:pt x="2255" y="2337"/>
                </a:lnTo>
                <a:lnTo>
                  <a:pt x="2275" y="2336"/>
                </a:lnTo>
                <a:lnTo>
                  <a:pt x="2291" y="2333"/>
                </a:lnTo>
                <a:lnTo>
                  <a:pt x="2308" y="2330"/>
                </a:lnTo>
                <a:lnTo>
                  <a:pt x="2324" y="2325"/>
                </a:lnTo>
                <a:lnTo>
                  <a:pt x="2342" y="2319"/>
                </a:lnTo>
                <a:lnTo>
                  <a:pt x="2359" y="2314"/>
                </a:lnTo>
                <a:lnTo>
                  <a:pt x="2377" y="2307"/>
                </a:lnTo>
                <a:lnTo>
                  <a:pt x="2412" y="2290"/>
                </a:lnTo>
                <a:lnTo>
                  <a:pt x="2484" y="2175"/>
                </a:lnTo>
                <a:lnTo>
                  <a:pt x="2653" y="2281"/>
                </a:lnTo>
                <a:lnTo>
                  <a:pt x="2239" y="2948"/>
                </a:lnTo>
                <a:lnTo>
                  <a:pt x="2239" y="3826"/>
                </a:lnTo>
                <a:lnTo>
                  <a:pt x="2564" y="3799"/>
                </a:lnTo>
                <a:lnTo>
                  <a:pt x="2564" y="3450"/>
                </a:lnTo>
                <a:lnTo>
                  <a:pt x="2564" y="3332"/>
                </a:lnTo>
                <a:lnTo>
                  <a:pt x="2668" y="3274"/>
                </a:lnTo>
                <a:lnTo>
                  <a:pt x="2712" y="3248"/>
                </a:lnTo>
                <a:lnTo>
                  <a:pt x="2756" y="3222"/>
                </a:lnTo>
                <a:lnTo>
                  <a:pt x="2799" y="3194"/>
                </a:lnTo>
                <a:lnTo>
                  <a:pt x="2841" y="3163"/>
                </a:lnTo>
                <a:lnTo>
                  <a:pt x="2882" y="3132"/>
                </a:lnTo>
                <a:lnTo>
                  <a:pt x="2921" y="3100"/>
                </a:lnTo>
                <a:lnTo>
                  <a:pt x="2960" y="3066"/>
                </a:lnTo>
                <a:lnTo>
                  <a:pt x="2997" y="3031"/>
                </a:lnTo>
                <a:lnTo>
                  <a:pt x="3033" y="2995"/>
                </a:lnTo>
                <a:lnTo>
                  <a:pt x="3067" y="2958"/>
                </a:lnTo>
                <a:lnTo>
                  <a:pt x="3101" y="2918"/>
                </a:lnTo>
                <a:lnTo>
                  <a:pt x="3134" y="2879"/>
                </a:lnTo>
                <a:lnTo>
                  <a:pt x="3165" y="2838"/>
                </a:lnTo>
                <a:lnTo>
                  <a:pt x="3195" y="2797"/>
                </a:lnTo>
                <a:lnTo>
                  <a:pt x="3223" y="2754"/>
                </a:lnTo>
                <a:lnTo>
                  <a:pt x="3250" y="2711"/>
                </a:lnTo>
                <a:lnTo>
                  <a:pt x="3275" y="2667"/>
                </a:lnTo>
                <a:lnTo>
                  <a:pt x="3299" y="2624"/>
                </a:lnTo>
                <a:lnTo>
                  <a:pt x="3319" y="2578"/>
                </a:lnTo>
                <a:lnTo>
                  <a:pt x="3340" y="2533"/>
                </a:lnTo>
                <a:lnTo>
                  <a:pt x="3359" y="2487"/>
                </a:lnTo>
                <a:lnTo>
                  <a:pt x="3376" y="2439"/>
                </a:lnTo>
                <a:lnTo>
                  <a:pt x="3393" y="2391"/>
                </a:lnTo>
                <a:lnTo>
                  <a:pt x="3406" y="2343"/>
                </a:lnTo>
                <a:lnTo>
                  <a:pt x="3419" y="2293"/>
                </a:lnTo>
                <a:lnTo>
                  <a:pt x="3431" y="2243"/>
                </a:lnTo>
                <a:lnTo>
                  <a:pt x="3440" y="2193"/>
                </a:lnTo>
                <a:lnTo>
                  <a:pt x="3448" y="2142"/>
                </a:lnTo>
                <a:lnTo>
                  <a:pt x="3454" y="2089"/>
                </a:lnTo>
                <a:lnTo>
                  <a:pt x="3459" y="2037"/>
                </a:lnTo>
                <a:lnTo>
                  <a:pt x="3461" y="1985"/>
                </a:lnTo>
                <a:lnTo>
                  <a:pt x="3462" y="1932"/>
                </a:lnTo>
                <a:lnTo>
                  <a:pt x="3462" y="1892"/>
                </a:lnTo>
                <a:lnTo>
                  <a:pt x="3460" y="1853"/>
                </a:lnTo>
                <a:lnTo>
                  <a:pt x="3458" y="1814"/>
                </a:lnTo>
                <a:lnTo>
                  <a:pt x="3454" y="1775"/>
                </a:lnTo>
                <a:lnTo>
                  <a:pt x="3449" y="1737"/>
                </a:lnTo>
                <a:lnTo>
                  <a:pt x="3445" y="1698"/>
                </a:lnTo>
                <a:lnTo>
                  <a:pt x="3438" y="1661"/>
                </a:lnTo>
                <a:lnTo>
                  <a:pt x="3431" y="1623"/>
                </a:lnTo>
                <a:lnTo>
                  <a:pt x="3423" y="1586"/>
                </a:lnTo>
                <a:lnTo>
                  <a:pt x="3415" y="1548"/>
                </a:lnTo>
                <a:lnTo>
                  <a:pt x="3404" y="1512"/>
                </a:lnTo>
                <a:lnTo>
                  <a:pt x="3394" y="1476"/>
                </a:lnTo>
                <a:lnTo>
                  <a:pt x="3382" y="1440"/>
                </a:lnTo>
                <a:lnTo>
                  <a:pt x="3369" y="1406"/>
                </a:lnTo>
                <a:lnTo>
                  <a:pt x="3357" y="1371"/>
                </a:lnTo>
                <a:lnTo>
                  <a:pt x="3341" y="1336"/>
                </a:lnTo>
                <a:lnTo>
                  <a:pt x="3328" y="1301"/>
                </a:lnTo>
                <a:lnTo>
                  <a:pt x="3311" y="1267"/>
                </a:lnTo>
                <a:lnTo>
                  <a:pt x="3295" y="1235"/>
                </a:lnTo>
                <a:lnTo>
                  <a:pt x="3278" y="1202"/>
                </a:lnTo>
                <a:lnTo>
                  <a:pt x="3259" y="1170"/>
                </a:lnTo>
                <a:lnTo>
                  <a:pt x="3240" y="1137"/>
                </a:lnTo>
                <a:lnTo>
                  <a:pt x="3221" y="1106"/>
                </a:lnTo>
                <a:lnTo>
                  <a:pt x="3201" y="1076"/>
                </a:lnTo>
                <a:lnTo>
                  <a:pt x="3180" y="1046"/>
                </a:lnTo>
                <a:lnTo>
                  <a:pt x="3158" y="1015"/>
                </a:lnTo>
                <a:lnTo>
                  <a:pt x="3136" y="986"/>
                </a:lnTo>
                <a:lnTo>
                  <a:pt x="3113" y="957"/>
                </a:lnTo>
                <a:lnTo>
                  <a:pt x="3090" y="930"/>
                </a:lnTo>
                <a:lnTo>
                  <a:pt x="3065" y="902"/>
                </a:lnTo>
                <a:lnTo>
                  <a:pt x="3040" y="875"/>
                </a:lnTo>
                <a:lnTo>
                  <a:pt x="3014" y="849"/>
                </a:lnTo>
                <a:lnTo>
                  <a:pt x="2987" y="824"/>
                </a:lnTo>
                <a:lnTo>
                  <a:pt x="2961" y="798"/>
                </a:lnTo>
                <a:lnTo>
                  <a:pt x="2934" y="774"/>
                </a:lnTo>
                <a:lnTo>
                  <a:pt x="2905" y="751"/>
                </a:lnTo>
                <a:lnTo>
                  <a:pt x="2877" y="728"/>
                </a:lnTo>
                <a:lnTo>
                  <a:pt x="2848" y="704"/>
                </a:lnTo>
                <a:lnTo>
                  <a:pt x="2818" y="683"/>
                </a:lnTo>
                <a:lnTo>
                  <a:pt x="2788" y="663"/>
                </a:lnTo>
                <a:lnTo>
                  <a:pt x="2756" y="642"/>
                </a:lnTo>
                <a:lnTo>
                  <a:pt x="2725" y="622"/>
                </a:lnTo>
                <a:lnTo>
                  <a:pt x="2694" y="603"/>
                </a:lnTo>
                <a:lnTo>
                  <a:pt x="2661" y="586"/>
                </a:lnTo>
                <a:lnTo>
                  <a:pt x="2629" y="568"/>
                </a:lnTo>
                <a:lnTo>
                  <a:pt x="2595" y="552"/>
                </a:lnTo>
                <a:lnTo>
                  <a:pt x="2561" y="536"/>
                </a:lnTo>
                <a:lnTo>
                  <a:pt x="2528" y="521"/>
                </a:lnTo>
                <a:lnTo>
                  <a:pt x="2493" y="507"/>
                </a:lnTo>
                <a:lnTo>
                  <a:pt x="2458" y="494"/>
                </a:lnTo>
                <a:lnTo>
                  <a:pt x="2423" y="481"/>
                </a:lnTo>
                <a:lnTo>
                  <a:pt x="2387" y="470"/>
                </a:lnTo>
                <a:lnTo>
                  <a:pt x="2351" y="459"/>
                </a:lnTo>
                <a:lnTo>
                  <a:pt x="2314" y="449"/>
                </a:lnTo>
                <a:lnTo>
                  <a:pt x="2277" y="440"/>
                </a:lnTo>
                <a:lnTo>
                  <a:pt x="2240" y="431"/>
                </a:lnTo>
                <a:lnTo>
                  <a:pt x="2203" y="424"/>
                </a:lnTo>
                <a:lnTo>
                  <a:pt x="2164" y="419"/>
                </a:lnTo>
                <a:lnTo>
                  <a:pt x="2127" y="413"/>
                </a:lnTo>
                <a:lnTo>
                  <a:pt x="2088" y="408"/>
                </a:lnTo>
                <a:lnTo>
                  <a:pt x="2049" y="405"/>
                </a:lnTo>
                <a:lnTo>
                  <a:pt x="2011" y="402"/>
                </a:lnTo>
                <a:lnTo>
                  <a:pt x="1972" y="401"/>
                </a:lnTo>
                <a:lnTo>
                  <a:pt x="1932" y="401"/>
                </a:lnTo>
                <a:lnTo>
                  <a:pt x="1893" y="401"/>
                </a:lnTo>
                <a:lnTo>
                  <a:pt x="1853" y="402"/>
                </a:lnTo>
                <a:lnTo>
                  <a:pt x="1814" y="405"/>
                </a:lnTo>
                <a:lnTo>
                  <a:pt x="1775" y="408"/>
                </a:lnTo>
                <a:lnTo>
                  <a:pt x="1737" y="413"/>
                </a:lnTo>
                <a:lnTo>
                  <a:pt x="1699" y="419"/>
                </a:lnTo>
                <a:lnTo>
                  <a:pt x="1660" y="424"/>
                </a:lnTo>
                <a:lnTo>
                  <a:pt x="1623" y="431"/>
                </a:lnTo>
                <a:lnTo>
                  <a:pt x="1586" y="440"/>
                </a:lnTo>
                <a:lnTo>
                  <a:pt x="1549" y="449"/>
                </a:lnTo>
                <a:lnTo>
                  <a:pt x="1513" y="459"/>
                </a:lnTo>
                <a:lnTo>
                  <a:pt x="1477" y="470"/>
                </a:lnTo>
                <a:lnTo>
                  <a:pt x="1441" y="481"/>
                </a:lnTo>
                <a:lnTo>
                  <a:pt x="1405" y="494"/>
                </a:lnTo>
                <a:lnTo>
                  <a:pt x="1370" y="507"/>
                </a:lnTo>
                <a:lnTo>
                  <a:pt x="1335" y="521"/>
                </a:lnTo>
                <a:lnTo>
                  <a:pt x="1302" y="536"/>
                </a:lnTo>
                <a:lnTo>
                  <a:pt x="1268" y="552"/>
                </a:lnTo>
                <a:lnTo>
                  <a:pt x="1234" y="568"/>
                </a:lnTo>
                <a:lnTo>
                  <a:pt x="1202" y="586"/>
                </a:lnTo>
                <a:lnTo>
                  <a:pt x="1169" y="603"/>
                </a:lnTo>
                <a:lnTo>
                  <a:pt x="1138" y="622"/>
                </a:lnTo>
                <a:lnTo>
                  <a:pt x="1107" y="642"/>
                </a:lnTo>
                <a:lnTo>
                  <a:pt x="1076" y="663"/>
                </a:lnTo>
                <a:lnTo>
                  <a:pt x="1045" y="683"/>
                </a:lnTo>
                <a:lnTo>
                  <a:pt x="1016" y="704"/>
                </a:lnTo>
                <a:lnTo>
                  <a:pt x="987" y="728"/>
                </a:lnTo>
                <a:lnTo>
                  <a:pt x="958" y="751"/>
                </a:lnTo>
                <a:lnTo>
                  <a:pt x="930" y="774"/>
                </a:lnTo>
                <a:lnTo>
                  <a:pt x="902" y="798"/>
                </a:lnTo>
                <a:lnTo>
                  <a:pt x="876" y="824"/>
                </a:lnTo>
                <a:lnTo>
                  <a:pt x="849" y="849"/>
                </a:lnTo>
                <a:lnTo>
                  <a:pt x="823" y="875"/>
                </a:lnTo>
                <a:lnTo>
                  <a:pt x="799" y="902"/>
                </a:lnTo>
                <a:lnTo>
                  <a:pt x="775" y="930"/>
                </a:lnTo>
                <a:lnTo>
                  <a:pt x="750" y="957"/>
                </a:lnTo>
                <a:lnTo>
                  <a:pt x="728" y="986"/>
                </a:lnTo>
                <a:lnTo>
                  <a:pt x="705" y="1015"/>
                </a:lnTo>
                <a:lnTo>
                  <a:pt x="684" y="1046"/>
                </a:lnTo>
                <a:lnTo>
                  <a:pt x="662" y="1076"/>
                </a:lnTo>
                <a:lnTo>
                  <a:pt x="642" y="1106"/>
                </a:lnTo>
                <a:lnTo>
                  <a:pt x="623" y="1137"/>
                </a:lnTo>
                <a:lnTo>
                  <a:pt x="604" y="1170"/>
                </a:lnTo>
                <a:lnTo>
                  <a:pt x="585" y="1202"/>
                </a:lnTo>
                <a:lnTo>
                  <a:pt x="569" y="1235"/>
                </a:lnTo>
                <a:lnTo>
                  <a:pt x="552" y="1267"/>
                </a:lnTo>
                <a:lnTo>
                  <a:pt x="537" y="1301"/>
                </a:lnTo>
                <a:lnTo>
                  <a:pt x="522" y="1336"/>
                </a:lnTo>
                <a:lnTo>
                  <a:pt x="508" y="1371"/>
                </a:lnTo>
                <a:lnTo>
                  <a:pt x="494" y="1406"/>
                </a:lnTo>
                <a:lnTo>
                  <a:pt x="482" y="1440"/>
                </a:lnTo>
                <a:lnTo>
                  <a:pt x="470" y="1476"/>
                </a:lnTo>
                <a:lnTo>
                  <a:pt x="459" y="1512"/>
                </a:lnTo>
                <a:lnTo>
                  <a:pt x="450" y="1548"/>
                </a:lnTo>
                <a:lnTo>
                  <a:pt x="440" y="1586"/>
                </a:lnTo>
                <a:lnTo>
                  <a:pt x="432" y="1623"/>
                </a:lnTo>
                <a:lnTo>
                  <a:pt x="425" y="1661"/>
                </a:lnTo>
                <a:lnTo>
                  <a:pt x="418" y="1698"/>
                </a:lnTo>
                <a:lnTo>
                  <a:pt x="414" y="1737"/>
                </a:lnTo>
                <a:lnTo>
                  <a:pt x="409" y="1775"/>
                </a:lnTo>
                <a:lnTo>
                  <a:pt x="405" y="1814"/>
                </a:lnTo>
                <a:lnTo>
                  <a:pt x="403" y="1853"/>
                </a:lnTo>
                <a:lnTo>
                  <a:pt x="402" y="1892"/>
                </a:lnTo>
                <a:lnTo>
                  <a:pt x="401" y="1932"/>
                </a:lnTo>
                <a:lnTo>
                  <a:pt x="402" y="1986"/>
                </a:lnTo>
                <a:lnTo>
                  <a:pt x="405" y="2040"/>
                </a:lnTo>
                <a:lnTo>
                  <a:pt x="410" y="2093"/>
                </a:lnTo>
                <a:lnTo>
                  <a:pt x="416" y="2146"/>
                </a:lnTo>
                <a:lnTo>
                  <a:pt x="424" y="2199"/>
                </a:lnTo>
                <a:lnTo>
                  <a:pt x="434" y="2251"/>
                </a:lnTo>
                <a:lnTo>
                  <a:pt x="446" y="2301"/>
                </a:lnTo>
                <a:lnTo>
                  <a:pt x="459" y="2352"/>
                </a:lnTo>
                <a:lnTo>
                  <a:pt x="474" y="2402"/>
                </a:lnTo>
                <a:lnTo>
                  <a:pt x="490" y="2451"/>
                </a:lnTo>
                <a:lnTo>
                  <a:pt x="509" y="2498"/>
                </a:lnTo>
                <a:lnTo>
                  <a:pt x="529" y="2546"/>
                </a:lnTo>
                <a:lnTo>
                  <a:pt x="549" y="2592"/>
                </a:lnTo>
                <a:lnTo>
                  <a:pt x="573" y="2638"/>
                </a:lnTo>
                <a:lnTo>
                  <a:pt x="597" y="2682"/>
                </a:lnTo>
                <a:lnTo>
                  <a:pt x="623" y="2726"/>
                </a:lnTo>
                <a:lnTo>
                  <a:pt x="650" y="2770"/>
                </a:lnTo>
                <a:lnTo>
                  <a:pt x="679" y="2814"/>
                </a:lnTo>
                <a:lnTo>
                  <a:pt x="711" y="2856"/>
                </a:lnTo>
                <a:lnTo>
                  <a:pt x="743" y="2896"/>
                </a:lnTo>
                <a:lnTo>
                  <a:pt x="777" y="2937"/>
                </a:lnTo>
                <a:lnTo>
                  <a:pt x="812" y="2975"/>
                </a:lnTo>
                <a:lnTo>
                  <a:pt x="848" y="3014"/>
                </a:lnTo>
                <a:lnTo>
                  <a:pt x="885" y="3050"/>
                </a:lnTo>
                <a:lnTo>
                  <a:pt x="924" y="3085"/>
                </a:lnTo>
                <a:lnTo>
                  <a:pt x="964" y="3118"/>
                </a:lnTo>
                <a:lnTo>
                  <a:pt x="1004" y="3151"/>
                </a:lnTo>
                <a:lnTo>
                  <a:pt x="1047" y="3182"/>
                </a:lnTo>
                <a:lnTo>
                  <a:pt x="1090" y="3211"/>
                </a:lnTo>
                <a:lnTo>
                  <a:pt x="1135" y="3239"/>
                </a:lnTo>
                <a:lnTo>
                  <a:pt x="1180" y="3266"/>
                </a:lnTo>
                <a:lnTo>
                  <a:pt x="1226" y="3291"/>
                </a:lnTo>
                <a:lnTo>
                  <a:pt x="1335" y="3348"/>
                </a:lnTo>
                <a:lnTo>
                  <a:pt x="1335" y="3469"/>
                </a:lnTo>
                <a:lnTo>
                  <a:pt x="1335" y="3838"/>
                </a:lnTo>
                <a:lnTo>
                  <a:pt x="1674" y="3838"/>
                </a:lnTo>
                <a:lnTo>
                  <a:pt x="1674" y="2948"/>
                </a:lnTo>
                <a:lnTo>
                  <a:pt x="1260" y="2281"/>
                </a:lnTo>
                <a:lnTo>
                  <a:pt x="1431" y="2175"/>
                </a:lnTo>
                <a:lnTo>
                  <a:pt x="1507" y="2300"/>
                </a:lnTo>
                <a:close/>
                <a:moveTo>
                  <a:pt x="2326" y="2429"/>
                </a:moveTo>
                <a:lnTo>
                  <a:pt x="2326" y="2429"/>
                </a:lnTo>
                <a:lnTo>
                  <a:pt x="2305" y="2432"/>
                </a:lnTo>
                <a:lnTo>
                  <a:pt x="2284" y="2435"/>
                </a:lnTo>
                <a:lnTo>
                  <a:pt x="2258" y="2437"/>
                </a:lnTo>
                <a:lnTo>
                  <a:pt x="2234" y="2437"/>
                </a:lnTo>
                <a:lnTo>
                  <a:pt x="2208" y="2433"/>
                </a:lnTo>
                <a:lnTo>
                  <a:pt x="2184" y="2429"/>
                </a:lnTo>
                <a:lnTo>
                  <a:pt x="2158" y="2420"/>
                </a:lnTo>
                <a:lnTo>
                  <a:pt x="2134" y="2411"/>
                </a:lnTo>
                <a:lnTo>
                  <a:pt x="2109" y="2397"/>
                </a:lnTo>
                <a:lnTo>
                  <a:pt x="2083" y="2382"/>
                </a:lnTo>
                <a:lnTo>
                  <a:pt x="2063" y="2396"/>
                </a:lnTo>
                <a:lnTo>
                  <a:pt x="2045" y="2409"/>
                </a:lnTo>
                <a:lnTo>
                  <a:pt x="2024" y="2419"/>
                </a:lnTo>
                <a:lnTo>
                  <a:pt x="2004" y="2427"/>
                </a:lnTo>
                <a:lnTo>
                  <a:pt x="1983" y="2434"/>
                </a:lnTo>
                <a:lnTo>
                  <a:pt x="1962" y="2438"/>
                </a:lnTo>
                <a:lnTo>
                  <a:pt x="1941" y="2440"/>
                </a:lnTo>
                <a:lnTo>
                  <a:pt x="1920" y="2440"/>
                </a:lnTo>
                <a:lnTo>
                  <a:pt x="1900" y="2439"/>
                </a:lnTo>
                <a:lnTo>
                  <a:pt x="1879" y="2435"/>
                </a:lnTo>
                <a:lnTo>
                  <a:pt x="1858" y="2430"/>
                </a:lnTo>
                <a:lnTo>
                  <a:pt x="1837" y="2423"/>
                </a:lnTo>
                <a:lnTo>
                  <a:pt x="1816" y="2415"/>
                </a:lnTo>
                <a:lnTo>
                  <a:pt x="1794" y="2404"/>
                </a:lnTo>
                <a:lnTo>
                  <a:pt x="1773" y="2393"/>
                </a:lnTo>
                <a:lnTo>
                  <a:pt x="1752" y="2379"/>
                </a:lnTo>
                <a:lnTo>
                  <a:pt x="1735" y="2390"/>
                </a:lnTo>
                <a:lnTo>
                  <a:pt x="1716" y="2399"/>
                </a:lnTo>
                <a:lnTo>
                  <a:pt x="1699" y="2408"/>
                </a:lnTo>
                <a:lnTo>
                  <a:pt x="1679" y="2413"/>
                </a:lnTo>
                <a:lnTo>
                  <a:pt x="1660" y="2418"/>
                </a:lnTo>
                <a:lnTo>
                  <a:pt x="1642" y="2422"/>
                </a:lnTo>
                <a:lnTo>
                  <a:pt x="1622" y="2424"/>
                </a:lnTo>
                <a:lnTo>
                  <a:pt x="1602" y="2424"/>
                </a:lnTo>
                <a:lnTo>
                  <a:pt x="1585" y="2424"/>
                </a:lnTo>
                <a:lnTo>
                  <a:pt x="1860" y="2866"/>
                </a:lnTo>
                <a:lnTo>
                  <a:pt x="1875" y="2891"/>
                </a:lnTo>
                <a:lnTo>
                  <a:pt x="1875" y="2918"/>
                </a:lnTo>
                <a:lnTo>
                  <a:pt x="1875" y="3838"/>
                </a:lnTo>
                <a:lnTo>
                  <a:pt x="2038" y="3838"/>
                </a:lnTo>
                <a:lnTo>
                  <a:pt x="2038" y="2918"/>
                </a:lnTo>
                <a:lnTo>
                  <a:pt x="2038" y="2891"/>
                </a:lnTo>
                <a:lnTo>
                  <a:pt x="2053" y="2866"/>
                </a:lnTo>
                <a:lnTo>
                  <a:pt x="2326" y="2429"/>
                </a:lnTo>
                <a:close/>
                <a:moveTo>
                  <a:pt x="2506" y="5533"/>
                </a:moveTo>
                <a:lnTo>
                  <a:pt x="1402" y="5631"/>
                </a:lnTo>
                <a:lnTo>
                  <a:pt x="1405" y="5656"/>
                </a:lnTo>
                <a:lnTo>
                  <a:pt x="1410" y="5681"/>
                </a:lnTo>
                <a:lnTo>
                  <a:pt x="1417" y="5705"/>
                </a:lnTo>
                <a:lnTo>
                  <a:pt x="1424" y="5729"/>
                </a:lnTo>
                <a:lnTo>
                  <a:pt x="1432" y="5753"/>
                </a:lnTo>
                <a:lnTo>
                  <a:pt x="1441" y="5776"/>
                </a:lnTo>
                <a:lnTo>
                  <a:pt x="1451" y="5798"/>
                </a:lnTo>
                <a:lnTo>
                  <a:pt x="1463" y="5820"/>
                </a:lnTo>
                <a:lnTo>
                  <a:pt x="1475" y="5842"/>
                </a:lnTo>
                <a:lnTo>
                  <a:pt x="1489" y="5862"/>
                </a:lnTo>
                <a:lnTo>
                  <a:pt x="1503" y="5883"/>
                </a:lnTo>
                <a:lnTo>
                  <a:pt x="1516" y="5902"/>
                </a:lnTo>
                <a:lnTo>
                  <a:pt x="1533" y="5921"/>
                </a:lnTo>
                <a:lnTo>
                  <a:pt x="1549" y="5938"/>
                </a:lnTo>
                <a:lnTo>
                  <a:pt x="1566" y="5956"/>
                </a:lnTo>
                <a:lnTo>
                  <a:pt x="1584" y="5973"/>
                </a:lnTo>
                <a:lnTo>
                  <a:pt x="1602" y="5988"/>
                </a:lnTo>
                <a:lnTo>
                  <a:pt x="1622" y="6003"/>
                </a:lnTo>
                <a:lnTo>
                  <a:pt x="1642" y="6017"/>
                </a:lnTo>
                <a:lnTo>
                  <a:pt x="1663" y="6031"/>
                </a:lnTo>
                <a:lnTo>
                  <a:pt x="1685" y="6043"/>
                </a:lnTo>
                <a:lnTo>
                  <a:pt x="1706" y="6055"/>
                </a:lnTo>
                <a:lnTo>
                  <a:pt x="1729" y="6065"/>
                </a:lnTo>
                <a:lnTo>
                  <a:pt x="1752" y="6074"/>
                </a:lnTo>
                <a:lnTo>
                  <a:pt x="1775" y="6082"/>
                </a:lnTo>
                <a:lnTo>
                  <a:pt x="1799" y="6091"/>
                </a:lnTo>
                <a:lnTo>
                  <a:pt x="1823" y="6096"/>
                </a:lnTo>
                <a:lnTo>
                  <a:pt x="1849" y="6102"/>
                </a:lnTo>
                <a:lnTo>
                  <a:pt x="1873" y="6106"/>
                </a:lnTo>
                <a:lnTo>
                  <a:pt x="1900" y="6109"/>
                </a:lnTo>
                <a:lnTo>
                  <a:pt x="1925" y="6110"/>
                </a:lnTo>
                <a:lnTo>
                  <a:pt x="1951" y="6111"/>
                </a:lnTo>
                <a:lnTo>
                  <a:pt x="1980" y="6110"/>
                </a:lnTo>
                <a:lnTo>
                  <a:pt x="2008" y="6109"/>
                </a:lnTo>
                <a:lnTo>
                  <a:pt x="2035" y="6106"/>
                </a:lnTo>
                <a:lnTo>
                  <a:pt x="2063" y="6100"/>
                </a:lnTo>
                <a:lnTo>
                  <a:pt x="2090" y="6094"/>
                </a:lnTo>
                <a:lnTo>
                  <a:pt x="2117" y="6087"/>
                </a:lnTo>
                <a:lnTo>
                  <a:pt x="2142" y="6078"/>
                </a:lnTo>
                <a:lnTo>
                  <a:pt x="2168" y="6067"/>
                </a:lnTo>
                <a:lnTo>
                  <a:pt x="2192" y="6057"/>
                </a:lnTo>
                <a:lnTo>
                  <a:pt x="2215" y="6044"/>
                </a:lnTo>
                <a:lnTo>
                  <a:pt x="2239" y="6031"/>
                </a:lnTo>
                <a:lnTo>
                  <a:pt x="2262" y="6016"/>
                </a:lnTo>
                <a:lnTo>
                  <a:pt x="2284" y="6001"/>
                </a:lnTo>
                <a:lnTo>
                  <a:pt x="2305" y="5985"/>
                </a:lnTo>
                <a:lnTo>
                  <a:pt x="2324" y="5968"/>
                </a:lnTo>
                <a:lnTo>
                  <a:pt x="2344" y="5949"/>
                </a:lnTo>
                <a:lnTo>
                  <a:pt x="2362" y="5929"/>
                </a:lnTo>
                <a:lnTo>
                  <a:pt x="2379" y="5909"/>
                </a:lnTo>
                <a:lnTo>
                  <a:pt x="2396" y="5889"/>
                </a:lnTo>
                <a:lnTo>
                  <a:pt x="2412" y="5866"/>
                </a:lnTo>
                <a:lnTo>
                  <a:pt x="2425" y="5844"/>
                </a:lnTo>
                <a:lnTo>
                  <a:pt x="2439" y="5821"/>
                </a:lnTo>
                <a:lnTo>
                  <a:pt x="2451" y="5797"/>
                </a:lnTo>
                <a:lnTo>
                  <a:pt x="2463" y="5772"/>
                </a:lnTo>
                <a:lnTo>
                  <a:pt x="2473" y="5747"/>
                </a:lnTo>
                <a:lnTo>
                  <a:pt x="2481" y="5721"/>
                </a:lnTo>
                <a:lnTo>
                  <a:pt x="2489" y="5695"/>
                </a:lnTo>
                <a:lnTo>
                  <a:pt x="2495" y="5668"/>
                </a:lnTo>
                <a:lnTo>
                  <a:pt x="2500" y="5641"/>
                </a:lnTo>
                <a:lnTo>
                  <a:pt x="2503" y="5613"/>
                </a:lnTo>
                <a:lnTo>
                  <a:pt x="2506" y="5584"/>
                </a:lnTo>
                <a:lnTo>
                  <a:pt x="2507" y="5556"/>
                </a:lnTo>
                <a:lnTo>
                  <a:pt x="2506" y="5533"/>
                </a:lnTo>
                <a:close/>
                <a:moveTo>
                  <a:pt x="2908" y="4892"/>
                </a:moveTo>
                <a:lnTo>
                  <a:pt x="1018" y="5060"/>
                </a:lnTo>
                <a:lnTo>
                  <a:pt x="1015" y="5089"/>
                </a:lnTo>
                <a:lnTo>
                  <a:pt x="1015" y="5118"/>
                </a:lnTo>
                <a:lnTo>
                  <a:pt x="1017" y="5144"/>
                </a:lnTo>
                <a:lnTo>
                  <a:pt x="2906" y="4978"/>
                </a:lnTo>
                <a:lnTo>
                  <a:pt x="2908" y="4953"/>
                </a:lnTo>
                <a:lnTo>
                  <a:pt x="2910" y="4927"/>
                </a:lnTo>
                <a:lnTo>
                  <a:pt x="2910" y="4910"/>
                </a:lnTo>
                <a:lnTo>
                  <a:pt x="2908" y="4892"/>
                </a:lnTo>
                <a:close/>
                <a:moveTo>
                  <a:pt x="2908" y="4171"/>
                </a:moveTo>
                <a:lnTo>
                  <a:pt x="1018" y="4337"/>
                </a:lnTo>
                <a:lnTo>
                  <a:pt x="1015" y="4368"/>
                </a:lnTo>
                <a:lnTo>
                  <a:pt x="1015" y="4397"/>
                </a:lnTo>
                <a:lnTo>
                  <a:pt x="1017" y="4423"/>
                </a:lnTo>
                <a:lnTo>
                  <a:pt x="2906" y="4257"/>
                </a:lnTo>
                <a:lnTo>
                  <a:pt x="2908" y="4232"/>
                </a:lnTo>
                <a:lnTo>
                  <a:pt x="2910" y="4206"/>
                </a:lnTo>
                <a:lnTo>
                  <a:pt x="2910" y="4189"/>
                </a:lnTo>
                <a:lnTo>
                  <a:pt x="2908" y="4171"/>
                </a:lnTo>
                <a:close/>
              </a:path>
            </a:pathLst>
          </a:custGeom>
          <a:solidFill>
            <a:schemeClr val="bg1"/>
          </a:solidFill>
          <a:ln>
            <a:noFill/>
          </a:ln>
        </p:spPr>
        <p:txBody>
          <a:bodyPr/>
          <a:lstStyle/>
          <a:p>
            <a:endParaRPr lang="zh-CN" altLang="en-US"/>
          </a:p>
        </p:txBody>
      </p:sp>
      <p:sp>
        <p:nvSpPr>
          <p:cNvPr id="60" name="KSO_Shape"/>
          <p:cNvSpPr/>
          <p:nvPr/>
        </p:nvSpPr>
        <p:spPr bwMode="auto">
          <a:xfrm>
            <a:off x="5719979" y="2250403"/>
            <a:ext cx="597181" cy="685103"/>
          </a:xfrm>
          <a:custGeom>
            <a:avLst/>
            <a:gdLst>
              <a:gd name="T0" fmla="*/ 676628 w 4118"/>
              <a:gd name="T1" fmla="*/ 262689 h 4721"/>
              <a:gd name="T2" fmla="*/ 699209 w 4118"/>
              <a:gd name="T3" fmla="*/ 230408 h 4721"/>
              <a:gd name="T4" fmla="*/ 739935 w 4118"/>
              <a:gd name="T5" fmla="*/ 209828 h 4721"/>
              <a:gd name="T6" fmla="*/ 920585 w 4118"/>
              <a:gd name="T7" fmla="*/ 209828 h 4721"/>
              <a:gd name="T8" fmla="*/ 961311 w 4118"/>
              <a:gd name="T9" fmla="*/ 230408 h 4721"/>
              <a:gd name="T10" fmla="*/ 983892 w 4118"/>
              <a:gd name="T11" fmla="*/ 262689 h 4721"/>
              <a:gd name="T12" fmla="*/ 992360 w 4118"/>
              <a:gd name="T13" fmla="*/ 362358 h 4721"/>
              <a:gd name="T14" fmla="*/ 974215 w 4118"/>
              <a:gd name="T15" fmla="*/ 418446 h 4721"/>
              <a:gd name="T16" fmla="*/ 945585 w 4118"/>
              <a:gd name="T17" fmla="*/ 444271 h 4721"/>
              <a:gd name="T18" fmla="*/ 775420 w 4118"/>
              <a:gd name="T19" fmla="*/ 457587 h 4721"/>
              <a:gd name="T20" fmla="*/ 715338 w 4118"/>
              <a:gd name="T21" fmla="*/ 444271 h 4721"/>
              <a:gd name="T22" fmla="*/ 686305 w 4118"/>
              <a:gd name="T23" fmla="*/ 418446 h 4721"/>
              <a:gd name="T24" fmla="*/ 668160 w 4118"/>
              <a:gd name="T25" fmla="*/ 362358 h 4721"/>
              <a:gd name="T26" fmla="*/ 1078249 w 4118"/>
              <a:gd name="T27" fmla="*/ 386165 h 4721"/>
              <a:gd name="T28" fmla="*/ 1100427 w 4118"/>
              <a:gd name="T29" fmla="*/ 449921 h 4721"/>
              <a:gd name="T30" fmla="*/ 1258898 w 4118"/>
              <a:gd name="T31" fmla="*/ 475746 h 4721"/>
              <a:gd name="T32" fmla="*/ 1384304 w 4118"/>
              <a:gd name="T33" fmla="*/ 465254 h 4721"/>
              <a:gd name="T34" fmla="*/ 1451241 w 4118"/>
              <a:gd name="T35" fmla="*/ 421674 h 4721"/>
              <a:gd name="T36" fmla="*/ 1478258 w 4118"/>
              <a:gd name="T37" fmla="*/ 355094 h 4721"/>
              <a:gd name="T38" fmla="*/ 1474226 w 4118"/>
              <a:gd name="T39" fmla="*/ 309093 h 4721"/>
              <a:gd name="T40" fmla="*/ 1431483 w 4118"/>
              <a:gd name="T41" fmla="*/ 245741 h 4721"/>
              <a:gd name="T42" fmla="*/ 1401240 w 4118"/>
              <a:gd name="T43" fmla="*/ 208618 h 4721"/>
              <a:gd name="T44" fmla="*/ 1431886 w 4118"/>
              <a:gd name="T45" fmla="*/ 129932 h 4721"/>
              <a:gd name="T46" fmla="*/ 1423821 w 4118"/>
              <a:gd name="T47" fmla="*/ 79493 h 4721"/>
              <a:gd name="T48" fmla="*/ 1388740 w 4118"/>
              <a:gd name="T49" fmla="*/ 31071 h 4721"/>
              <a:gd name="T50" fmla="*/ 1316561 w 4118"/>
              <a:gd name="T51" fmla="*/ 404 h 4721"/>
              <a:gd name="T52" fmla="*/ 1222204 w 4118"/>
              <a:gd name="T53" fmla="*/ 18965 h 4721"/>
              <a:gd name="T54" fmla="*/ 1085911 w 4118"/>
              <a:gd name="T55" fmla="*/ 94019 h 4721"/>
              <a:gd name="T56" fmla="*/ 1024216 w 4118"/>
              <a:gd name="T57" fmla="*/ 168266 h 4721"/>
              <a:gd name="T58" fmla="*/ 1069781 w 4118"/>
              <a:gd name="T59" fmla="*/ 241706 h 4721"/>
              <a:gd name="T60" fmla="*/ 285893 w 4118"/>
              <a:gd name="T61" fmla="*/ 468079 h 4721"/>
              <a:gd name="T62" fmla="*/ 422187 w 4118"/>
              <a:gd name="T63" fmla="*/ 474535 h 4721"/>
              <a:gd name="T64" fmla="*/ 579448 w 4118"/>
              <a:gd name="T65" fmla="*/ 444675 h 4721"/>
              <a:gd name="T66" fmla="*/ 580658 w 4118"/>
              <a:gd name="T67" fmla="*/ 374060 h 4721"/>
              <a:gd name="T68" fmla="*/ 584690 w 4118"/>
              <a:gd name="T69" fmla="*/ 264303 h 4721"/>
              <a:gd name="T70" fmla="*/ 621788 w 4118"/>
              <a:gd name="T71" fmla="*/ 184810 h 4721"/>
              <a:gd name="T72" fmla="*/ 607271 w 4118"/>
              <a:gd name="T73" fmla="*/ 117827 h 4721"/>
              <a:gd name="T74" fmla="*/ 473397 w 4118"/>
              <a:gd name="T75" fmla="*/ 33895 h 4721"/>
              <a:gd name="T76" fmla="*/ 364927 w 4118"/>
              <a:gd name="T77" fmla="*/ 0 h 4721"/>
              <a:gd name="T78" fmla="*/ 287506 w 4118"/>
              <a:gd name="T79" fmla="*/ 18965 h 4721"/>
              <a:gd name="T80" fmla="*/ 241538 w 4118"/>
              <a:gd name="T81" fmla="*/ 68598 h 4721"/>
              <a:gd name="T82" fmla="*/ 229037 w 4118"/>
              <a:gd name="T83" fmla="*/ 112581 h 4721"/>
              <a:gd name="T84" fmla="*/ 247183 w 4118"/>
              <a:gd name="T85" fmla="*/ 192074 h 4721"/>
              <a:gd name="T86" fmla="*/ 245973 w 4118"/>
              <a:gd name="T87" fmla="*/ 233636 h 4721"/>
              <a:gd name="T88" fmla="*/ 189923 w 4118"/>
              <a:gd name="T89" fmla="*/ 298198 h 4721"/>
              <a:gd name="T90" fmla="*/ 181052 w 4118"/>
              <a:gd name="T91" fmla="*/ 343392 h 4721"/>
              <a:gd name="T92" fmla="*/ 198391 w 4118"/>
              <a:gd name="T93" fmla="*/ 404727 h 4721"/>
              <a:gd name="T94" fmla="*/ 256457 w 4118"/>
              <a:gd name="T95" fmla="*/ 457991 h 4721"/>
              <a:gd name="T96" fmla="*/ 70566 w 4118"/>
              <a:gd name="T97" fmla="*/ 1905000 h 4721"/>
              <a:gd name="T98" fmla="*/ 170971 w 4118"/>
              <a:gd name="T99" fmla="*/ 555238 h 4721"/>
              <a:gd name="T100" fmla="*/ 94357 w 4118"/>
              <a:gd name="T101" fmla="*/ 587520 h 4721"/>
              <a:gd name="T102" fmla="*/ 36694 w 4118"/>
              <a:gd name="T103" fmla="*/ 645626 h 4721"/>
              <a:gd name="T104" fmla="*/ 4032 w 4118"/>
              <a:gd name="T105" fmla="*/ 722294 h 4721"/>
              <a:gd name="T106" fmla="*/ 965344 w 4118"/>
              <a:gd name="T107" fmla="*/ 650065 h 4721"/>
              <a:gd name="T108" fmla="*/ 1656084 w 4118"/>
              <a:gd name="T109" fmla="*/ 722294 h 4721"/>
              <a:gd name="T110" fmla="*/ 1623826 w 4118"/>
              <a:gd name="T111" fmla="*/ 645626 h 4721"/>
              <a:gd name="T112" fmla="*/ 1565760 w 4118"/>
              <a:gd name="T113" fmla="*/ 587520 h 4721"/>
              <a:gd name="T114" fmla="*/ 1489549 w 4118"/>
              <a:gd name="T115" fmla="*/ 555238 h 47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118" h="4721">
                <a:moveTo>
                  <a:pt x="1655" y="866"/>
                </a:moveTo>
                <a:lnTo>
                  <a:pt x="1655" y="777"/>
                </a:lnTo>
                <a:lnTo>
                  <a:pt x="1657" y="746"/>
                </a:lnTo>
                <a:lnTo>
                  <a:pt x="1660" y="716"/>
                </a:lnTo>
                <a:lnTo>
                  <a:pt x="1665" y="689"/>
                </a:lnTo>
                <a:lnTo>
                  <a:pt x="1673" y="663"/>
                </a:lnTo>
                <a:lnTo>
                  <a:pt x="1678" y="651"/>
                </a:lnTo>
                <a:lnTo>
                  <a:pt x="1683" y="639"/>
                </a:lnTo>
                <a:lnTo>
                  <a:pt x="1689" y="627"/>
                </a:lnTo>
                <a:lnTo>
                  <a:pt x="1695" y="617"/>
                </a:lnTo>
                <a:lnTo>
                  <a:pt x="1702" y="607"/>
                </a:lnTo>
                <a:lnTo>
                  <a:pt x="1709" y="597"/>
                </a:lnTo>
                <a:lnTo>
                  <a:pt x="1716" y="588"/>
                </a:lnTo>
                <a:lnTo>
                  <a:pt x="1725" y="579"/>
                </a:lnTo>
                <a:lnTo>
                  <a:pt x="1734" y="571"/>
                </a:lnTo>
                <a:lnTo>
                  <a:pt x="1742" y="563"/>
                </a:lnTo>
                <a:lnTo>
                  <a:pt x="1752" y="555"/>
                </a:lnTo>
                <a:lnTo>
                  <a:pt x="1763" y="549"/>
                </a:lnTo>
                <a:lnTo>
                  <a:pt x="1774" y="542"/>
                </a:lnTo>
                <a:lnTo>
                  <a:pt x="1785" y="537"/>
                </a:lnTo>
                <a:lnTo>
                  <a:pt x="1797" y="532"/>
                </a:lnTo>
                <a:lnTo>
                  <a:pt x="1809" y="527"/>
                </a:lnTo>
                <a:lnTo>
                  <a:pt x="1835" y="520"/>
                </a:lnTo>
                <a:lnTo>
                  <a:pt x="1862" y="514"/>
                </a:lnTo>
                <a:lnTo>
                  <a:pt x="1892" y="511"/>
                </a:lnTo>
                <a:lnTo>
                  <a:pt x="1923" y="510"/>
                </a:lnTo>
                <a:lnTo>
                  <a:pt x="2195" y="510"/>
                </a:lnTo>
                <a:lnTo>
                  <a:pt x="2226" y="511"/>
                </a:lnTo>
                <a:lnTo>
                  <a:pt x="2255" y="514"/>
                </a:lnTo>
                <a:lnTo>
                  <a:pt x="2283" y="520"/>
                </a:lnTo>
                <a:lnTo>
                  <a:pt x="2309" y="527"/>
                </a:lnTo>
                <a:lnTo>
                  <a:pt x="2321" y="532"/>
                </a:lnTo>
                <a:lnTo>
                  <a:pt x="2333" y="537"/>
                </a:lnTo>
                <a:lnTo>
                  <a:pt x="2345" y="542"/>
                </a:lnTo>
                <a:lnTo>
                  <a:pt x="2354" y="549"/>
                </a:lnTo>
                <a:lnTo>
                  <a:pt x="2365" y="555"/>
                </a:lnTo>
                <a:lnTo>
                  <a:pt x="2375" y="563"/>
                </a:lnTo>
                <a:lnTo>
                  <a:pt x="2384" y="571"/>
                </a:lnTo>
                <a:lnTo>
                  <a:pt x="2392" y="579"/>
                </a:lnTo>
                <a:lnTo>
                  <a:pt x="2401" y="588"/>
                </a:lnTo>
                <a:lnTo>
                  <a:pt x="2409" y="597"/>
                </a:lnTo>
                <a:lnTo>
                  <a:pt x="2416" y="607"/>
                </a:lnTo>
                <a:lnTo>
                  <a:pt x="2423" y="617"/>
                </a:lnTo>
                <a:lnTo>
                  <a:pt x="2429" y="627"/>
                </a:lnTo>
                <a:lnTo>
                  <a:pt x="2435" y="639"/>
                </a:lnTo>
                <a:lnTo>
                  <a:pt x="2440" y="651"/>
                </a:lnTo>
                <a:lnTo>
                  <a:pt x="2444" y="663"/>
                </a:lnTo>
                <a:lnTo>
                  <a:pt x="2452" y="689"/>
                </a:lnTo>
                <a:lnTo>
                  <a:pt x="2458" y="716"/>
                </a:lnTo>
                <a:lnTo>
                  <a:pt x="2461" y="746"/>
                </a:lnTo>
                <a:lnTo>
                  <a:pt x="2462" y="777"/>
                </a:lnTo>
                <a:lnTo>
                  <a:pt x="2462" y="866"/>
                </a:lnTo>
                <a:lnTo>
                  <a:pt x="2461" y="898"/>
                </a:lnTo>
                <a:lnTo>
                  <a:pt x="2458" y="927"/>
                </a:lnTo>
                <a:lnTo>
                  <a:pt x="2452" y="955"/>
                </a:lnTo>
                <a:lnTo>
                  <a:pt x="2444" y="982"/>
                </a:lnTo>
                <a:lnTo>
                  <a:pt x="2440" y="993"/>
                </a:lnTo>
                <a:lnTo>
                  <a:pt x="2435" y="1005"/>
                </a:lnTo>
                <a:lnTo>
                  <a:pt x="2429" y="1016"/>
                </a:lnTo>
                <a:lnTo>
                  <a:pt x="2423" y="1027"/>
                </a:lnTo>
                <a:lnTo>
                  <a:pt x="2416" y="1037"/>
                </a:lnTo>
                <a:lnTo>
                  <a:pt x="2409" y="1047"/>
                </a:lnTo>
                <a:lnTo>
                  <a:pt x="2401" y="1057"/>
                </a:lnTo>
                <a:lnTo>
                  <a:pt x="2392" y="1065"/>
                </a:lnTo>
                <a:lnTo>
                  <a:pt x="2384" y="1073"/>
                </a:lnTo>
                <a:lnTo>
                  <a:pt x="2375" y="1081"/>
                </a:lnTo>
                <a:lnTo>
                  <a:pt x="2365" y="1088"/>
                </a:lnTo>
                <a:lnTo>
                  <a:pt x="2354" y="1095"/>
                </a:lnTo>
                <a:lnTo>
                  <a:pt x="2345" y="1101"/>
                </a:lnTo>
                <a:lnTo>
                  <a:pt x="2333" y="1106"/>
                </a:lnTo>
                <a:lnTo>
                  <a:pt x="2321" y="1112"/>
                </a:lnTo>
                <a:lnTo>
                  <a:pt x="2309" y="1116"/>
                </a:lnTo>
                <a:lnTo>
                  <a:pt x="2283" y="1124"/>
                </a:lnTo>
                <a:lnTo>
                  <a:pt x="2255" y="1129"/>
                </a:lnTo>
                <a:lnTo>
                  <a:pt x="2226" y="1133"/>
                </a:lnTo>
                <a:lnTo>
                  <a:pt x="2195" y="1134"/>
                </a:lnTo>
                <a:lnTo>
                  <a:pt x="1923" y="1134"/>
                </a:lnTo>
                <a:lnTo>
                  <a:pt x="1892" y="1133"/>
                </a:lnTo>
                <a:lnTo>
                  <a:pt x="1862" y="1129"/>
                </a:lnTo>
                <a:lnTo>
                  <a:pt x="1835" y="1124"/>
                </a:lnTo>
                <a:lnTo>
                  <a:pt x="1809" y="1116"/>
                </a:lnTo>
                <a:lnTo>
                  <a:pt x="1797" y="1112"/>
                </a:lnTo>
                <a:lnTo>
                  <a:pt x="1785" y="1106"/>
                </a:lnTo>
                <a:lnTo>
                  <a:pt x="1774" y="1101"/>
                </a:lnTo>
                <a:lnTo>
                  <a:pt x="1763" y="1095"/>
                </a:lnTo>
                <a:lnTo>
                  <a:pt x="1752" y="1088"/>
                </a:lnTo>
                <a:lnTo>
                  <a:pt x="1742" y="1081"/>
                </a:lnTo>
                <a:lnTo>
                  <a:pt x="1734" y="1073"/>
                </a:lnTo>
                <a:lnTo>
                  <a:pt x="1725" y="1065"/>
                </a:lnTo>
                <a:lnTo>
                  <a:pt x="1716" y="1057"/>
                </a:lnTo>
                <a:lnTo>
                  <a:pt x="1709" y="1047"/>
                </a:lnTo>
                <a:lnTo>
                  <a:pt x="1702" y="1037"/>
                </a:lnTo>
                <a:lnTo>
                  <a:pt x="1695" y="1027"/>
                </a:lnTo>
                <a:lnTo>
                  <a:pt x="1689" y="1016"/>
                </a:lnTo>
                <a:lnTo>
                  <a:pt x="1683" y="1005"/>
                </a:lnTo>
                <a:lnTo>
                  <a:pt x="1678" y="993"/>
                </a:lnTo>
                <a:lnTo>
                  <a:pt x="1673" y="982"/>
                </a:lnTo>
                <a:lnTo>
                  <a:pt x="1665" y="955"/>
                </a:lnTo>
                <a:lnTo>
                  <a:pt x="1660" y="927"/>
                </a:lnTo>
                <a:lnTo>
                  <a:pt x="1657" y="898"/>
                </a:lnTo>
                <a:lnTo>
                  <a:pt x="1655" y="866"/>
                </a:lnTo>
                <a:close/>
                <a:moveTo>
                  <a:pt x="2680" y="777"/>
                </a:moveTo>
                <a:lnTo>
                  <a:pt x="2680" y="866"/>
                </a:lnTo>
                <a:lnTo>
                  <a:pt x="2679" y="898"/>
                </a:lnTo>
                <a:lnTo>
                  <a:pt x="2677" y="927"/>
                </a:lnTo>
                <a:lnTo>
                  <a:pt x="2674" y="957"/>
                </a:lnTo>
                <a:lnTo>
                  <a:pt x="2668" y="985"/>
                </a:lnTo>
                <a:lnTo>
                  <a:pt x="2662" y="1012"/>
                </a:lnTo>
                <a:lnTo>
                  <a:pt x="2654" y="1039"/>
                </a:lnTo>
                <a:lnTo>
                  <a:pt x="2646" y="1065"/>
                </a:lnTo>
                <a:lnTo>
                  <a:pt x="2636" y="1089"/>
                </a:lnTo>
                <a:lnTo>
                  <a:pt x="2682" y="1103"/>
                </a:lnTo>
                <a:lnTo>
                  <a:pt x="2729" y="1115"/>
                </a:lnTo>
                <a:lnTo>
                  <a:pt x="2777" y="1127"/>
                </a:lnTo>
                <a:lnTo>
                  <a:pt x="2826" y="1139"/>
                </a:lnTo>
                <a:lnTo>
                  <a:pt x="2875" y="1149"/>
                </a:lnTo>
                <a:lnTo>
                  <a:pt x="2924" y="1158"/>
                </a:lnTo>
                <a:lnTo>
                  <a:pt x="2973" y="1165"/>
                </a:lnTo>
                <a:lnTo>
                  <a:pt x="3023" y="1172"/>
                </a:lnTo>
                <a:lnTo>
                  <a:pt x="3072" y="1176"/>
                </a:lnTo>
                <a:lnTo>
                  <a:pt x="3122" y="1179"/>
                </a:lnTo>
                <a:lnTo>
                  <a:pt x="3170" y="1181"/>
                </a:lnTo>
                <a:lnTo>
                  <a:pt x="3219" y="1181"/>
                </a:lnTo>
                <a:lnTo>
                  <a:pt x="3267" y="1179"/>
                </a:lnTo>
                <a:lnTo>
                  <a:pt x="3315" y="1175"/>
                </a:lnTo>
                <a:lnTo>
                  <a:pt x="3362" y="1168"/>
                </a:lnTo>
                <a:lnTo>
                  <a:pt x="3408" y="1160"/>
                </a:lnTo>
                <a:lnTo>
                  <a:pt x="3433" y="1153"/>
                </a:lnTo>
                <a:lnTo>
                  <a:pt x="3458" y="1146"/>
                </a:lnTo>
                <a:lnTo>
                  <a:pt x="3482" y="1135"/>
                </a:lnTo>
                <a:lnTo>
                  <a:pt x="3505" y="1124"/>
                </a:lnTo>
                <a:lnTo>
                  <a:pt x="3526" y="1111"/>
                </a:lnTo>
                <a:lnTo>
                  <a:pt x="3546" y="1097"/>
                </a:lnTo>
                <a:lnTo>
                  <a:pt x="3565" y="1080"/>
                </a:lnTo>
                <a:lnTo>
                  <a:pt x="3582" y="1063"/>
                </a:lnTo>
                <a:lnTo>
                  <a:pt x="3599" y="1045"/>
                </a:lnTo>
                <a:lnTo>
                  <a:pt x="3614" y="1024"/>
                </a:lnTo>
                <a:lnTo>
                  <a:pt x="3627" y="1003"/>
                </a:lnTo>
                <a:lnTo>
                  <a:pt x="3638" y="980"/>
                </a:lnTo>
                <a:lnTo>
                  <a:pt x="3648" y="958"/>
                </a:lnTo>
                <a:lnTo>
                  <a:pt x="3656" y="933"/>
                </a:lnTo>
                <a:lnTo>
                  <a:pt x="3662" y="908"/>
                </a:lnTo>
                <a:lnTo>
                  <a:pt x="3666" y="880"/>
                </a:lnTo>
                <a:lnTo>
                  <a:pt x="3667" y="865"/>
                </a:lnTo>
                <a:lnTo>
                  <a:pt x="3668" y="851"/>
                </a:lnTo>
                <a:lnTo>
                  <a:pt x="3668" y="836"/>
                </a:lnTo>
                <a:lnTo>
                  <a:pt x="3667" y="822"/>
                </a:lnTo>
                <a:lnTo>
                  <a:pt x="3665" y="808"/>
                </a:lnTo>
                <a:lnTo>
                  <a:pt x="3663" y="793"/>
                </a:lnTo>
                <a:lnTo>
                  <a:pt x="3660" y="779"/>
                </a:lnTo>
                <a:lnTo>
                  <a:pt x="3656" y="766"/>
                </a:lnTo>
                <a:lnTo>
                  <a:pt x="3652" y="752"/>
                </a:lnTo>
                <a:lnTo>
                  <a:pt x="3646" y="739"/>
                </a:lnTo>
                <a:lnTo>
                  <a:pt x="3636" y="714"/>
                </a:lnTo>
                <a:lnTo>
                  <a:pt x="3621" y="690"/>
                </a:lnTo>
                <a:lnTo>
                  <a:pt x="3606" y="667"/>
                </a:lnTo>
                <a:lnTo>
                  <a:pt x="3589" y="646"/>
                </a:lnTo>
                <a:lnTo>
                  <a:pt x="3570" y="626"/>
                </a:lnTo>
                <a:lnTo>
                  <a:pt x="3550" y="609"/>
                </a:lnTo>
                <a:lnTo>
                  <a:pt x="3529" y="592"/>
                </a:lnTo>
                <a:lnTo>
                  <a:pt x="3507" y="579"/>
                </a:lnTo>
                <a:lnTo>
                  <a:pt x="3486" y="567"/>
                </a:lnTo>
                <a:lnTo>
                  <a:pt x="3463" y="558"/>
                </a:lnTo>
                <a:lnTo>
                  <a:pt x="3441" y="551"/>
                </a:lnTo>
                <a:lnTo>
                  <a:pt x="3458" y="535"/>
                </a:lnTo>
                <a:lnTo>
                  <a:pt x="3475" y="517"/>
                </a:lnTo>
                <a:lnTo>
                  <a:pt x="3490" y="497"/>
                </a:lnTo>
                <a:lnTo>
                  <a:pt x="3504" y="476"/>
                </a:lnTo>
                <a:lnTo>
                  <a:pt x="3517" y="452"/>
                </a:lnTo>
                <a:lnTo>
                  <a:pt x="3528" y="428"/>
                </a:lnTo>
                <a:lnTo>
                  <a:pt x="3537" y="403"/>
                </a:lnTo>
                <a:lnTo>
                  <a:pt x="3543" y="376"/>
                </a:lnTo>
                <a:lnTo>
                  <a:pt x="3549" y="349"/>
                </a:lnTo>
                <a:lnTo>
                  <a:pt x="3551" y="322"/>
                </a:lnTo>
                <a:lnTo>
                  <a:pt x="3552" y="294"/>
                </a:lnTo>
                <a:lnTo>
                  <a:pt x="3551" y="279"/>
                </a:lnTo>
                <a:lnTo>
                  <a:pt x="3549" y="265"/>
                </a:lnTo>
                <a:lnTo>
                  <a:pt x="3548" y="252"/>
                </a:lnTo>
                <a:lnTo>
                  <a:pt x="3544" y="238"/>
                </a:lnTo>
                <a:lnTo>
                  <a:pt x="3541" y="224"/>
                </a:lnTo>
                <a:lnTo>
                  <a:pt x="3537" y="210"/>
                </a:lnTo>
                <a:lnTo>
                  <a:pt x="3531" y="197"/>
                </a:lnTo>
                <a:lnTo>
                  <a:pt x="3526" y="184"/>
                </a:lnTo>
                <a:lnTo>
                  <a:pt x="3519" y="170"/>
                </a:lnTo>
                <a:lnTo>
                  <a:pt x="3512" y="157"/>
                </a:lnTo>
                <a:lnTo>
                  <a:pt x="3496" y="135"/>
                </a:lnTo>
                <a:lnTo>
                  <a:pt x="3480" y="113"/>
                </a:lnTo>
                <a:lnTo>
                  <a:pt x="3463" y="95"/>
                </a:lnTo>
                <a:lnTo>
                  <a:pt x="3444" y="77"/>
                </a:lnTo>
                <a:lnTo>
                  <a:pt x="3425" y="61"/>
                </a:lnTo>
                <a:lnTo>
                  <a:pt x="3404" y="47"/>
                </a:lnTo>
                <a:lnTo>
                  <a:pt x="3383" y="35"/>
                </a:lnTo>
                <a:lnTo>
                  <a:pt x="3361" y="25"/>
                </a:lnTo>
                <a:lnTo>
                  <a:pt x="3338" y="16"/>
                </a:lnTo>
                <a:lnTo>
                  <a:pt x="3314" y="9"/>
                </a:lnTo>
                <a:lnTo>
                  <a:pt x="3289" y="4"/>
                </a:lnTo>
                <a:lnTo>
                  <a:pt x="3265" y="1"/>
                </a:lnTo>
                <a:lnTo>
                  <a:pt x="3239" y="0"/>
                </a:lnTo>
                <a:lnTo>
                  <a:pt x="3214" y="0"/>
                </a:lnTo>
                <a:lnTo>
                  <a:pt x="3188" y="3"/>
                </a:lnTo>
                <a:lnTo>
                  <a:pt x="3162" y="8"/>
                </a:lnTo>
                <a:lnTo>
                  <a:pt x="3118" y="19"/>
                </a:lnTo>
                <a:lnTo>
                  <a:pt x="3075" y="32"/>
                </a:lnTo>
                <a:lnTo>
                  <a:pt x="3031" y="47"/>
                </a:lnTo>
                <a:lnTo>
                  <a:pt x="2988" y="64"/>
                </a:lnTo>
                <a:lnTo>
                  <a:pt x="2944" y="84"/>
                </a:lnTo>
                <a:lnTo>
                  <a:pt x="2902" y="104"/>
                </a:lnTo>
                <a:lnTo>
                  <a:pt x="2860" y="127"/>
                </a:lnTo>
                <a:lnTo>
                  <a:pt x="2817" y="152"/>
                </a:lnTo>
                <a:lnTo>
                  <a:pt x="2775" y="177"/>
                </a:lnTo>
                <a:lnTo>
                  <a:pt x="2734" y="204"/>
                </a:lnTo>
                <a:lnTo>
                  <a:pt x="2693" y="233"/>
                </a:lnTo>
                <a:lnTo>
                  <a:pt x="2653" y="261"/>
                </a:lnTo>
                <a:lnTo>
                  <a:pt x="2613" y="291"/>
                </a:lnTo>
                <a:lnTo>
                  <a:pt x="2575" y="322"/>
                </a:lnTo>
                <a:lnTo>
                  <a:pt x="2537" y="352"/>
                </a:lnTo>
                <a:lnTo>
                  <a:pt x="2500" y="384"/>
                </a:lnTo>
                <a:lnTo>
                  <a:pt x="2521" y="400"/>
                </a:lnTo>
                <a:lnTo>
                  <a:pt x="2540" y="417"/>
                </a:lnTo>
                <a:lnTo>
                  <a:pt x="2559" y="436"/>
                </a:lnTo>
                <a:lnTo>
                  <a:pt x="2576" y="456"/>
                </a:lnTo>
                <a:lnTo>
                  <a:pt x="2592" y="477"/>
                </a:lnTo>
                <a:lnTo>
                  <a:pt x="2606" y="499"/>
                </a:lnTo>
                <a:lnTo>
                  <a:pt x="2621" y="523"/>
                </a:lnTo>
                <a:lnTo>
                  <a:pt x="2632" y="547"/>
                </a:lnTo>
                <a:lnTo>
                  <a:pt x="2643" y="572"/>
                </a:lnTo>
                <a:lnTo>
                  <a:pt x="2653" y="599"/>
                </a:lnTo>
                <a:lnTo>
                  <a:pt x="2661" y="626"/>
                </a:lnTo>
                <a:lnTo>
                  <a:pt x="2668" y="654"/>
                </a:lnTo>
                <a:lnTo>
                  <a:pt x="2673" y="684"/>
                </a:lnTo>
                <a:lnTo>
                  <a:pt x="2677" y="714"/>
                </a:lnTo>
                <a:lnTo>
                  <a:pt x="2679" y="746"/>
                </a:lnTo>
                <a:lnTo>
                  <a:pt x="2680" y="777"/>
                </a:lnTo>
                <a:close/>
                <a:moveTo>
                  <a:pt x="709" y="1160"/>
                </a:moveTo>
                <a:lnTo>
                  <a:pt x="709" y="1160"/>
                </a:lnTo>
                <a:lnTo>
                  <a:pt x="756" y="1168"/>
                </a:lnTo>
                <a:lnTo>
                  <a:pt x="802" y="1175"/>
                </a:lnTo>
                <a:lnTo>
                  <a:pt x="850" y="1179"/>
                </a:lnTo>
                <a:lnTo>
                  <a:pt x="899" y="1181"/>
                </a:lnTo>
                <a:lnTo>
                  <a:pt x="948" y="1181"/>
                </a:lnTo>
                <a:lnTo>
                  <a:pt x="997" y="1179"/>
                </a:lnTo>
                <a:lnTo>
                  <a:pt x="1047" y="1176"/>
                </a:lnTo>
                <a:lnTo>
                  <a:pt x="1096" y="1172"/>
                </a:lnTo>
                <a:lnTo>
                  <a:pt x="1146" y="1165"/>
                </a:lnTo>
                <a:lnTo>
                  <a:pt x="1195" y="1158"/>
                </a:lnTo>
                <a:lnTo>
                  <a:pt x="1245" y="1149"/>
                </a:lnTo>
                <a:lnTo>
                  <a:pt x="1294" y="1138"/>
                </a:lnTo>
                <a:lnTo>
                  <a:pt x="1341" y="1127"/>
                </a:lnTo>
                <a:lnTo>
                  <a:pt x="1389" y="1115"/>
                </a:lnTo>
                <a:lnTo>
                  <a:pt x="1437" y="1102"/>
                </a:lnTo>
                <a:lnTo>
                  <a:pt x="1484" y="1089"/>
                </a:lnTo>
                <a:lnTo>
                  <a:pt x="1473" y="1064"/>
                </a:lnTo>
                <a:lnTo>
                  <a:pt x="1464" y="1038"/>
                </a:lnTo>
                <a:lnTo>
                  <a:pt x="1456" y="1012"/>
                </a:lnTo>
                <a:lnTo>
                  <a:pt x="1449" y="985"/>
                </a:lnTo>
                <a:lnTo>
                  <a:pt x="1445" y="957"/>
                </a:lnTo>
                <a:lnTo>
                  <a:pt x="1440" y="927"/>
                </a:lnTo>
                <a:lnTo>
                  <a:pt x="1438" y="897"/>
                </a:lnTo>
                <a:lnTo>
                  <a:pt x="1438" y="866"/>
                </a:lnTo>
                <a:lnTo>
                  <a:pt x="1438" y="777"/>
                </a:lnTo>
                <a:lnTo>
                  <a:pt x="1438" y="746"/>
                </a:lnTo>
                <a:lnTo>
                  <a:pt x="1440" y="715"/>
                </a:lnTo>
                <a:lnTo>
                  <a:pt x="1445" y="685"/>
                </a:lnTo>
                <a:lnTo>
                  <a:pt x="1450" y="655"/>
                </a:lnTo>
                <a:lnTo>
                  <a:pt x="1457" y="627"/>
                </a:lnTo>
                <a:lnTo>
                  <a:pt x="1465" y="600"/>
                </a:lnTo>
                <a:lnTo>
                  <a:pt x="1475" y="574"/>
                </a:lnTo>
                <a:lnTo>
                  <a:pt x="1486" y="549"/>
                </a:lnTo>
                <a:lnTo>
                  <a:pt x="1498" y="524"/>
                </a:lnTo>
                <a:lnTo>
                  <a:pt x="1512" y="501"/>
                </a:lnTo>
                <a:lnTo>
                  <a:pt x="1527" y="479"/>
                </a:lnTo>
                <a:lnTo>
                  <a:pt x="1542" y="458"/>
                </a:lnTo>
                <a:lnTo>
                  <a:pt x="1561" y="438"/>
                </a:lnTo>
                <a:lnTo>
                  <a:pt x="1579" y="419"/>
                </a:lnTo>
                <a:lnTo>
                  <a:pt x="1599" y="401"/>
                </a:lnTo>
                <a:lnTo>
                  <a:pt x="1620" y="385"/>
                </a:lnTo>
                <a:lnTo>
                  <a:pt x="1583" y="353"/>
                </a:lnTo>
                <a:lnTo>
                  <a:pt x="1545" y="323"/>
                </a:lnTo>
                <a:lnTo>
                  <a:pt x="1506" y="292"/>
                </a:lnTo>
                <a:lnTo>
                  <a:pt x="1466" y="262"/>
                </a:lnTo>
                <a:lnTo>
                  <a:pt x="1426" y="234"/>
                </a:lnTo>
                <a:lnTo>
                  <a:pt x="1385" y="206"/>
                </a:lnTo>
                <a:lnTo>
                  <a:pt x="1344" y="178"/>
                </a:lnTo>
                <a:lnTo>
                  <a:pt x="1302" y="152"/>
                </a:lnTo>
                <a:lnTo>
                  <a:pt x="1260" y="127"/>
                </a:lnTo>
                <a:lnTo>
                  <a:pt x="1216" y="104"/>
                </a:lnTo>
                <a:lnTo>
                  <a:pt x="1174" y="84"/>
                </a:lnTo>
                <a:lnTo>
                  <a:pt x="1131" y="64"/>
                </a:lnTo>
                <a:lnTo>
                  <a:pt x="1087" y="47"/>
                </a:lnTo>
                <a:lnTo>
                  <a:pt x="1044" y="32"/>
                </a:lnTo>
                <a:lnTo>
                  <a:pt x="999" y="19"/>
                </a:lnTo>
                <a:lnTo>
                  <a:pt x="956" y="8"/>
                </a:lnTo>
                <a:lnTo>
                  <a:pt x="930" y="3"/>
                </a:lnTo>
                <a:lnTo>
                  <a:pt x="905" y="0"/>
                </a:lnTo>
                <a:lnTo>
                  <a:pt x="878" y="0"/>
                </a:lnTo>
                <a:lnTo>
                  <a:pt x="853" y="1"/>
                </a:lnTo>
                <a:lnTo>
                  <a:pt x="828" y="4"/>
                </a:lnTo>
                <a:lnTo>
                  <a:pt x="805" y="9"/>
                </a:lnTo>
                <a:lnTo>
                  <a:pt x="781" y="16"/>
                </a:lnTo>
                <a:lnTo>
                  <a:pt x="757" y="25"/>
                </a:lnTo>
                <a:lnTo>
                  <a:pt x="735" y="35"/>
                </a:lnTo>
                <a:lnTo>
                  <a:pt x="713" y="47"/>
                </a:lnTo>
                <a:lnTo>
                  <a:pt x="693" y="61"/>
                </a:lnTo>
                <a:lnTo>
                  <a:pt x="673" y="77"/>
                </a:lnTo>
                <a:lnTo>
                  <a:pt x="655" y="95"/>
                </a:lnTo>
                <a:lnTo>
                  <a:pt x="637" y="113"/>
                </a:lnTo>
                <a:lnTo>
                  <a:pt x="621" y="135"/>
                </a:lnTo>
                <a:lnTo>
                  <a:pt x="607" y="157"/>
                </a:lnTo>
                <a:lnTo>
                  <a:pt x="599" y="170"/>
                </a:lnTo>
                <a:lnTo>
                  <a:pt x="593" y="184"/>
                </a:lnTo>
                <a:lnTo>
                  <a:pt x="586" y="197"/>
                </a:lnTo>
                <a:lnTo>
                  <a:pt x="582" y="210"/>
                </a:lnTo>
                <a:lnTo>
                  <a:pt x="577" y="224"/>
                </a:lnTo>
                <a:lnTo>
                  <a:pt x="574" y="238"/>
                </a:lnTo>
                <a:lnTo>
                  <a:pt x="571" y="252"/>
                </a:lnTo>
                <a:lnTo>
                  <a:pt x="569" y="265"/>
                </a:lnTo>
                <a:lnTo>
                  <a:pt x="568" y="279"/>
                </a:lnTo>
                <a:lnTo>
                  <a:pt x="567" y="294"/>
                </a:lnTo>
                <a:lnTo>
                  <a:pt x="567" y="322"/>
                </a:lnTo>
                <a:lnTo>
                  <a:pt x="570" y="349"/>
                </a:lnTo>
                <a:lnTo>
                  <a:pt x="574" y="376"/>
                </a:lnTo>
                <a:lnTo>
                  <a:pt x="582" y="403"/>
                </a:lnTo>
                <a:lnTo>
                  <a:pt x="590" y="428"/>
                </a:lnTo>
                <a:lnTo>
                  <a:pt x="601" y="452"/>
                </a:lnTo>
                <a:lnTo>
                  <a:pt x="613" y="476"/>
                </a:lnTo>
                <a:lnTo>
                  <a:pt x="627" y="497"/>
                </a:lnTo>
                <a:lnTo>
                  <a:pt x="643" y="517"/>
                </a:lnTo>
                <a:lnTo>
                  <a:pt x="659" y="535"/>
                </a:lnTo>
                <a:lnTo>
                  <a:pt x="677" y="551"/>
                </a:lnTo>
                <a:lnTo>
                  <a:pt x="655" y="558"/>
                </a:lnTo>
                <a:lnTo>
                  <a:pt x="632" y="567"/>
                </a:lnTo>
                <a:lnTo>
                  <a:pt x="610" y="579"/>
                </a:lnTo>
                <a:lnTo>
                  <a:pt x="588" y="592"/>
                </a:lnTo>
                <a:lnTo>
                  <a:pt x="568" y="609"/>
                </a:lnTo>
                <a:lnTo>
                  <a:pt x="548" y="626"/>
                </a:lnTo>
                <a:lnTo>
                  <a:pt x="530" y="646"/>
                </a:lnTo>
                <a:lnTo>
                  <a:pt x="512" y="667"/>
                </a:lnTo>
                <a:lnTo>
                  <a:pt x="496" y="690"/>
                </a:lnTo>
                <a:lnTo>
                  <a:pt x="483" y="714"/>
                </a:lnTo>
                <a:lnTo>
                  <a:pt x="471" y="739"/>
                </a:lnTo>
                <a:lnTo>
                  <a:pt x="467" y="752"/>
                </a:lnTo>
                <a:lnTo>
                  <a:pt x="462" y="766"/>
                </a:lnTo>
                <a:lnTo>
                  <a:pt x="458" y="779"/>
                </a:lnTo>
                <a:lnTo>
                  <a:pt x="455" y="793"/>
                </a:lnTo>
                <a:lnTo>
                  <a:pt x="452" y="808"/>
                </a:lnTo>
                <a:lnTo>
                  <a:pt x="450" y="822"/>
                </a:lnTo>
                <a:lnTo>
                  <a:pt x="450" y="836"/>
                </a:lnTo>
                <a:lnTo>
                  <a:pt x="449" y="851"/>
                </a:lnTo>
                <a:lnTo>
                  <a:pt x="450" y="865"/>
                </a:lnTo>
                <a:lnTo>
                  <a:pt x="451" y="880"/>
                </a:lnTo>
                <a:lnTo>
                  <a:pt x="456" y="908"/>
                </a:lnTo>
                <a:lnTo>
                  <a:pt x="462" y="933"/>
                </a:lnTo>
                <a:lnTo>
                  <a:pt x="470" y="958"/>
                </a:lnTo>
                <a:lnTo>
                  <a:pt x="480" y="980"/>
                </a:lnTo>
                <a:lnTo>
                  <a:pt x="492" y="1003"/>
                </a:lnTo>
                <a:lnTo>
                  <a:pt x="505" y="1024"/>
                </a:lnTo>
                <a:lnTo>
                  <a:pt x="519" y="1045"/>
                </a:lnTo>
                <a:lnTo>
                  <a:pt x="535" y="1063"/>
                </a:lnTo>
                <a:lnTo>
                  <a:pt x="552" y="1080"/>
                </a:lnTo>
                <a:lnTo>
                  <a:pt x="572" y="1097"/>
                </a:lnTo>
                <a:lnTo>
                  <a:pt x="592" y="1111"/>
                </a:lnTo>
                <a:lnTo>
                  <a:pt x="613" y="1124"/>
                </a:lnTo>
                <a:lnTo>
                  <a:pt x="636" y="1135"/>
                </a:lnTo>
                <a:lnTo>
                  <a:pt x="659" y="1146"/>
                </a:lnTo>
                <a:lnTo>
                  <a:pt x="684" y="1153"/>
                </a:lnTo>
                <a:lnTo>
                  <a:pt x="709" y="1160"/>
                </a:lnTo>
                <a:close/>
                <a:moveTo>
                  <a:pt x="175" y="2702"/>
                </a:moveTo>
                <a:lnTo>
                  <a:pt x="3942" y="2702"/>
                </a:lnTo>
                <a:lnTo>
                  <a:pt x="3942" y="4721"/>
                </a:lnTo>
                <a:lnTo>
                  <a:pt x="175" y="4721"/>
                </a:lnTo>
                <a:lnTo>
                  <a:pt x="175" y="2702"/>
                </a:lnTo>
                <a:close/>
                <a:moveTo>
                  <a:pt x="3587" y="1365"/>
                </a:moveTo>
                <a:lnTo>
                  <a:pt x="531" y="1365"/>
                </a:lnTo>
                <a:lnTo>
                  <a:pt x="503" y="1366"/>
                </a:lnTo>
                <a:lnTo>
                  <a:pt x="476" y="1368"/>
                </a:lnTo>
                <a:lnTo>
                  <a:pt x="450" y="1372"/>
                </a:lnTo>
                <a:lnTo>
                  <a:pt x="424" y="1376"/>
                </a:lnTo>
                <a:lnTo>
                  <a:pt x="398" y="1383"/>
                </a:lnTo>
                <a:lnTo>
                  <a:pt x="373" y="1389"/>
                </a:lnTo>
                <a:lnTo>
                  <a:pt x="348" y="1398"/>
                </a:lnTo>
                <a:lnTo>
                  <a:pt x="324" y="1408"/>
                </a:lnTo>
                <a:lnTo>
                  <a:pt x="300" y="1417"/>
                </a:lnTo>
                <a:lnTo>
                  <a:pt x="277" y="1429"/>
                </a:lnTo>
                <a:lnTo>
                  <a:pt x="256" y="1442"/>
                </a:lnTo>
                <a:lnTo>
                  <a:pt x="234" y="1456"/>
                </a:lnTo>
                <a:lnTo>
                  <a:pt x="213" y="1471"/>
                </a:lnTo>
                <a:lnTo>
                  <a:pt x="193" y="1487"/>
                </a:lnTo>
                <a:lnTo>
                  <a:pt x="174" y="1503"/>
                </a:lnTo>
                <a:lnTo>
                  <a:pt x="156" y="1521"/>
                </a:lnTo>
                <a:lnTo>
                  <a:pt x="137" y="1539"/>
                </a:lnTo>
                <a:lnTo>
                  <a:pt x="121" y="1559"/>
                </a:lnTo>
                <a:lnTo>
                  <a:pt x="106" y="1579"/>
                </a:lnTo>
                <a:lnTo>
                  <a:pt x="91" y="1600"/>
                </a:lnTo>
                <a:lnTo>
                  <a:pt x="76" y="1622"/>
                </a:lnTo>
                <a:lnTo>
                  <a:pt x="64" y="1643"/>
                </a:lnTo>
                <a:lnTo>
                  <a:pt x="52" y="1666"/>
                </a:lnTo>
                <a:lnTo>
                  <a:pt x="42" y="1690"/>
                </a:lnTo>
                <a:lnTo>
                  <a:pt x="32" y="1714"/>
                </a:lnTo>
                <a:lnTo>
                  <a:pt x="24" y="1739"/>
                </a:lnTo>
                <a:lnTo>
                  <a:pt x="17" y="1764"/>
                </a:lnTo>
                <a:lnTo>
                  <a:pt x="10" y="1790"/>
                </a:lnTo>
                <a:lnTo>
                  <a:pt x="6" y="1816"/>
                </a:lnTo>
                <a:lnTo>
                  <a:pt x="2" y="1842"/>
                </a:lnTo>
                <a:lnTo>
                  <a:pt x="0" y="1869"/>
                </a:lnTo>
                <a:lnTo>
                  <a:pt x="0" y="1897"/>
                </a:lnTo>
                <a:lnTo>
                  <a:pt x="0" y="2482"/>
                </a:lnTo>
                <a:lnTo>
                  <a:pt x="1724" y="2482"/>
                </a:lnTo>
                <a:lnTo>
                  <a:pt x="1724" y="1611"/>
                </a:lnTo>
                <a:lnTo>
                  <a:pt x="2394" y="1611"/>
                </a:lnTo>
                <a:lnTo>
                  <a:pt x="2394" y="2482"/>
                </a:lnTo>
                <a:lnTo>
                  <a:pt x="4118" y="2482"/>
                </a:lnTo>
                <a:lnTo>
                  <a:pt x="4118" y="1897"/>
                </a:lnTo>
                <a:lnTo>
                  <a:pt x="4117" y="1869"/>
                </a:lnTo>
                <a:lnTo>
                  <a:pt x="4115" y="1842"/>
                </a:lnTo>
                <a:lnTo>
                  <a:pt x="4112" y="1816"/>
                </a:lnTo>
                <a:lnTo>
                  <a:pt x="4107" y="1790"/>
                </a:lnTo>
                <a:lnTo>
                  <a:pt x="4101" y="1764"/>
                </a:lnTo>
                <a:lnTo>
                  <a:pt x="4094" y="1739"/>
                </a:lnTo>
                <a:lnTo>
                  <a:pt x="4086" y="1714"/>
                </a:lnTo>
                <a:lnTo>
                  <a:pt x="4076" y="1690"/>
                </a:lnTo>
                <a:lnTo>
                  <a:pt x="4066" y="1666"/>
                </a:lnTo>
                <a:lnTo>
                  <a:pt x="4054" y="1643"/>
                </a:lnTo>
                <a:lnTo>
                  <a:pt x="4041" y="1622"/>
                </a:lnTo>
                <a:lnTo>
                  <a:pt x="4027" y="1600"/>
                </a:lnTo>
                <a:lnTo>
                  <a:pt x="4013" y="1579"/>
                </a:lnTo>
                <a:lnTo>
                  <a:pt x="3996" y="1559"/>
                </a:lnTo>
                <a:lnTo>
                  <a:pt x="3980" y="1539"/>
                </a:lnTo>
                <a:lnTo>
                  <a:pt x="3963" y="1521"/>
                </a:lnTo>
                <a:lnTo>
                  <a:pt x="3944" y="1503"/>
                </a:lnTo>
                <a:lnTo>
                  <a:pt x="3925" y="1487"/>
                </a:lnTo>
                <a:lnTo>
                  <a:pt x="3905" y="1471"/>
                </a:lnTo>
                <a:lnTo>
                  <a:pt x="3883" y="1456"/>
                </a:lnTo>
                <a:lnTo>
                  <a:pt x="3863" y="1442"/>
                </a:lnTo>
                <a:lnTo>
                  <a:pt x="3840" y="1429"/>
                </a:lnTo>
                <a:lnTo>
                  <a:pt x="3817" y="1417"/>
                </a:lnTo>
                <a:lnTo>
                  <a:pt x="3793" y="1408"/>
                </a:lnTo>
                <a:lnTo>
                  <a:pt x="3769" y="1398"/>
                </a:lnTo>
                <a:lnTo>
                  <a:pt x="3744" y="1389"/>
                </a:lnTo>
                <a:lnTo>
                  <a:pt x="3719" y="1383"/>
                </a:lnTo>
                <a:lnTo>
                  <a:pt x="3694" y="1376"/>
                </a:lnTo>
                <a:lnTo>
                  <a:pt x="3667" y="1372"/>
                </a:lnTo>
                <a:lnTo>
                  <a:pt x="3641" y="1368"/>
                </a:lnTo>
                <a:lnTo>
                  <a:pt x="3614" y="1366"/>
                </a:lnTo>
                <a:lnTo>
                  <a:pt x="3587" y="1365"/>
                </a:lnTo>
                <a:close/>
              </a:path>
            </a:pathLst>
          </a:custGeom>
          <a:solidFill>
            <a:schemeClr val="bg1"/>
          </a:solidFill>
          <a:ln>
            <a:noFill/>
          </a:ln>
        </p:spPr>
        <p:txBody>
          <a:bodyPr/>
          <a:lstStyle/>
          <a:p>
            <a:endParaRPr lang="zh-CN" altLang="en-US"/>
          </a:p>
        </p:txBody>
      </p:sp>
      <p:sp>
        <p:nvSpPr>
          <p:cNvPr id="61" name="KSO_Shape"/>
          <p:cNvSpPr/>
          <p:nvPr/>
        </p:nvSpPr>
        <p:spPr bwMode="auto">
          <a:xfrm>
            <a:off x="7682408" y="1171613"/>
            <a:ext cx="812007" cy="446604"/>
          </a:xfrm>
          <a:custGeom>
            <a:avLst/>
            <a:gdLst>
              <a:gd name="T0" fmla="*/ 1677255 w 5345"/>
              <a:gd name="T1" fmla="*/ 537838 h 2936"/>
              <a:gd name="T2" fmla="*/ 1647317 w 5345"/>
              <a:gd name="T3" fmla="*/ 452541 h 2936"/>
              <a:gd name="T4" fmla="*/ 1599915 w 5345"/>
              <a:gd name="T5" fmla="*/ 377950 h 2936"/>
              <a:gd name="T6" fmla="*/ 1536831 w 5345"/>
              <a:gd name="T7" fmla="*/ 316208 h 2936"/>
              <a:gd name="T8" fmla="*/ 1460916 w 5345"/>
              <a:gd name="T9" fmla="*/ 270168 h 2936"/>
              <a:gd name="T10" fmla="*/ 1374665 w 5345"/>
              <a:gd name="T11" fmla="*/ 242331 h 2936"/>
              <a:gd name="T12" fmla="*/ 1300176 w 5345"/>
              <a:gd name="T13" fmla="*/ 234836 h 2936"/>
              <a:gd name="T14" fmla="*/ 1228181 w 5345"/>
              <a:gd name="T15" fmla="*/ 241617 h 2936"/>
              <a:gd name="T16" fmla="*/ 1160820 w 5345"/>
              <a:gd name="T17" fmla="*/ 261246 h 2936"/>
              <a:gd name="T18" fmla="*/ 1098805 w 5345"/>
              <a:gd name="T19" fmla="*/ 291582 h 2936"/>
              <a:gd name="T20" fmla="*/ 1071718 w 5345"/>
              <a:gd name="T21" fmla="*/ 252324 h 2936"/>
              <a:gd name="T22" fmla="*/ 1034652 w 5345"/>
              <a:gd name="T23" fmla="*/ 179874 h 2936"/>
              <a:gd name="T24" fmla="*/ 984042 w 5345"/>
              <a:gd name="T25" fmla="*/ 117418 h 2936"/>
              <a:gd name="T26" fmla="*/ 921671 w 5345"/>
              <a:gd name="T27" fmla="*/ 66025 h 2936"/>
              <a:gd name="T28" fmla="*/ 849676 w 5345"/>
              <a:gd name="T29" fmla="*/ 28195 h 2936"/>
              <a:gd name="T30" fmla="*/ 770554 w 5345"/>
              <a:gd name="T31" fmla="*/ 6067 h 2936"/>
              <a:gd name="T32" fmla="*/ 702480 w 5345"/>
              <a:gd name="T33" fmla="*/ 0 h 2936"/>
              <a:gd name="T34" fmla="*/ 651870 w 5345"/>
              <a:gd name="T35" fmla="*/ 2855 h 2936"/>
              <a:gd name="T36" fmla="*/ 565619 w 5345"/>
              <a:gd name="T37" fmla="*/ 24269 h 2936"/>
              <a:gd name="T38" fmla="*/ 480081 w 5345"/>
              <a:gd name="T39" fmla="*/ 68167 h 2936"/>
              <a:gd name="T40" fmla="*/ 407731 w 5345"/>
              <a:gd name="T41" fmla="*/ 130623 h 2936"/>
              <a:gd name="T42" fmla="*/ 352487 w 5345"/>
              <a:gd name="T43" fmla="*/ 208426 h 2936"/>
              <a:gd name="T44" fmla="*/ 317203 w 5345"/>
              <a:gd name="T45" fmla="*/ 298720 h 2936"/>
              <a:gd name="T46" fmla="*/ 305798 w 5345"/>
              <a:gd name="T47" fmla="*/ 367600 h 2936"/>
              <a:gd name="T48" fmla="*/ 304729 w 5345"/>
              <a:gd name="T49" fmla="*/ 410427 h 2936"/>
              <a:gd name="T50" fmla="*/ 301165 w 5345"/>
              <a:gd name="T51" fmla="*/ 445760 h 2936"/>
              <a:gd name="T52" fmla="*/ 240219 w 5345"/>
              <a:gd name="T53" fmla="*/ 451827 h 2936"/>
              <a:gd name="T54" fmla="*/ 170719 w 5345"/>
              <a:gd name="T55" fmla="*/ 475382 h 2936"/>
              <a:gd name="T56" fmla="*/ 109417 w 5345"/>
              <a:gd name="T57" fmla="*/ 514283 h 2936"/>
              <a:gd name="T58" fmla="*/ 60233 w 5345"/>
              <a:gd name="T59" fmla="*/ 566747 h 2936"/>
              <a:gd name="T60" fmla="*/ 23879 w 5345"/>
              <a:gd name="T61" fmla="*/ 629560 h 2936"/>
              <a:gd name="T62" fmla="*/ 3564 w 5345"/>
              <a:gd name="T63" fmla="*/ 701296 h 2936"/>
              <a:gd name="T64" fmla="*/ 713 w 5345"/>
              <a:gd name="T65" fmla="*/ 761967 h 2936"/>
              <a:gd name="T66" fmla="*/ 12831 w 5345"/>
              <a:gd name="T67" fmla="*/ 833703 h 2936"/>
              <a:gd name="T68" fmla="*/ 40987 w 5345"/>
              <a:gd name="T69" fmla="*/ 898301 h 2936"/>
              <a:gd name="T70" fmla="*/ 83399 w 5345"/>
              <a:gd name="T71" fmla="*/ 954333 h 2936"/>
              <a:gd name="T72" fmla="*/ 137217 w 5345"/>
              <a:gd name="T73" fmla="*/ 998945 h 2936"/>
              <a:gd name="T74" fmla="*/ 200658 w 5345"/>
              <a:gd name="T75" fmla="*/ 1030351 h 2936"/>
              <a:gd name="T76" fmla="*/ 271226 w 5345"/>
              <a:gd name="T77" fmla="*/ 1046055 h 2936"/>
              <a:gd name="T78" fmla="*/ 1668702 w 5345"/>
              <a:gd name="T79" fmla="*/ 1046768 h 2936"/>
              <a:gd name="T80" fmla="*/ 1700778 w 5345"/>
              <a:gd name="T81" fmla="*/ 1046768 h 2936"/>
              <a:gd name="T82" fmla="*/ 1755665 w 5345"/>
              <a:gd name="T83" fmla="*/ 1034277 h 2936"/>
              <a:gd name="T84" fmla="*/ 1804493 w 5345"/>
              <a:gd name="T85" fmla="*/ 1008938 h 2936"/>
              <a:gd name="T86" fmla="*/ 1845836 w 5345"/>
              <a:gd name="T87" fmla="*/ 973248 h 2936"/>
              <a:gd name="T88" fmla="*/ 1877557 w 5345"/>
              <a:gd name="T89" fmla="*/ 928637 h 2936"/>
              <a:gd name="T90" fmla="*/ 1897872 w 5345"/>
              <a:gd name="T91" fmla="*/ 876887 h 2936"/>
              <a:gd name="T92" fmla="*/ 1905000 w 5345"/>
              <a:gd name="T93" fmla="*/ 819784 h 2936"/>
              <a:gd name="T94" fmla="*/ 1900723 w 5345"/>
              <a:gd name="T95" fmla="*/ 775172 h 2936"/>
              <a:gd name="T96" fmla="*/ 1883259 w 5345"/>
              <a:gd name="T97" fmla="*/ 723066 h 2936"/>
              <a:gd name="T98" fmla="*/ 1855103 w 5345"/>
              <a:gd name="T99" fmla="*/ 677741 h 2936"/>
              <a:gd name="T100" fmla="*/ 1816967 w 5345"/>
              <a:gd name="T101" fmla="*/ 640624 h 2936"/>
              <a:gd name="T102" fmla="*/ 1770991 w 5345"/>
              <a:gd name="T103" fmla="*/ 612786 h 2936"/>
              <a:gd name="T104" fmla="*/ 1718955 w 5345"/>
              <a:gd name="T105" fmla="*/ 596726 h 29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45" h="2936">
                <a:moveTo>
                  <a:pt x="4729" y="1661"/>
                </a:moveTo>
                <a:lnTo>
                  <a:pt x="4729" y="1661"/>
                </a:lnTo>
                <a:lnTo>
                  <a:pt x="4723" y="1609"/>
                </a:lnTo>
                <a:lnTo>
                  <a:pt x="4716" y="1558"/>
                </a:lnTo>
                <a:lnTo>
                  <a:pt x="4706" y="1507"/>
                </a:lnTo>
                <a:lnTo>
                  <a:pt x="4693" y="1458"/>
                </a:lnTo>
                <a:lnTo>
                  <a:pt x="4679" y="1409"/>
                </a:lnTo>
                <a:lnTo>
                  <a:pt x="4663" y="1361"/>
                </a:lnTo>
                <a:lnTo>
                  <a:pt x="4644" y="1314"/>
                </a:lnTo>
                <a:lnTo>
                  <a:pt x="4622" y="1268"/>
                </a:lnTo>
                <a:lnTo>
                  <a:pt x="4600" y="1223"/>
                </a:lnTo>
                <a:lnTo>
                  <a:pt x="4575" y="1181"/>
                </a:lnTo>
                <a:lnTo>
                  <a:pt x="4548" y="1138"/>
                </a:lnTo>
                <a:lnTo>
                  <a:pt x="4519" y="1098"/>
                </a:lnTo>
                <a:lnTo>
                  <a:pt x="4489" y="1059"/>
                </a:lnTo>
                <a:lnTo>
                  <a:pt x="4457" y="1021"/>
                </a:lnTo>
                <a:lnTo>
                  <a:pt x="4422" y="984"/>
                </a:lnTo>
                <a:lnTo>
                  <a:pt x="4387" y="950"/>
                </a:lnTo>
                <a:lnTo>
                  <a:pt x="4350" y="917"/>
                </a:lnTo>
                <a:lnTo>
                  <a:pt x="4312" y="886"/>
                </a:lnTo>
                <a:lnTo>
                  <a:pt x="4272" y="856"/>
                </a:lnTo>
                <a:lnTo>
                  <a:pt x="4230" y="828"/>
                </a:lnTo>
                <a:lnTo>
                  <a:pt x="4188" y="802"/>
                </a:lnTo>
                <a:lnTo>
                  <a:pt x="4144" y="778"/>
                </a:lnTo>
                <a:lnTo>
                  <a:pt x="4099" y="757"/>
                </a:lnTo>
                <a:lnTo>
                  <a:pt x="4053" y="737"/>
                </a:lnTo>
                <a:lnTo>
                  <a:pt x="4005" y="719"/>
                </a:lnTo>
                <a:lnTo>
                  <a:pt x="3957" y="703"/>
                </a:lnTo>
                <a:lnTo>
                  <a:pt x="3907" y="689"/>
                </a:lnTo>
                <a:lnTo>
                  <a:pt x="3857" y="679"/>
                </a:lnTo>
                <a:lnTo>
                  <a:pt x="3806" y="670"/>
                </a:lnTo>
                <a:lnTo>
                  <a:pt x="3754" y="663"/>
                </a:lnTo>
                <a:lnTo>
                  <a:pt x="3701" y="660"/>
                </a:lnTo>
                <a:lnTo>
                  <a:pt x="3648" y="658"/>
                </a:lnTo>
                <a:lnTo>
                  <a:pt x="3608" y="660"/>
                </a:lnTo>
                <a:lnTo>
                  <a:pt x="3566" y="661"/>
                </a:lnTo>
                <a:lnTo>
                  <a:pt x="3526" y="665"/>
                </a:lnTo>
                <a:lnTo>
                  <a:pt x="3486" y="670"/>
                </a:lnTo>
                <a:lnTo>
                  <a:pt x="3446" y="677"/>
                </a:lnTo>
                <a:lnTo>
                  <a:pt x="3407" y="686"/>
                </a:lnTo>
                <a:lnTo>
                  <a:pt x="3368" y="695"/>
                </a:lnTo>
                <a:lnTo>
                  <a:pt x="3330" y="706"/>
                </a:lnTo>
                <a:lnTo>
                  <a:pt x="3294" y="718"/>
                </a:lnTo>
                <a:lnTo>
                  <a:pt x="3257" y="732"/>
                </a:lnTo>
                <a:lnTo>
                  <a:pt x="3220" y="746"/>
                </a:lnTo>
                <a:lnTo>
                  <a:pt x="3185" y="763"/>
                </a:lnTo>
                <a:lnTo>
                  <a:pt x="3150" y="779"/>
                </a:lnTo>
                <a:lnTo>
                  <a:pt x="3116" y="798"/>
                </a:lnTo>
                <a:lnTo>
                  <a:pt x="3083" y="817"/>
                </a:lnTo>
                <a:lnTo>
                  <a:pt x="3050" y="838"/>
                </a:lnTo>
                <a:lnTo>
                  <a:pt x="3038" y="793"/>
                </a:lnTo>
                <a:lnTo>
                  <a:pt x="3024" y="750"/>
                </a:lnTo>
                <a:lnTo>
                  <a:pt x="3007" y="707"/>
                </a:lnTo>
                <a:lnTo>
                  <a:pt x="2989" y="664"/>
                </a:lnTo>
                <a:lnTo>
                  <a:pt x="2970" y="623"/>
                </a:lnTo>
                <a:lnTo>
                  <a:pt x="2949" y="583"/>
                </a:lnTo>
                <a:lnTo>
                  <a:pt x="2927" y="542"/>
                </a:lnTo>
                <a:lnTo>
                  <a:pt x="2903" y="504"/>
                </a:lnTo>
                <a:lnTo>
                  <a:pt x="2877" y="467"/>
                </a:lnTo>
                <a:lnTo>
                  <a:pt x="2850" y="430"/>
                </a:lnTo>
                <a:lnTo>
                  <a:pt x="2821" y="396"/>
                </a:lnTo>
                <a:lnTo>
                  <a:pt x="2792" y="361"/>
                </a:lnTo>
                <a:lnTo>
                  <a:pt x="2761" y="329"/>
                </a:lnTo>
                <a:lnTo>
                  <a:pt x="2728" y="297"/>
                </a:lnTo>
                <a:lnTo>
                  <a:pt x="2694" y="268"/>
                </a:lnTo>
                <a:lnTo>
                  <a:pt x="2659" y="238"/>
                </a:lnTo>
                <a:lnTo>
                  <a:pt x="2623" y="211"/>
                </a:lnTo>
                <a:lnTo>
                  <a:pt x="2586" y="185"/>
                </a:lnTo>
                <a:lnTo>
                  <a:pt x="2548" y="161"/>
                </a:lnTo>
                <a:lnTo>
                  <a:pt x="2509" y="139"/>
                </a:lnTo>
                <a:lnTo>
                  <a:pt x="2468" y="117"/>
                </a:lnTo>
                <a:lnTo>
                  <a:pt x="2427" y="97"/>
                </a:lnTo>
                <a:lnTo>
                  <a:pt x="2384" y="79"/>
                </a:lnTo>
                <a:lnTo>
                  <a:pt x="2342" y="63"/>
                </a:lnTo>
                <a:lnTo>
                  <a:pt x="2298" y="49"/>
                </a:lnTo>
                <a:lnTo>
                  <a:pt x="2253" y="36"/>
                </a:lnTo>
                <a:lnTo>
                  <a:pt x="2208" y="25"/>
                </a:lnTo>
                <a:lnTo>
                  <a:pt x="2162" y="17"/>
                </a:lnTo>
                <a:lnTo>
                  <a:pt x="2114" y="9"/>
                </a:lnTo>
                <a:lnTo>
                  <a:pt x="2067" y="4"/>
                </a:lnTo>
                <a:lnTo>
                  <a:pt x="2019" y="1"/>
                </a:lnTo>
                <a:lnTo>
                  <a:pt x="1971" y="0"/>
                </a:lnTo>
                <a:lnTo>
                  <a:pt x="1941" y="0"/>
                </a:lnTo>
                <a:lnTo>
                  <a:pt x="1913" y="1"/>
                </a:lnTo>
                <a:lnTo>
                  <a:pt x="1884" y="4"/>
                </a:lnTo>
                <a:lnTo>
                  <a:pt x="1856" y="6"/>
                </a:lnTo>
                <a:lnTo>
                  <a:pt x="1829" y="8"/>
                </a:lnTo>
                <a:lnTo>
                  <a:pt x="1800" y="13"/>
                </a:lnTo>
                <a:lnTo>
                  <a:pt x="1746" y="23"/>
                </a:lnTo>
                <a:lnTo>
                  <a:pt x="1691" y="34"/>
                </a:lnTo>
                <a:lnTo>
                  <a:pt x="1638" y="50"/>
                </a:lnTo>
                <a:lnTo>
                  <a:pt x="1587" y="68"/>
                </a:lnTo>
                <a:lnTo>
                  <a:pt x="1536" y="88"/>
                </a:lnTo>
                <a:lnTo>
                  <a:pt x="1487" y="110"/>
                </a:lnTo>
                <a:lnTo>
                  <a:pt x="1438" y="135"/>
                </a:lnTo>
                <a:lnTo>
                  <a:pt x="1392" y="161"/>
                </a:lnTo>
                <a:lnTo>
                  <a:pt x="1347" y="191"/>
                </a:lnTo>
                <a:lnTo>
                  <a:pt x="1303" y="221"/>
                </a:lnTo>
                <a:lnTo>
                  <a:pt x="1260" y="255"/>
                </a:lnTo>
                <a:lnTo>
                  <a:pt x="1220" y="290"/>
                </a:lnTo>
                <a:lnTo>
                  <a:pt x="1181" y="327"/>
                </a:lnTo>
                <a:lnTo>
                  <a:pt x="1144" y="366"/>
                </a:lnTo>
                <a:lnTo>
                  <a:pt x="1109" y="406"/>
                </a:lnTo>
                <a:lnTo>
                  <a:pt x="1076" y="448"/>
                </a:lnTo>
                <a:lnTo>
                  <a:pt x="1045" y="491"/>
                </a:lnTo>
                <a:lnTo>
                  <a:pt x="1016" y="538"/>
                </a:lnTo>
                <a:lnTo>
                  <a:pt x="989" y="584"/>
                </a:lnTo>
                <a:lnTo>
                  <a:pt x="964" y="632"/>
                </a:lnTo>
                <a:lnTo>
                  <a:pt x="942" y="681"/>
                </a:lnTo>
                <a:lnTo>
                  <a:pt x="922" y="732"/>
                </a:lnTo>
                <a:lnTo>
                  <a:pt x="905" y="784"/>
                </a:lnTo>
                <a:lnTo>
                  <a:pt x="890" y="837"/>
                </a:lnTo>
                <a:lnTo>
                  <a:pt x="877" y="890"/>
                </a:lnTo>
                <a:lnTo>
                  <a:pt x="867" y="946"/>
                </a:lnTo>
                <a:lnTo>
                  <a:pt x="864" y="973"/>
                </a:lnTo>
                <a:lnTo>
                  <a:pt x="860" y="1002"/>
                </a:lnTo>
                <a:lnTo>
                  <a:pt x="858" y="1030"/>
                </a:lnTo>
                <a:lnTo>
                  <a:pt x="855" y="1059"/>
                </a:lnTo>
                <a:lnTo>
                  <a:pt x="855" y="1087"/>
                </a:lnTo>
                <a:lnTo>
                  <a:pt x="854" y="1115"/>
                </a:lnTo>
                <a:lnTo>
                  <a:pt x="855" y="1150"/>
                </a:lnTo>
                <a:lnTo>
                  <a:pt x="857" y="1183"/>
                </a:lnTo>
                <a:lnTo>
                  <a:pt x="860" y="1216"/>
                </a:lnTo>
                <a:lnTo>
                  <a:pt x="864" y="1250"/>
                </a:lnTo>
                <a:lnTo>
                  <a:pt x="845" y="1249"/>
                </a:lnTo>
                <a:lnTo>
                  <a:pt x="801" y="1250"/>
                </a:lnTo>
                <a:lnTo>
                  <a:pt x="758" y="1253"/>
                </a:lnTo>
                <a:lnTo>
                  <a:pt x="716" y="1259"/>
                </a:lnTo>
                <a:lnTo>
                  <a:pt x="674" y="1266"/>
                </a:lnTo>
                <a:lnTo>
                  <a:pt x="633" y="1275"/>
                </a:lnTo>
                <a:lnTo>
                  <a:pt x="594" y="1287"/>
                </a:lnTo>
                <a:lnTo>
                  <a:pt x="555" y="1300"/>
                </a:lnTo>
                <a:lnTo>
                  <a:pt x="515" y="1316"/>
                </a:lnTo>
                <a:lnTo>
                  <a:pt x="479" y="1332"/>
                </a:lnTo>
                <a:lnTo>
                  <a:pt x="442" y="1351"/>
                </a:lnTo>
                <a:lnTo>
                  <a:pt x="407" y="1371"/>
                </a:lnTo>
                <a:lnTo>
                  <a:pt x="372" y="1393"/>
                </a:lnTo>
                <a:lnTo>
                  <a:pt x="339" y="1416"/>
                </a:lnTo>
                <a:lnTo>
                  <a:pt x="307" y="1441"/>
                </a:lnTo>
                <a:lnTo>
                  <a:pt x="277" y="1468"/>
                </a:lnTo>
                <a:lnTo>
                  <a:pt x="248" y="1496"/>
                </a:lnTo>
                <a:lnTo>
                  <a:pt x="219" y="1525"/>
                </a:lnTo>
                <a:lnTo>
                  <a:pt x="193" y="1556"/>
                </a:lnTo>
                <a:lnTo>
                  <a:pt x="169" y="1588"/>
                </a:lnTo>
                <a:lnTo>
                  <a:pt x="145" y="1621"/>
                </a:lnTo>
                <a:lnTo>
                  <a:pt x="122" y="1655"/>
                </a:lnTo>
                <a:lnTo>
                  <a:pt x="102" y="1690"/>
                </a:lnTo>
                <a:lnTo>
                  <a:pt x="83" y="1726"/>
                </a:lnTo>
                <a:lnTo>
                  <a:pt x="67" y="1764"/>
                </a:lnTo>
                <a:lnTo>
                  <a:pt x="51" y="1802"/>
                </a:lnTo>
                <a:lnTo>
                  <a:pt x="38" y="1841"/>
                </a:lnTo>
                <a:lnTo>
                  <a:pt x="28" y="1882"/>
                </a:lnTo>
                <a:lnTo>
                  <a:pt x="18" y="1923"/>
                </a:lnTo>
                <a:lnTo>
                  <a:pt x="10" y="1965"/>
                </a:lnTo>
                <a:lnTo>
                  <a:pt x="5" y="2006"/>
                </a:lnTo>
                <a:lnTo>
                  <a:pt x="2" y="2049"/>
                </a:lnTo>
                <a:lnTo>
                  <a:pt x="0" y="2092"/>
                </a:lnTo>
                <a:lnTo>
                  <a:pt x="2" y="2135"/>
                </a:lnTo>
                <a:lnTo>
                  <a:pt x="5" y="2176"/>
                </a:lnTo>
                <a:lnTo>
                  <a:pt x="10" y="2217"/>
                </a:lnTo>
                <a:lnTo>
                  <a:pt x="17" y="2257"/>
                </a:lnTo>
                <a:lnTo>
                  <a:pt x="25" y="2297"/>
                </a:lnTo>
                <a:lnTo>
                  <a:pt x="36" y="2336"/>
                </a:lnTo>
                <a:lnTo>
                  <a:pt x="49" y="2374"/>
                </a:lnTo>
                <a:lnTo>
                  <a:pt x="63" y="2411"/>
                </a:lnTo>
                <a:lnTo>
                  <a:pt x="79" y="2448"/>
                </a:lnTo>
                <a:lnTo>
                  <a:pt x="96" y="2483"/>
                </a:lnTo>
                <a:lnTo>
                  <a:pt x="115" y="2517"/>
                </a:lnTo>
                <a:lnTo>
                  <a:pt x="137" y="2552"/>
                </a:lnTo>
                <a:lnTo>
                  <a:pt x="159" y="2584"/>
                </a:lnTo>
                <a:lnTo>
                  <a:pt x="183" y="2615"/>
                </a:lnTo>
                <a:lnTo>
                  <a:pt x="208" y="2645"/>
                </a:lnTo>
                <a:lnTo>
                  <a:pt x="234" y="2674"/>
                </a:lnTo>
                <a:lnTo>
                  <a:pt x="262" y="2702"/>
                </a:lnTo>
                <a:lnTo>
                  <a:pt x="290" y="2728"/>
                </a:lnTo>
                <a:lnTo>
                  <a:pt x="321" y="2753"/>
                </a:lnTo>
                <a:lnTo>
                  <a:pt x="352" y="2777"/>
                </a:lnTo>
                <a:lnTo>
                  <a:pt x="385" y="2799"/>
                </a:lnTo>
                <a:lnTo>
                  <a:pt x="418" y="2819"/>
                </a:lnTo>
                <a:lnTo>
                  <a:pt x="453" y="2840"/>
                </a:lnTo>
                <a:lnTo>
                  <a:pt x="488" y="2856"/>
                </a:lnTo>
                <a:lnTo>
                  <a:pt x="525" y="2873"/>
                </a:lnTo>
                <a:lnTo>
                  <a:pt x="563" y="2887"/>
                </a:lnTo>
                <a:lnTo>
                  <a:pt x="601" y="2899"/>
                </a:lnTo>
                <a:lnTo>
                  <a:pt x="640" y="2909"/>
                </a:lnTo>
                <a:lnTo>
                  <a:pt x="679" y="2919"/>
                </a:lnTo>
                <a:lnTo>
                  <a:pt x="719" y="2926"/>
                </a:lnTo>
                <a:lnTo>
                  <a:pt x="761" y="2931"/>
                </a:lnTo>
                <a:lnTo>
                  <a:pt x="802" y="2934"/>
                </a:lnTo>
                <a:lnTo>
                  <a:pt x="802" y="2936"/>
                </a:lnTo>
                <a:lnTo>
                  <a:pt x="4682" y="2936"/>
                </a:lnTo>
                <a:lnTo>
                  <a:pt x="4682" y="2933"/>
                </a:lnTo>
                <a:lnTo>
                  <a:pt x="4693" y="2934"/>
                </a:lnTo>
                <a:lnTo>
                  <a:pt x="4706" y="2936"/>
                </a:lnTo>
                <a:lnTo>
                  <a:pt x="4740" y="2936"/>
                </a:lnTo>
                <a:lnTo>
                  <a:pt x="4772" y="2933"/>
                </a:lnTo>
                <a:lnTo>
                  <a:pt x="4804" y="2928"/>
                </a:lnTo>
                <a:lnTo>
                  <a:pt x="4836" y="2922"/>
                </a:lnTo>
                <a:lnTo>
                  <a:pt x="4866" y="2915"/>
                </a:lnTo>
                <a:lnTo>
                  <a:pt x="4896" y="2907"/>
                </a:lnTo>
                <a:lnTo>
                  <a:pt x="4926" y="2898"/>
                </a:lnTo>
                <a:lnTo>
                  <a:pt x="4955" y="2886"/>
                </a:lnTo>
                <a:lnTo>
                  <a:pt x="4984" y="2873"/>
                </a:lnTo>
                <a:lnTo>
                  <a:pt x="5011" y="2859"/>
                </a:lnTo>
                <a:lnTo>
                  <a:pt x="5038" y="2843"/>
                </a:lnTo>
                <a:lnTo>
                  <a:pt x="5063" y="2827"/>
                </a:lnTo>
                <a:lnTo>
                  <a:pt x="5089" y="2809"/>
                </a:lnTo>
                <a:lnTo>
                  <a:pt x="5113" y="2790"/>
                </a:lnTo>
                <a:lnTo>
                  <a:pt x="5135" y="2770"/>
                </a:lnTo>
                <a:lnTo>
                  <a:pt x="5158" y="2748"/>
                </a:lnTo>
                <a:lnTo>
                  <a:pt x="5179" y="2727"/>
                </a:lnTo>
                <a:lnTo>
                  <a:pt x="5199" y="2703"/>
                </a:lnTo>
                <a:lnTo>
                  <a:pt x="5218" y="2680"/>
                </a:lnTo>
                <a:lnTo>
                  <a:pt x="5236" y="2655"/>
                </a:lnTo>
                <a:lnTo>
                  <a:pt x="5252" y="2629"/>
                </a:lnTo>
                <a:lnTo>
                  <a:pt x="5268" y="2602"/>
                </a:lnTo>
                <a:lnTo>
                  <a:pt x="5282" y="2574"/>
                </a:lnTo>
                <a:lnTo>
                  <a:pt x="5295" y="2546"/>
                </a:lnTo>
                <a:lnTo>
                  <a:pt x="5306" y="2517"/>
                </a:lnTo>
                <a:lnTo>
                  <a:pt x="5316" y="2488"/>
                </a:lnTo>
                <a:lnTo>
                  <a:pt x="5325" y="2457"/>
                </a:lnTo>
                <a:lnTo>
                  <a:pt x="5332" y="2426"/>
                </a:lnTo>
                <a:lnTo>
                  <a:pt x="5338" y="2394"/>
                </a:lnTo>
                <a:lnTo>
                  <a:pt x="5341" y="2362"/>
                </a:lnTo>
                <a:lnTo>
                  <a:pt x="5344" y="2330"/>
                </a:lnTo>
                <a:lnTo>
                  <a:pt x="5345" y="2297"/>
                </a:lnTo>
                <a:lnTo>
                  <a:pt x="5344" y="2265"/>
                </a:lnTo>
                <a:lnTo>
                  <a:pt x="5341" y="2233"/>
                </a:lnTo>
                <a:lnTo>
                  <a:pt x="5338" y="2203"/>
                </a:lnTo>
                <a:lnTo>
                  <a:pt x="5333" y="2172"/>
                </a:lnTo>
                <a:lnTo>
                  <a:pt x="5326" y="2141"/>
                </a:lnTo>
                <a:lnTo>
                  <a:pt x="5318" y="2111"/>
                </a:lnTo>
                <a:lnTo>
                  <a:pt x="5308" y="2083"/>
                </a:lnTo>
                <a:lnTo>
                  <a:pt x="5296" y="2054"/>
                </a:lnTo>
                <a:lnTo>
                  <a:pt x="5284" y="2026"/>
                </a:lnTo>
                <a:lnTo>
                  <a:pt x="5271" y="2000"/>
                </a:lnTo>
                <a:lnTo>
                  <a:pt x="5256" y="1974"/>
                </a:lnTo>
                <a:lnTo>
                  <a:pt x="5241" y="1948"/>
                </a:lnTo>
                <a:lnTo>
                  <a:pt x="5223" y="1923"/>
                </a:lnTo>
                <a:lnTo>
                  <a:pt x="5205" y="1899"/>
                </a:lnTo>
                <a:lnTo>
                  <a:pt x="5185" y="1877"/>
                </a:lnTo>
                <a:lnTo>
                  <a:pt x="5165" y="1854"/>
                </a:lnTo>
                <a:lnTo>
                  <a:pt x="5143" y="1834"/>
                </a:lnTo>
                <a:lnTo>
                  <a:pt x="5121" y="1814"/>
                </a:lnTo>
                <a:lnTo>
                  <a:pt x="5098" y="1795"/>
                </a:lnTo>
                <a:lnTo>
                  <a:pt x="5074" y="1777"/>
                </a:lnTo>
                <a:lnTo>
                  <a:pt x="5049" y="1761"/>
                </a:lnTo>
                <a:lnTo>
                  <a:pt x="5023" y="1745"/>
                </a:lnTo>
                <a:lnTo>
                  <a:pt x="4997" y="1731"/>
                </a:lnTo>
                <a:lnTo>
                  <a:pt x="4969" y="1717"/>
                </a:lnTo>
                <a:lnTo>
                  <a:pt x="4941" y="1706"/>
                </a:lnTo>
                <a:lnTo>
                  <a:pt x="4913" y="1696"/>
                </a:lnTo>
                <a:lnTo>
                  <a:pt x="4883" y="1686"/>
                </a:lnTo>
                <a:lnTo>
                  <a:pt x="4853" y="1678"/>
                </a:lnTo>
                <a:lnTo>
                  <a:pt x="4823" y="1672"/>
                </a:lnTo>
                <a:lnTo>
                  <a:pt x="4792" y="1667"/>
                </a:lnTo>
                <a:lnTo>
                  <a:pt x="4761" y="1664"/>
                </a:lnTo>
                <a:lnTo>
                  <a:pt x="4729" y="1661"/>
                </a:lnTo>
                <a:close/>
              </a:path>
            </a:pathLst>
          </a:custGeom>
          <a:solidFill>
            <a:schemeClr val="bg1"/>
          </a:solidFill>
          <a:ln>
            <a:noFill/>
          </a:ln>
        </p:spPr>
        <p:txBody>
          <a:bodyPr/>
          <a:lstStyle/>
          <a:p>
            <a:endParaRPr lang="zh-CN" altLang="en-US"/>
          </a:p>
        </p:txBody>
      </p:sp>
      <p:sp>
        <p:nvSpPr>
          <p:cNvPr id="62" name="KSO_Shape"/>
          <p:cNvSpPr/>
          <p:nvPr/>
        </p:nvSpPr>
        <p:spPr bwMode="auto">
          <a:xfrm>
            <a:off x="6162121" y="4110889"/>
            <a:ext cx="611029" cy="394220"/>
          </a:xfrm>
          <a:custGeom>
            <a:avLst/>
            <a:gdLst/>
            <a:ahLst/>
            <a:cxnLst/>
            <a:rect l="0" t="0" r="r" b="b"/>
            <a:pathLst>
              <a:path w="2135188" h="1470026">
                <a:moveTo>
                  <a:pt x="770940" y="1046163"/>
                </a:moveTo>
                <a:lnTo>
                  <a:pt x="788101" y="1054723"/>
                </a:lnTo>
                <a:lnTo>
                  <a:pt x="804944" y="1062965"/>
                </a:lnTo>
                <a:lnTo>
                  <a:pt x="822104" y="1070574"/>
                </a:lnTo>
                <a:lnTo>
                  <a:pt x="839582" y="1077549"/>
                </a:lnTo>
                <a:lnTo>
                  <a:pt x="857696" y="1084523"/>
                </a:lnTo>
                <a:lnTo>
                  <a:pt x="875810" y="1090547"/>
                </a:lnTo>
                <a:lnTo>
                  <a:pt x="893606" y="1095936"/>
                </a:lnTo>
                <a:lnTo>
                  <a:pt x="912037" y="1101008"/>
                </a:lnTo>
                <a:lnTo>
                  <a:pt x="931105" y="1105447"/>
                </a:lnTo>
                <a:lnTo>
                  <a:pt x="950172" y="1109568"/>
                </a:lnTo>
                <a:lnTo>
                  <a:pt x="968921" y="1112421"/>
                </a:lnTo>
                <a:lnTo>
                  <a:pt x="988624" y="1115592"/>
                </a:lnTo>
                <a:lnTo>
                  <a:pt x="1008009" y="1117494"/>
                </a:lnTo>
                <a:lnTo>
                  <a:pt x="1027712" y="1119396"/>
                </a:lnTo>
                <a:lnTo>
                  <a:pt x="1047732" y="1120030"/>
                </a:lnTo>
                <a:lnTo>
                  <a:pt x="1067435" y="1120347"/>
                </a:lnTo>
                <a:lnTo>
                  <a:pt x="1087455" y="1120030"/>
                </a:lnTo>
                <a:lnTo>
                  <a:pt x="1107476" y="1119396"/>
                </a:lnTo>
                <a:lnTo>
                  <a:pt x="1127179" y="1117494"/>
                </a:lnTo>
                <a:lnTo>
                  <a:pt x="1146564" y="1115592"/>
                </a:lnTo>
                <a:lnTo>
                  <a:pt x="1166266" y="1112421"/>
                </a:lnTo>
                <a:lnTo>
                  <a:pt x="1185334" y="1109568"/>
                </a:lnTo>
                <a:lnTo>
                  <a:pt x="1204083" y="1105447"/>
                </a:lnTo>
                <a:lnTo>
                  <a:pt x="1223150" y="1101008"/>
                </a:lnTo>
                <a:lnTo>
                  <a:pt x="1241582" y="1095936"/>
                </a:lnTo>
                <a:lnTo>
                  <a:pt x="1260013" y="1090547"/>
                </a:lnTo>
                <a:lnTo>
                  <a:pt x="1277809" y="1084523"/>
                </a:lnTo>
                <a:lnTo>
                  <a:pt x="1295605" y="1077549"/>
                </a:lnTo>
                <a:lnTo>
                  <a:pt x="1313084" y="1070574"/>
                </a:lnTo>
                <a:lnTo>
                  <a:pt x="1330244" y="1062965"/>
                </a:lnTo>
                <a:lnTo>
                  <a:pt x="1347722" y="1054723"/>
                </a:lnTo>
                <a:lnTo>
                  <a:pt x="1364247" y="1046163"/>
                </a:lnTo>
                <a:lnTo>
                  <a:pt x="1381725" y="1050918"/>
                </a:lnTo>
                <a:lnTo>
                  <a:pt x="1399521" y="1056308"/>
                </a:lnTo>
                <a:lnTo>
                  <a:pt x="1416682" y="1062331"/>
                </a:lnTo>
                <a:lnTo>
                  <a:pt x="1433842" y="1068355"/>
                </a:lnTo>
                <a:lnTo>
                  <a:pt x="1450685" y="1075012"/>
                </a:lnTo>
                <a:lnTo>
                  <a:pt x="1466892" y="1082304"/>
                </a:lnTo>
                <a:lnTo>
                  <a:pt x="1483099" y="1089596"/>
                </a:lnTo>
                <a:lnTo>
                  <a:pt x="1499307" y="1097521"/>
                </a:lnTo>
                <a:lnTo>
                  <a:pt x="1514560" y="1106081"/>
                </a:lnTo>
                <a:lnTo>
                  <a:pt x="1530132" y="1115275"/>
                </a:lnTo>
                <a:lnTo>
                  <a:pt x="1544750" y="1124785"/>
                </a:lnTo>
                <a:lnTo>
                  <a:pt x="1559368" y="1134930"/>
                </a:lnTo>
                <a:lnTo>
                  <a:pt x="1573669" y="1145709"/>
                </a:lnTo>
                <a:lnTo>
                  <a:pt x="1587651" y="1156805"/>
                </a:lnTo>
                <a:lnTo>
                  <a:pt x="1601634" y="1168852"/>
                </a:lnTo>
                <a:lnTo>
                  <a:pt x="1614663" y="1181216"/>
                </a:lnTo>
                <a:lnTo>
                  <a:pt x="1627692" y="1193897"/>
                </a:lnTo>
                <a:lnTo>
                  <a:pt x="1640404" y="1207846"/>
                </a:lnTo>
                <a:lnTo>
                  <a:pt x="1652479" y="1222112"/>
                </a:lnTo>
                <a:lnTo>
                  <a:pt x="1664238" y="1236695"/>
                </a:lnTo>
                <a:lnTo>
                  <a:pt x="1675678" y="1252547"/>
                </a:lnTo>
                <a:lnTo>
                  <a:pt x="1686800" y="1268715"/>
                </a:lnTo>
                <a:lnTo>
                  <a:pt x="1697287" y="1285517"/>
                </a:lnTo>
                <a:lnTo>
                  <a:pt x="1707456" y="1303271"/>
                </a:lnTo>
                <a:lnTo>
                  <a:pt x="1716990" y="1321341"/>
                </a:lnTo>
                <a:lnTo>
                  <a:pt x="1726524" y="1340363"/>
                </a:lnTo>
                <a:lnTo>
                  <a:pt x="1735739" y="1360018"/>
                </a:lnTo>
                <a:lnTo>
                  <a:pt x="1744002" y="1380625"/>
                </a:lnTo>
                <a:lnTo>
                  <a:pt x="1752264" y="1401549"/>
                </a:lnTo>
                <a:lnTo>
                  <a:pt x="1759573" y="1423740"/>
                </a:lnTo>
                <a:lnTo>
                  <a:pt x="1766882" y="1446249"/>
                </a:lnTo>
                <a:lnTo>
                  <a:pt x="1773238" y="1470026"/>
                </a:lnTo>
                <a:lnTo>
                  <a:pt x="361950" y="1470026"/>
                </a:lnTo>
                <a:lnTo>
                  <a:pt x="368623" y="1446249"/>
                </a:lnTo>
                <a:lnTo>
                  <a:pt x="375932" y="1423740"/>
                </a:lnTo>
                <a:lnTo>
                  <a:pt x="383559" y="1401549"/>
                </a:lnTo>
                <a:lnTo>
                  <a:pt x="391186" y="1380625"/>
                </a:lnTo>
                <a:lnTo>
                  <a:pt x="400084" y="1360018"/>
                </a:lnTo>
                <a:lnTo>
                  <a:pt x="408982" y="1340363"/>
                </a:lnTo>
                <a:lnTo>
                  <a:pt x="418198" y="1321341"/>
                </a:lnTo>
                <a:lnTo>
                  <a:pt x="427731" y="1303271"/>
                </a:lnTo>
                <a:lnTo>
                  <a:pt x="438218" y="1285517"/>
                </a:lnTo>
                <a:lnTo>
                  <a:pt x="449023" y="1268715"/>
                </a:lnTo>
                <a:lnTo>
                  <a:pt x="459828" y="1252547"/>
                </a:lnTo>
                <a:lnTo>
                  <a:pt x="470950" y="1236695"/>
                </a:lnTo>
                <a:lnTo>
                  <a:pt x="483026" y="1222112"/>
                </a:lnTo>
                <a:lnTo>
                  <a:pt x="495102" y="1207846"/>
                </a:lnTo>
                <a:lnTo>
                  <a:pt x="507496" y="1193897"/>
                </a:lnTo>
                <a:lnTo>
                  <a:pt x="520843" y="1181216"/>
                </a:lnTo>
                <a:lnTo>
                  <a:pt x="533872" y="1168852"/>
                </a:lnTo>
                <a:lnTo>
                  <a:pt x="547537" y="1156805"/>
                </a:lnTo>
                <a:lnTo>
                  <a:pt x="561519" y="1145709"/>
                </a:lnTo>
                <a:lnTo>
                  <a:pt x="575820" y="1134930"/>
                </a:lnTo>
                <a:lnTo>
                  <a:pt x="590438" y="1124785"/>
                </a:lnTo>
                <a:lnTo>
                  <a:pt x="605374" y="1115275"/>
                </a:lnTo>
                <a:lnTo>
                  <a:pt x="620945" y="1106081"/>
                </a:lnTo>
                <a:lnTo>
                  <a:pt x="636199" y="1097521"/>
                </a:lnTo>
                <a:lnTo>
                  <a:pt x="652088" y="1089596"/>
                </a:lnTo>
                <a:lnTo>
                  <a:pt x="668296" y="1082304"/>
                </a:lnTo>
                <a:lnTo>
                  <a:pt x="684820" y="1075012"/>
                </a:lnTo>
                <a:lnTo>
                  <a:pt x="701345" y="1068355"/>
                </a:lnTo>
                <a:lnTo>
                  <a:pt x="718824" y="1062331"/>
                </a:lnTo>
                <a:lnTo>
                  <a:pt x="735666" y="1056308"/>
                </a:lnTo>
                <a:lnTo>
                  <a:pt x="753462" y="1050918"/>
                </a:lnTo>
                <a:lnTo>
                  <a:pt x="770940" y="1046163"/>
                </a:lnTo>
                <a:close/>
                <a:moveTo>
                  <a:pt x="1597448" y="841375"/>
                </a:moveTo>
                <a:lnTo>
                  <a:pt x="1606643" y="846144"/>
                </a:lnTo>
                <a:lnTo>
                  <a:pt x="1615521" y="850277"/>
                </a:lnTo>
                <a:lnTo>
                  <a:pt x="1625033" y="854411"/>
                </a:lnTo>
                <a:lnTo>
                  <a:pt x="1634228" y="858226"/>
                </a:lnTo>
                <a:lnTo>
                  <a:pt x="1643740" y="862041"/>
                </a:lnTo>
                <a:lnTo>
                  <a:pt x="1653569" y="865539"/>
                </a:lnTo>
                <a:lnTo>
                  <a:pt x="1663080" y="868400"/>
                </a:lnTo>
                <a:lnTo>
                  <a:pt x="1672909" y="871262"/>
                </a:lnTo>
                <a:lnTo>
                  <a:pt x="1683055" y="873487"/>
                </a:lnTo>
                <a:lnTo>
                  <a:pt x="1693201" y="875713"/>
                </a:lnTo>
                <a:lnTo>
                  <a:pt x="1703665" y="877302"/>
                </a:lnTo>
                <a:lnTo>
                  <a:pt x="1713811" y="878574"/>
                </a:lnTo>
                <a:lnTo>
                  <a:pt x="1724274" y="879846"/>
                </a:lnTo>
                <a:lnTo>
                  <a:pt x="1735054" y="880800"/>
                </a:lnTo>
                <a:lnTo>
                  <a:pt x="1745834" y="881436"/>
                </a:lnTo>
                <a:lnTo>
                  <a:pt x="1756297" y="881436"/>
                </a:lnTo>
                <a:lnTo>
                  <a:pt x="1767077" y="881436"/>
                </a:lnTo>
                <a:lnTo>
                  <a:pt x="1777857" y="880800"/>
                </a:lnTo>
                <a:lnTo>
                  <a:pt x="1788321" y="879846"/>
                </a:lnTo>
                <a:lnTo>
                  <a:pt x="1798784" y="878574"/>
                </a:lnTo>
                <a:lnTo>
                  <a:pt x="1809247" y="877302"/>
                </a:lnTo>
                <a:lnTo>
                  <a:pt x="1819393" y="875713"/>
                </a:lnTo>
                <a:lnTo>
                  <a:pt x="1829539" y="873487"/>
                </a:lnTo>
                <a:lnTo>
                  <a:pt x="1839685" y="871262"/>
                </a:lnTo>
                <a:lnTo>
                  <a:pt x="1849831" y="868082"/>
                </a:lnTo>
                <a:lnTo>
                  <a:pt x="1859660" y="865539"/>
                </a:lnTo>
                <a:lnTo>
                  <a:pt x="1868855" y="862041"/>
                </a:lnTo>
                <a:lnTo>
                  <a:pt x="1878684" y="858226"/>
                </a:lnTo>
                <a:lnTo>
                  <a:pt x="1888196" y="854411"/>
                </a:lnTo>
                <a:lnTo>
                  <a:pt x="1897390" y="850277"/>
                </a:lnTo>
                <a:lnTo>
                  <a:pt x="1906585" y="846144"/>
                </a:lnTo>
                <a:lnTo>
                  <a:pt x="1915463" y="841375"/>
                </a:lnTo>
                <a:lnTo>
                  <a:pt x="1924975" y="843919"/>
                </a:lnTo>
                <a:lnTo>
                  <a:pt x="1934170" y="847098"/>
                </a:lnTo>
                <a:lnTo>
                  <a:pt x="1943682" y="849959"/>
                </a:lnTo>
                <a:lnTo>
                  <a:pt x="1952560" y="853457"/>
                </a:lnTo>
                <a:lnTo>
                  <a:pt x="1961754" y="856954"/>
                </a:lnTo>
                <a:lnTo>
                  <a:pt x="1970632" y="860452"/>
                </a:lnTo>
                <a:lnTo>
                  <a:pt x="1979193" y="864585"/>
                </a:lnTo>
                <a:lnTo>
                  <a:pt x="1988071" y="869354"/>
                </a:lnTo>
                <a:lnTo>
                  <a:pt x="1996314" y="873805"/>
                </a:lnTo>
                <a:lnTo>
                  <a:pt x="2004558" y="878574"/>
                </a:lnTo>
                <a:lnTo>
                  <a:pt x="2012485" y="883979"/>
                </a:lnTo>
                <a:lnTo>
                  <a:pt x="2020411" y="889066"/>
                </a:lnTo>
                <a:lnTo>
                  <a:pt x="2027704" y="895107"/>
                </a:lnTo>
                <a:lnTo>
                  <a:pt x="2035313" y="901148"/>
                </a:lnTo>
                <a:lnTo>
                  <a:pt x="2042923" y="907507"/>
                </a:lnTo>
                <a:lnTo>
                  <a:pt x="2049898" y="914184"/>
                </a:lnTo>
                <a:lnTo>
                  <a:pt x="2056556" y="921178"/>
                </a:lnTo>
                <a:lnTo>
                  <a:pt x="2063532" y="928809"/>
                </a:lnTo>
                <a:lnTo>
                  <a:pt x="2070190" y="936122"/>
                </a:lnTo>
                <a:lnTo>
                  <a:pt x="2076531" y="944070"/>
                </a:lnTo>
                <a:lnTo>
                  <a:pt x="2082556" y="952973"/>
                </a:lnTo>
                <a:lnTo>
                  <a:pt x="2088580" y="961557"/>
                </a:lnTo>
                <a:lnTo>
                  <a:pt x="2094287" y="970459"/>
                </a:lnTo>
                <a:lnTo>
                  <a:pt x="2099360" y="979998"/>
                </a:lnTo>
                <a:lnTo>
                  <a:pt x="2104750" y="989854"/>
                </a:lnTo>
                <a:lnTo>
                  <a:pt x="2110140" y="1000028"/>
                </a:lnTo>
                <a:lnTo>
                  <a:pt x="2114579" y="1010838"/>
                </a:lnTo>
                <a:lnTo>
                  <a:pt x="2119335" y="1021648"/>
                </a:lnTo>
                <a:lnTo>
                  <a:pt x="2123457" y="1033094"/>
                </a:lnTo>
                <a:lnTo>
                  <a:pt x="2127579" y="1045176"/>
                </a:lnTo>
                <a:lnTo>
                  <a:pt x="2131383" y="1057257"/>
                </a:lnTo>
                <a:lnTo>
                  <a:pt x="2135188" y="1069975"/>
                </a:lnTo>
                <a:lnTo>
                  <a:pt x="1680836" y="1069975"/>
                </a:lnTo>
                <a:lnTo>
                  <a:pt x="1668471" y="1058847"/>
                </a:lnTo>
                <a:lnTo>
                  <a:pt x="1655154" y="1048355"/>
                </a:lnTo>
                <a:lnTo>
                  <a:pt x="1642154" y="1038181"/>
                </a:lnTo>
                <a:lnTo>
                  <a:pt x="1628520" y="1028643"/>
                </a:lnTo>
                <a:lnTo>
                  <a:pt x="1614887" y="1018786"/>
                </a:lnTo>
                <a:lnTo>
                  <a:pt x="1600936" y="1009566"/>
                </a:lnTo>
                <a:lnTo>
                  <a:pt x="1586351" y="1000664"/>
                </a:lnTo>
                <a:lnTo>
                  <a:pt x="1571449" y="992079"/>
                </a:lnTo>
                <a:lnTo>
                  <a:pt x="1556547" y="984131"/>
                </a:lnTo>
                <a:lnTo>
                  <a:pt x="1541011" y="976182"/>
                </a:lnTo>
                <a:lnTo>
                  <a:pt x="1525792" y="968552"/>
                </a:lnTo>
                <a:lnTo>
                  <a:pt x="1509622" y="961557"/>
                </a:lnTo>
                <a:lnTo>
                  <a:pt x="1493451" y="954244"/>
                </a:lnTo>
                <a:lnTo>
                  <a:pt x="1476964" y="947885"/>
                </a:lnTo>
                <a:lnTo>
                  <a:pt x="1460477" y="941845"/>
                </a:lnTo>
                <a:lnTo>
                  <a:pt x="1443038" y="935804"/>
                </a:lnTo>
                <a:lnTo>
                  <a:pt x="1450965" y="926901"/>
                </a:lnTo>
                <a:lnTo>
                  <a:pt x="1458891" y="918635"/>
                </a:lnTo>
                <a:lnTo>
                  <a:pt x="1467452" y="910368"/>
                </a:lnTo>
                <a:lnTo>
                  <a:pt x="1475696" y="902738"/>
                </a:lnTo>
                <a:lnTo>
                  <a:pt x="1484891" y="895107"/>
                </a:lnTo>
                <a:lnTo>
                  <a:pt x="1493768" y="888430"/>
                </a:lnTo>
                <a:lnTo>
                  <a:pt x="1503280" y="882072"/>
                </a:lnTo>
                <a:lnTo>
                  <a:pt x="1513109" y="876031"/>
                </a:lnTo>
                <a:lnTo>
                  <a:pt x="1522621" y="870308"/>
                </a:lnTo>
                <a:lnTo>
                  <a:pt x="1532450" y="865539"/>
                </a:lnTo>
                <a:lnTo>
                  <a:pt x="1542913" y="860452"/>
                </a:lnTo>
                <a:lnTo>
                  <a:pt x="1553693" y="856000"/>
                </a:lnTo>
                <a:lnTo>
                  <a:pt x="1564157" y="851867"/>
                </a:lnTo>
                <a:lnTo>
                  <a:pt x="1574937" y="848052"/>
                </a:lnTo>
                <a:lnTo>
                  <a:pt x="1586351" y="844872"/>
                </a:lnTo>
                <a:lnTo>
                  <a:pt x="1597448" y="841375"/>
                </a:lnTo>
                <a:close/>
                <a:moveTo>
                  <a:pt x="219508" y="841375"/>
                </a:moveTo>
                <a:lnTo>
                  <a:pt x="228390" y="846144"/>
                </a:lnTo>
                <a:lnTo>
                  <a:pt x="237589" y="850277"/>
                </a:lnTo>
                <a:lnTo>
                  <a:pt x="247106" y="854411"/>
                </a:lnTo>
                <a:lnTo>
                  <a:pt x="256305" y="858226"/>
                </a:lnTo>
                <a:lnTo>
                  <a:pt x="265821" y="862041"/>
                </a:lnTo>
                <a:lnTo>
                  <a:pt x="275654" y="865539"/>
                </a:lnTo>
                <a:lnTo>
                  <a:pt x="285171" y="868400"/>
                </a:lnTo>
                <a:lnTo>
                  <a:pt x="295321" y="871262"/>
                </a:lnTo>
                <a:lnTo>
                  <a:pt x="305472" y="873487"/>
                </a:lnTo>
                <a:lnTo>
                  <a:pt x="315623" y="875713"/>
                </a:lnTo>
                <a:lnTo>
                  <a:pt x="325773" y="877302"/>
                </a:lnTo>
                <a:lnTo>
                  <a:pt x="336241" y="878574"/>
                </a:lnTo>
                <a:lnTo>
                  <a:pt x="347026" y="879846"/>
                </a:lnTo>
                <a:lnTo>
                  <a:pt x="357494" y="880800"/>
                </a:lnTo>
                <a:lnTo>
                  <a:pt x="367962" y="881436"/>
                </a:lnTo>
                <a:lnTo>
                  <a:pt x="378747" y="881436"/>
                </a:lnTo>
                <a:lnTo>
                  <a:pt x="389215" y="881436"/>
                </a:lnTo>
                <a:lnTo>
                  <a:pt x="400318" y="880800"/>
                </a:lnTo>
                <a:lnTo>
                  <a:pt x="410785" y="879846"/>
                </a:lnTo>
                <a:lnTo>
                  <a:pt x="421253" y="878574"/>
                </a:lnTo>
                <a:lnTo>
                  <a:pt x="431404" y="877302"/>
                </a:lnTo>
                <a:lnTo>
                  <a:pt x="441872" y="875713"/>
                </a:lnTo>
                <a:lnTo>
                  <a:pt x="452023" y="873487"/>
                </a:lnTo>
                <a:lnTo>
                  <a:pt x="462173" y="871262"/>
                </a:lnTo>
                <a:lnTo>
                  <a:pt x="472007" y="868082"/>
                </a:lnTo>
                <a:lnTo>
                  <a:pt x="481840" y="865539"/>
                </a:lnTo>
                <a:lnTo>
                  <a:pt x="491356" y="862041"/>
                </a:lnTo>
                <a:lnTo>
                  <a:pt x="500873" y="858226"/>
                </a:lnTo>
                <a:lnTo>
                  <a:pt x="510706" y="854411"/>
                </a:lnTo>
                <a:lnTo>
                  <a:pt x="519588" y="850277"/>
                </a:lnTo>
                <a:lnTo>
                  <a:pt x="528787" y="846144"/>
                </a:lnTo>
                <a:lnTo>
                  <a:pt x="537669" y="841375"/>
                </a:lnTo>
                <a:lnTo>
                  <a:pt x="549089" y="844872"/>
                </a:lnTo>
                <a:lnTo>
                  <a:pt x="560191" y="848052"/>
                </a:lnTo>
                <a:lnTo>
                  <a:pt x="570976" y="851867"/>
                </a:lnTo>
                <a:lnTo>
                  <a:pt x="581761" y="856000"/>
                </a:lnTo>
                <a:lnTo>
                  <a:pt x="592229" y="860452"/>
                </a:lnTo>
                <a:lnTo>
                  <a:pt x="602697" y="865539"/>
                </a:lnTo>
                <a:lnTo>
                  <a:pt x="612530" y="870308"/>
                </a:lnTo>
                <a:lnTo>
                  <a:pt x="622681" y="876031"/>
                </a:lnTo>
                <a:lnTo>
                  <a:pt x="631880" y="882072"/>
                </a:lnTo>
                <a:lnTo>
                  <a:pt x="641396" y="888430"/>
                </a:lnTo>
                <a:lnTo>
                  <a:pt x="650278" y="895107"/>
                </a:lnTo>
                <a:lnTo>
                  <a:pt x="659477" y="902738"/>
                </a:lnTo>
                <a:lnTo>
                  <a:pt x="668042" y="910368"/>
                </a:lnTo>
                <a:lnTo>
                  <a:pt x="676289" y="918317"/>
                </a:lnTo>
                <a:lnTo>
                  <a:pt x="684220" y="926901"/>
                </a:lnTo>
                <a:lnTo>
                  <a:pt x="692150" y="935804"/>
                </a:lnTo>
                <a:lnTo>
                  <a:pt x="674703" y="941845"/>
                </a:lnTo>
                <a:lnTo>
                  <a:pt x="658208" y="947885"/>
                </a:lnTo>
                <a:lnTo>
                  <a:pt x="641714" y="954244"/>
                </a:lnTo>
                <a:lnTo>
                  <a:pt x="625536" y="961239"/>
                </a:lnTo>
                <a:lnTo>
                  <a:pt x="609358" y="968552"/>
                </a:lnTo>
                <a:lnTo>
                  <a:pt x="594132" y="976182"/>
                </a:lnTo>
                <a:lnTo>
                  <a:pt x="578589" y="983813"/>
                </a:lnTo>
                <a:lnTo>
                  <a:pt x="563680" y="992079"/>
                </a:lnTo>
                <a:lnTo>
                  <a:pt x="549089" y="1000664"/>
                </a:lnTo>
                <a:lnTo>
                  <a:pt x="534180" y="1009566"/>
                </a:lnTo>
                <a:lnTo>
                  <a:pt x="520540" y="1018786"/>
                </a:lnTo>
                <a:lnTo>
                  <a:pt x="506583" y="1028007"/>
                </a:lnTo>
                <a:lnTo>
                  <a:pt x="492943" y="1038181"/>
                </a:lnTo>
                <a:lnTo>
                  <a:pt x="479937" y="1048355"/>
                </a:lnTo>
                <a:lnTo>
                  <a:pt x="466614" y="1058847"/>
                </a:lnTo>
                <a:lnTo>
                  <a:pt x="453926" y="1069975"/>
                </a:lnTo>
                <a:lnTo>
                  <a:pt x="0" y="1069975"/>
                </a:lnTo>
                <a:lnTo>
                  <a:pt x="3489" y="1057257"/>
                </a:lnTo>
                <a:lnTo>
                  <a:pt x="7296" y="1045176"/>
                </a:lnTo>
                <a:lnTo>
                  <a:pt x="11419" y="1033094"/>
                </a:lnTo>
                <a:lnTo>
                  <a:pt x="15860" y="1021648"/>
                </a:lnTo>
                <a:lnTo>
                  <a:pt x="20301" y="1010838"/>
                </a:lnTo>
                <a:lnTo>
                  <a:pt x="25377" y="1000028"/>
                </a:lnTo>
                <a:lnTo>
                  <a:pt x="30135" y="989854"/>
                </a:lnTo>
                <a:lnTo>
                  <a:pt x="35527" y="979998"/>
                </a:lnTo>
                <a:lnTo>
                  <a:pt x="40603" y="970459"/>
                </a:lnTo>
                <a:lnTo>
                  <a:pt x="46630" y="961557"/>
                </a:lnTo>
                <a:lnTo>
                  <a:pt x="52339" y="952973"/>
                </a:lnTo>
                <a:lnTo>
                  <a:pt x="58684" y="944070"/>
                </a:lnTo>
                <a:lnTo>
                  <a:pt x="65028" y="936122"/>
                </a:lnTo>
                <a:lnTo>
                  <a:pt x="71372" y="928809"/>
                </a:lnTo>
                <a:lnTo>
                  <a:pt x="78350" y="921178"/>
                </a:lnTo>
                <a:lnTo>
                  <a:pt x="85012" y="914184"/>
                </a:lnTo>
                <a:lnTo>
                  <a:pt x="92308" y="907507"/>
                </a:lnTo>
                <a:lnTo>
                  <a:pt x="99603" y="901148"/>
                </a:lnTo>
                <a:lnTo>
                  <a:pt x="107217" y="895107"/>
                </a:lnTo>
                <a:lnTo>
                  <a:pt x="114830" y="889066"/>
                </a:lnTo>
                <a:lnTo>
                  <a:pt x="122760" y="883979"/>
                </a:lnTo>
                <a:lnTo>
                  <a:pt x="130373" y="878574"/>
                </a:lnTo>
                <a:lnTo>
                  <a:pt x="138620" y="873805"/>
                </a:lnTo>
                <a:lnTo>
                  <a:pt x="146868" y="869354"/>
                </a:lnTo>
                <a:lnTo>
                  <a:pt x="155749" y="864585"/>
                </a:lnTo>
                <a:lnTo>
                  <a:pt x="164314" y="860452"/>
                </a:lnTo>
                <a:lnTo>
                  <a:pt x="173196" y="856954"/>
                </a:lnTo>
                <a:lnTo>
                  <a:pt x="182395" y="853457"/>
                </a:lnTo>
                <a:lnTo>
                  <a:pt x="191277" y="849959"/>
                </a:lnTo>
                <a:lnTo>
                  <a:pt x="200793" y="847098"/>
                </a:lnTo>
                <a:lnTo>
                  <a:pt x="209992" y="843919"/>
                </a:lnTo>
                <a:lnTo>
                  <a:pt x="219508" y="841375"/>
                </a:lnTo>
                <a:close/>
                <a:moveTo>
                  <a:pt x="741152" y="638588"/>
                </a:moveTo>
                <a:lnTo>
                  <a:pt x="748459" y="651932"/>
                </a:lnTo>
                <a:lnTo>
                  <a:pt x="755766" y="665275"/>
                </a:lnTo>
                <a:lnTo>
                  <a:pt x="763709" y="678301"/>
                </a:lnTo>
                <a:lnTo>
                  <a:pt x="771969" y="690692"/>
                </a:lnTo>
                <a:lnTo>
                  <a:pt x="780230" y="703082"/>
                </a:lnTo>
                <a:lnTo>
                  <a:pt x="788808" y="715155"/>
                </a:lnTo>
                <a:lnTo>
                  <a:pt x="797703" y="726275"/>
                </a:lnTo>
                <a:lnTo>
                  <a:pt x="806917" y="737712"/>
                </a:lnTo>
                <a:lnTo>
                  <a:pt x="816766" y="748514"/>
                </a:lnTo>
                <a:lnTo>
                  <a:pt x="825979" y="758998"/>
                </a:lnTo>
                <a:lnTo>
                  <a:pt x="836146" y="769165"/>
                </a:lnTo>
                <a:lnTo>
                  <a:pt x="846312" y="779014"/>
                </a:lnTo>
                <a:lnTo>
                  <a:pt x="856797" y="788545"/>
                </a:lnTo>
                <a:lnTo>
                  <a:pt x="867281" y="797441"/>
                </a:lnTo>
                <a:lnTo>
                  <a:pt x="878401" y="805701"/>
                </a:lnTo>
                <a:lnTo>
                  <a:pt x="889520" y="813961"/>
                </a:lnTo>
                <a:lnTo>
                  <a:pt x="900958" y="821586"/>
                </a:lnTo>
                <a:lnTo>
                  <a:pt x="912713" y="829211"/>
                </a:lnTo>
                <a:lnTo>
                  <a:pt x="924150" y="835883"/>
                </a:lnTo>
                <a:lnTo>
                  <a:pt x="936223" y="842237"/>
                </a:lnTo>
                <a:lnTo>
                  <a:pt x="948296" y="848274"/>
                </a:lnTo>
                <a:lnTo>
                  <a:pt x="960369" y="853675"/>
                </a:lnTo>
                <a:lnTo>
                  <a:pt x="972759" y="858440"/>
                </a:lnTo>
                <a:lnTo>
                  <a:pt x="985467" y="862888"/>
                </a:lnTo>
                <a:lnTo>
                  <a:pt x="998493" y="867018"/>
                </a:lnTo>
                <a:lnTo>
                  <a:pt x="1011202" y="870513"/>
                </a:lnTo>
                <a:lnTo>
                  <a:pt x="1024227" y="873372"/>
                </a:lnTo>
                <a:lnTo>
                  <a:pt x="1037571" y="875596"/>
                </a:lnTo>
                <a:lnTo>
                  <a:pt x="1050915" y="877503"/>
                </a:lnTo>
                <a:lnTo>
                  <a:pt x="1064258" y="879091"/>
                </a:lnTo>
                <a:lnTo>
                  <a:pt x="1077602" y="879726"/>
                </a:lnTo>
                <a:lnTo>
                  <a:pt x="1091581" y="880362"/>
                </a:lnTo>
                <a:lnTo>
                  <a:pt x="1105242" y="879726"/>
                </a:lnTo>
                <a:lnTo>
                  <a:pt x="1118904" y="879091"/>
                </a:lnTo>
                <a:lnTo>
                  <a:pt x="1132247" y="877503"/>
                </a:lnTo>
                <a:lnTo>
                  <a:pt x="1145591" y="875596"/>
                </a:lnTo>
                <a:lnTo>
                  <a:pt x="1158617" y="873372"/>
                </a:lnTo>
                <a:lnTo>
                  <a:pt x="1171961" y="870513"/>
                </a:lnTo>
                <a:lnTo>
                  <a:pt x="1184669" y="867018"/>
                </a:lnTo>
                <a:lnTo>
                  <a:pt x="1197377" y="862888"/>
                </a:lnTo>
                <a:lnTo>
                  <a:pt x="1210085" y="858440"/>
                </a:lnTo>
                <a:lnTo>
                  <a:pt x="1222476" y="853675"/>
                </a:lnTo>
                <a:lnTo>
                  <a:pt x="1234866" y="848274"/>
                </a:lnTo>
                <a:lnTo>
                  <a:pt x="1246939" y="842237"/>
                </a:lnTo>
                <a:lnTo>
                  <a:pt x="1258694" y="835883"/>
                </a:lnTo>
                <a:lnTo>
                  <a:pt x="1270767" y="829211"/>
                </a:lnTo>
                <a:lnTo>
                  <a:pt x="1282204" y="821586"/>
                </a:lnTo>
                <a:lnTo>
                  <a:pt x="1293324" y="813961"/>
                </a:lnTo>
                <a:lnTo>
                  <a:pt x="1304761" y="805701"/>
                </a:lnTo>
                <a:lnTo>
                  <a:pt x="1315563" y="797441"/>
                </a:lnTo>
                <a:lnTo>
                  <a:pt x="1326048" y="788545"/>
                </a:lnTo>
                <a:lnTo>
                  <a:pt x="1336532" y="779014"/>
                </a:lnTo>
                <a:lnTo>
                  <a:pt x="1346699" y="769165"/>
                </a:lnTo>
                <a:lnTo>
                  <a:pt x="1356865" y="758998"/>
                </a:lnTo>
                <a:lnTo>
                  <a:pt x="1366714" y="748514"/>
                </a:lnTo>
                <a:lnTo>
                  <a:pt x="1376245" y="737712"/>
                </a:lnTo>
                <a:lnTo>
                  <a:pt x="1385141" y="726275"/>
                </a:lnTo>
                <a:lnTo>
                  <a:pt x="1394037" y="715155"/>
                </a:lnTo>
                <a:lnTo>
                  <a:pt x="1402932" y="703082"/>
                </a:lnTo>
                <a:lnTo>
                  <a:pt x="1411193" y="690692"/>
                </a:lnTo>
                <a:lnTo>
                  <a:pt x="1419453" y="678301"/>
                </a:lnTo>
                <a:lnTo>
                  <a:pt x="1427396" y="665275"/>
                </a:lnTo>
                <a:lnTo>
                  <a:pt x="1434703" y="651932"/>
                </a:lnTo>
                <a:lnTo>
                  <a:pt x="1442010" y="638588"/>
                </a:lnTo>
                <a:lnTo>
                  <a:pt x="741152" y="638588"/>
                </a:lnTo>
                <a:close/>
                <a:moveTo>
                  <a:pt x="379541" y="279400"/>
                </a:moveTo>
                <a:lnTo>
                  <a:pt x="389693" y="279400"/>
                </a:lnTo>
                <a:lnTo>
                  <a:pt x="399529" y="280036"/>
                </a:lnTo>
                <a:lnTo>
                  <a:pt x="409681" y="280672"/>
                </a:lnTo>
                <a:lnTo>
                  <a:pt x="419517" y="282263"/>
                </a:lnTo>
                <a:lnTo>
                  <a:pt x="428718" y="283853"/>
                </a:lnTo>
                <a:lnTo>
                  <a:pt x="438553" y="286080"/>
                </a:lnTo>
                <a:lnTo>
                  <a:pt x="448071" y="288306"/>
                </a:lnTo>
                <a:lnTo>
                  <a:pt x="457272" y="290851"/>
                </a:lnTo>
                <a:lnTo>
                  <a:pt x="466473" y="294031"/>
                </a:lnTo>
                <a:lnTo>
                  <a:pt x="475357" y="297530"/>
                </a:lnTo>
                <a:lnTo>
                  <a:pt x="483923" y="300711"/>
                </a:lnTo>
                <a:lnTo>
                  <a:pt x="492807" y="304846"/>
                </a:lnTo>
                <a:lnTo>
                  <a:pt x="501373" y="308981"/>
                </a:lnTo>
                <a:lnTo>
                  <a:pt x="509622" y="313434"/>
                </a:lnTo>
                <a:lnTo>
                  <a:pt x="517871" y="318523"/>
                </a:lnTo>
                <a:lnTo>
                  <a:pt x="525803" y="323612"/>
                </a:lnTo>
                <a:lnTo>
                  <a:pt x="520092" y="343651"/>
                </a:lnTo>
                <a:lnTo>
                  <a:pt x="514698" y="364008"/>
                </a:lnTo>
                <a:lnTo>
                  <a:pt x="510574" y="384364"/>
                </a:lnTo>
                <a:lnTo>
                  <a:pt x="507084" y="405039"/>
                </a:lnTo>
                <a:lnTo>
                  <a:pt x="504228" y="426350"/>
                </a:lnTo>
                <a:lnTo>
                  <a:pt x="502007" y="447661"/>
                </a:lnTo>
                <a:lnTo>
                  <a:pt x="501056" y="469290"/>
                </a:lnTo>
                <a:lnTo>
                  <a:pt x="500421" y="490919"/>
                </a:lnTo>
                <a:lnTo>
                  <a:pt x="501056" y="507777"/>
                </a:lnTo>
                <a:lnTo>
                  <a:pt x="501690" y="524953"/>
                </a:lnTo>
                <a:lnTo>
                  <a:pt x="502959" y="541492"/>
                </a:lnTo>
                <a:lnTo>
                  <a:pt x="504863" y="558032"/>
                </a:lnTo>
                <a:lnTo>
                  <a:pt x="507084" y="574572"/>
                </a:lnTo>
                <a:lnTo>
                  <a:pt x="509622" y="590794"/>
                </a:lnTo>
                <a:lnTo>
                  <a:pt x="512477" y="607016"/>
                </a:lnTo>
                <a:lnTo>
                  <a:pt x="516285" y="623237"/>
                </a:lnTo>
                <a:lnTo>
                  <a:pt x="204089" y="623237"/>
                </a:lnTo>
                <a:lnTo>
                  <a:pt x="212021" y="637551"/>
                </a:lnTo>
                <a:lnTo>
                  <a:pt x="220588" y="650910"/>
                </a:lnTo>
                <a:lnTo>
                  <a:pt x="225029" y="657907"/>
                </a:lnTo>
                <a:lnTo>
                  <a:pt x="229788" y="664269"/>
                </a:lnTo>
                <a:lnTo>
                  <a:pt x="234548" y="670312"/>
                </a:lnTo>
                <a:lnTo>
                  <a:pt x="239307" y="676356"/>
                </a:lnTo>
                <a:lnTo>
                  <a:pt x="244700" y="682399"/>
                </a:lnTo>
                <a:lnTo>
                  <a:pt x="250094" y="688124"/>
                </a:lnTo>
                <a:lnTo>
                  <a:pt x="255170" y="693213"/>
                </a:lnTo>
                <a:lnTo>
                  <a:pt x="260881" y="698621"/>
                </a:lnTo>
                <a:lnTo>
                  <a:pt x="266592" y="703710"/>
                </a:lnTo>
                <a:lnTo>
                  <a:pt x="271986" y="708163"/>
                </a:lnTo>
                <a:lnTo>
                  <a:pt x="277696" y="713252"/>
                </a:lnTo>
                <a:lnTo>
                  <a:pt x="283725" y="717387"/>
                </a:lnTo>
                <a:lnTo>
                  <a:pt x="290070" y="721522"/>
                </a:lnTo>
                <a:lnTo>
                  <a:pt x="296098" y="725657"/>
                </a:lnTo>
                <a:lnTo>
                  <a:pt x="302444" y="729156"/>
                </a:lnTo>
                <a:lnTo>
                  <a:pt x="309106" y="732655"/>
                </a:lnTo>
                <a:lnTo>
                  <a:pt x="315452" y="735835"/>
                </a:lnTo>
                <a:lnTo>
                  <a:pt x="322115" y="738698"/>
                </a:lnTo>
                <a:lnTo>
                  <a:pt x="328460" y="741561"/>
                </a:lnTo>
                <a:lnTo>
                  <a:pt x="335757" y="743787"/>
                </a:lnTo>
                <a:lnTo>
                  <a:pt x="342420" y="746014"/>
                </a:lnTo>
                <a:lnTo>
                  <a:pt x="349083" y="747922"/>
                </a:lnTo>
                <a:lnTo>
                  <a:pt x="356380" y="749512"/>
                </a:lnTo>
                <a:lnTo>
                  <a:pt x="363360" y="750785"/>
                </a:lnTo>
                <a:lnTo>
                  <a:pt x="370657" y="751739"/>
                </a:lnTo>
                <a:lnTo>
                  <a:pt x="377637" y="752375"/>
                </a:lnTo>
                <a:lnTo>
                  <a:pt x="384934" y="753011"/>
                </a:lnTo>
                <a:lnTo>
                  <a:pt x="392232" y="753011"/>
                </a:lnTo>
                <a:lnTo>
                  <a:pt x="402384" y="752693"/>
                </a:lnTo>
                <a:lnTo>
                  <a:pt x="412537" y="752057"/>
                </a:lnTo>
                <a:lnTo>
                  <a:pt x="422372" y="750467"/>
                </a:lnTo>
                <a:lnTo>
                  <a:pt x="432208" y="748558"/>
                </a:lnTo>
                <a:lnTo>
                  <a:pt x="442043" y="746014"/>
                </a:lnTo>
                <a:lnTo>
                  <a:pt x="451244" y="742833"/>
                </a:lnTo>
                <a:lnTo>
                  <a:pt x="460445" y="739652"/>
                </a:lnTo>
                <a:lnTo>
                  <a:pt x="469646" y="735517"/>
                </a:lnTo>
                <a:lnTo>
                  <a:pt x="478529" y="731064"/>
                </a:lnTo>
                <a:lnTo>
                  <a:pt x="487413" y="725975"/>
                </a:lnTo>
                <a:lnTo>
                  <a:pt x="495979" y="720250"/>
                </a:lnTo>
                <a:lnTo>
                  <a:pt x="504228" y="714206"/>
                </a:lnTo>
                <a:lnTo>
                  <a:pt x="512160" y="708163"/>
                </a:lnTo>
                <a:lnTo>
                  <a:pt x="520092" y="701483"/>
                </a:lnTo>
                <a:lnTo>
                  <a:pt x="528024" y="694486"/>
                </a:lnTo>
                <a:lnTo>
                  <a:pt x="535004" y="686852"/>
                </a:lnTo>
                <a:lnTo>
                  <a:pt x="540397" y="699893"/>
                </a:lnTo>
                <a:lnTo>
                  <a:pt x="545791" y="712934"/>
                </a:lnTo>
                <a:lnTo>
                  <a:pt x="551185" y="725975"/>
                </a:lnTo>
                <a:lnTo>
                  <a:pt x="557213" y="738380"/>
                </a:lnTo>
                <a:lnTo>
                  <a:pt x="548329" y="746332"/>
                </a:lnTo>
                <a:lnTo>
                  <a:pt x="539128" y="753965"/>
                </a:lnTo>
                <a:lnTo>
                  <a:pt x="529610" y="760963"/>
                </a:lnTo>
                <a:lnTo>
                  <a:pt x="519457" y="767961"/>
                </a:lnTo>
                <a:lnTo>
                  <a:pt x="509305" y="774004"/>
                </a:lnTo>
                <a:lnTo>
                  <a:pt x="498835" y="779411"/>
                </a:lnTo>
                <a:lnTo>
                  <a:pt x="487730" y="784819"/>
                </a:lnTo>
                <a:lnTo>
                  <a:pt x="476626" y="789590"/>
                </a:lnTo>
                <a:lnTo>
                  <a:pt x="465204" y="793725"/>
                </a:lnTo>
                <a:lnTo>
                  <a:pt x="453465" y="797542"/>
                </a:lnTo>
                <a:lnTo>
                  <a:pt x="441726" y="800722"/>
                </a:lnTo>
                <a:lnTo>
                  <a:pt x="429670" y="803267"/>
                </a:lnTo>
                <a:lnTo>
                  <a:pt x="417613" y="805493"/>
                </a:lnTo>
                <a:lnTo>
                  <a:pt x="404922" y="807084"/>
                </a:lnTo>
                <a:lnTo>
                  <a:pt x="392232" y="807720"/>
                </a:lnTo>
                <a:lnTo>
                  <a:pt x="379541" y="808038"/>
                </a:lnTo>
                <a:lnTo>
                  <a:pt x="366215" y="807720"/>
                </a:lnTo>
                <a:lnTo>
                  <a:pt x="352573" y="807084"/>
                </a:lnTo>
                <a:lnTo>
                  <a:pt x="339247" y="805175"/>
                </a:lnTo>
                <a:lnTo>
                  <a:pt x="326239" y="802949"/>
                </a:lnTo>
                <a:lnTo>
                  <a:pt x="313548" y="799768"/>
                </a:lnTo>
                <a:lnTo>
                  <a:pt x="301175" y="796587"/>
                </a:lnTo>
                <a:lnTo>
                  <a:pt x="288801" y="792452"/>
                </a:lnTo>
                <a:lnTo>
                  <a:pt x="276745" y="787363"/>
                </a:lnTo>
                <a:lnTo>
                  <a:pt x="265006" y="782274"/>
                </a:lnTo>
                <a:lnTo>
                  <a:pt x="253584" y="776231"/>
                </a:lnTo>
                <a:lnTo>
                  <a:pt x="242797" y="770187"/>
                </a:lnTo>
                <a:lnTo>
                  <a:pt x="232009" y="762872"/>
                </a:lnTo>
                <a:lnTo>
                  <a:pt x="221857" y="755874"/>
                </a:lnTo>
                <a:lnTo>
                  <a:pt x="211704" y="747922"/>
                </a:lnTo>
                <a:lnTo>
                  <a:pt x="202186" y="739652"/>
                </a:lnTo>
                <a:lnTo>
                  <a:pt x="192985" y="731064"/>
                </a:lnTo>
                <a:lnTo>
                  <a:pt x="184101" y="721522"/>
                </a:lnTo>
                <a:lnTo>
                  <a:pt x="175852" y="711980"/>
                </a:lnTo>
                <a:lnTo>
                  <a:pt x="167920" y="701801"/>
                </a:lnTo>
                <a:lnTo>
                  <a:pt x="160940" y="691623"/>
                </a:lnTo>
                <a:lnTo>
                  <a:pt x="153643" y="680809"/>
                </a:lnTo>
                <a:lnTo>
                  <a:pt x="147298" y="669994"/>
                </a:lnTo>
                <a:lnTo>
                  <a:pt x="141904" y="658225"/>
                </a:lnTo>
                <a:lnTo>
                  <a:pt x="136511" y="646457"/>
                </a:lnTo>
                <a:lnTo>
                  <a:pt x="131751" y="634370"/>
                </a:lnTo>
                <a:lnTo>
                  <a:pt x="127627" y="622283"/>
                </a:lnTo>
                <a:lnTo>
                  <a:pt x="124137" y="609560"/>
                </a:lnTo>
                <a:lnTo>
                  <a:pt x="120964" y="596837"/>
                </a:lnTo>
                <a:lnTo>
                  <a:pt x="118743" y="584114"/>
                </a:lnTo>
                <a:lnTo>
                  <a:pt x="116840" y="570755"/>
                </a:lnTo>
                <a:lnTo>
                  <a:pt x="116205" y="557396"/>
                </a:lnTo>
                <a:lnTo>
                  <a:pt x="115888" y="543719"/>
                </a:lnTo>
                <a:lnTo>
                  <a:pt x="116205" y="530042"/>
                </a:lnTo>
                <a:lnTo>
                  <a:pt x="116840" y="516683"/>
                </a:lnTo>
                <a:lnTo>
                  <a:pt x="118743" y="503324"/>
                </a:lnTo>
                <a:lnTo>
                  <a:pt x="120964" y="490283"/>
                </a:lnTo>
                <a:lnTo>
                  <a:pt x="124137" y="477560"/>
                </a:lnTo>
                <a:lnTo>
                  <a:pt x="127627" y="465155"/>
                </a:lnTo>
                <a:lnTo>
                  <a:pt x="131751" y="453068"/>
                </a:lnTo>
                <a:lnTo>
                  <a:pt x="136511" y="440981"/>
                </a:lnTo>
                <a:lnTo>
                  <a:pt x="141904" y="429213"/>
                </a:lnTo>
                <a:lnTo>
                  <a:pt x="147298" y="417444"/>
                </a:lnTo>
                <a:lnTo>
                  <a:pt x="153643" y="406629"/>
                </a:lnTo>
                <a:lnTo>
                  <a:pt x="160940" y="395815"/>
                </a:lnTo>
                <a:lnTo>
                  <a:pt x="167920" y="385637"/>
                </a:lnTo>
                <a:lnTo>
                  <a:pt x="175852" y="375458"/>
                </a:lnTo>
                <a:lnTo>
                  <a:pt x="184101" y="365916"/>
                </a:lnTo>
                <a:lnTo>
                  <a:pt x="192985" y="356374"/>
                </a:lnTo>
                <a:lnTo>
                  <a:pt x="202186" y="347786"/>
                </a:lnTo>
                <a:lnTo>
                  <a:pt x="211704" y="339516"/>
                </a:lnTo>
                <a:lnTo>
                  <a:pt x="221857" y="331564"/>
                </a:lnTo>
                <a:lnTo>
                  <a:pt x="232009" y="324567"/>
                </a:lnTo>
                <a:lnTo>
                  <a:pt x="242797" y="317251"/>
                </a:lnTo>
                <a:lnTo>
                  <a:pt x="253584" y="311207"/>
                </a:lnTo>
                <a:lnTo>
                  <a:pt x="265006" y="305164"/>
                </a:lnTo>
                <a:lnTo>
                  <a:pt x="276745" y="300075"/>
                </a:lnTo>
                <a:lnTo>
                  <a:pt x="288801" y="294986"/>
                </a:lnTo>
                <a:lnTo>
                  <a:pt x="301175" y="290851"/>
                </a:lnTo>
                <a:lnTo>
                  <a:pt x="313548" y="287670"/>
                </a:lnTo>
                <a:lnTo>
                  <a:pt x="326239" y="284489"/>
                </a:lnTo>
                <a:lnTo>
                  <a:pt x="339247" y="282263"/>
                </a:lnTo>
                <a:lnTo>
                  <a:pt x="352573" y="280354"/>
                </a:lnTo>
                <a:lnTo>
                  <a:pt x="366215" y="279718"/>
                </a:lnTo>
                <a:lnTo>
                  <a:pt x="379541" y="279400"/>
                </a:lnTo>
                <a:close/>
                <a:moveTo>
                  <a:pt x="1746295" y="279400"/>
                </a:moveTo>
                <a:lnTo>
                  <a:pt x="1756477" y="279400"/>
                </a:lnTo>
                <a:lnTo>
                  <a:pt x="1770159" y="279718"/>
                </a:lnTo>
                <a:lnTo>
                  <a:pt x="1783523" y="280354"/>
                </a:lnTo>
                <a:lnTo>
                  <a:pt x="1796886" y="282263"/>
                </a:lnTo>
                <a:lnTo>
                  <a:pt x="1809932" y="284489"/>
                </a:lnTo>
                <a:lnTo>
                  <a:pt x="1822659" y="287670"/>
                </a:lnTo>
                <a:lnTo>
                  <a:pt x="1835387" y="290851"/>
                </a:lnTo>
                <a:lnTo>
                  <a:pt x="1847796" y="294986"/>
                </a:lnTo>
                <a:lnTo>
                  <a:pt x="1859569" y="300075"/>
                </a:lnTo>
                <a:lnTo>
                  <a:pt x="1871341" y="305164"/>
                </a:lnTo>
                <a:lnTo>
                  <a:pt x="1882796" y="311207"/>
                </a:lnTo>
                <a:lnTo>
                  <a:pt x="1893614" y="317251"/>
                </a:lnTo>
                <a:lnTo>
                  <a:pt x="1904433" y="324566"/>
                </a:lnTo>
                <a:lnTo>
                  <a:pt x="1914615" y="331564"/>
                </a:lnTo>
                <a:lnTo>
                  <a:pt x="1924796" y="339516"/>
                </a:lnTo>
                <a:lnTo>
                  <a:pt x="1934342" y="347786"/>
                </a:lnTo>
                <a:lnTo>
                  <a:pt x="1943888" y="356374"/>
                </a:lnTo>
                <a:lnTo>
                  <a:pt x="1952479" y="365916"/>
                </a:lnTo>
                <a:lnTo>
                  <a:pt x="1960751" y="375458"/>
                </a:lnTo>
                <a:lnTo>
                  <a:pt x="1968706" y="385637"/>
                </a:lnTo>
                <a:lnTo>
                  <a:pt x="1976024" y="395815"/>
                </a:lnTo>
                <a:lnTo>
                  <a:pt x="1983024" y="406629"/>
                </a:lnTo>
                <a:lnTo>
                  <a:pt x="1989388" y="417444"/>
                </a:lnTo>
                <a:lnTo>
                  <a:pt x="1995115" y="429213"/>
                </a:lnTo>
                <a:lnTo>
                  <a:pt x="2000206" y="440981"/>
                </a:lnTo>
                <a:lnTo>
                  <a:pt x="2005297" y="453068"/>
                </a:lnTo>
                <a:lnTo>
                  <a:pt x="2009434" y="465155"/>
                </a:lnTo>
                <a:lnTo>
                  <a:pt x="2012615" y="477560"/>
                </a:lnTo>
                <a:lnTo>
                  <a:pt x="2015797" y="490283"/>
                </a:lnTo>
                <a:lnTo>
                  <a:pt x="2018025" y="503324"/>
                </a:lnTo>
                <a:lnTo>
                  <a:pt x="2019934" y="516683"/>
                </a:lnTo>
                <a:lnTo>
                  <a:pt x="2020888" y="530042"/>
                </a:lnTo>
                <a:lnTo>
                  <a:pt x="2020888" y="543719"/>
                </a:lnTo>
                <a:lnTo>
                  <a:pt x="2020888" y="557396"/>
                </a:lnTo>
                <a:lnTo>
                  <a:pt x="2019934" y="570755"/>
                </a:lnTo>
                <a:lnTo>
                  <a:pt x="2018025" y="584114"/>
                </a:lnTo>
                <a:lnTo>
                  <a:pt x="2015797" y="596837"/>
                </a:lnTo>
                <a:lnTo>
                  <a:pt x="2012615" y="609560"/>
                </a:lnTo>
                <a:lnTo>
                  <a:pt x="2009434" y="622283"/>
                </a:lnTo>
                <a:lnTo>
                  <a:pt x="2005297" y="634370"/>
                </a:lnTo>
                <a:lnTo>
                  <a:pt x="2000206" y="646457"/>
                </a:lnTo>
                <a:lnTo>
                  <a:pt x="1995115" y="658225"/>
                </a:lnTo>
                <a:lnTo>
                  <a:pt x="1989388" y="669994"/>
                </a:lnTo>
                <a:lnTo>
                  <a:pt x="1983024" y="680809"/>
                </a:lnTo>
                <a:lnTo>
                  <a:pt x="1976024" y="691623"/>
                </a:lnTo>
                <a:lnTo>
                  <a:pt x="1968706" y="701801"/>
                </a:lnTo>
                <a:lnTo>
                  <a:pt x="1960751" y="711980"/>
                </a:lnTo>
                <a:lnTo>
                  <a:pt x="1952479" y="721522"/>
                </a:lnTo>
                <a:lnTo>
                  <a:pt x="1943888" y="731064"/>
                </a:lnTo>
                <a:lnTo>
                  <a:pt x="1934342" y="739652"/>
                </a:lnTo>
                <a:lnTo>
                  <a:pt x="1924796" y="747922"/>
                </a:lnTo>
                <a:lnTo>
                  <a:pt x="1914615" y="755874"/>
                </a:lnTo>
                <a:lnTo>
                  <a:pt x="1904433" y="762872"/>
                </a:lnTo>
                <a:lnTo>
                  <a:pt x="1893614" y="770187"/>
                </a:lnTo>
                <a:lnTo>
                  <a:pt x="1882796" y="776231"/>
                </a:lnTo>
                <a:lnTo>
                  <a:pt x="1871341" y="782274"/>
                </a:lnTo>
                <a:lnTo>
                  <a:pt x="1859569" y="787363"/>
                </a:lnTo>
                <a:lnTo>
                  <a:pt x="1847796" y="792452"/>
                </a:lnTo>
                <a:lnTo>
                  <a:pt x="1835387" y="796587"/>
                </a:lnTo>
                <a:lnTo>
                  <a:pt x="1822659" y="799768"/>
                </a:lnTo>
                <a:lnTo>
                  <a:pt x="1809932" y="802949"/>
                </a:lnTo>
                <a:lnTo>
                  <a:pt x="1796886" y="805175"/>
                </a:lnTo>
                <a:lnTo>
                  <a:pt x="1783523" y="807084"/>
                </a:lnTo>
                <a:lnTo>
                  <a:pt x="1770159" y="807720"/>
                </a:lnTo>
                <a:lnTo>
                  <a:pt x="1756477" y="808038"/>
                </a:lnTo>
                <a:lnTo>
                  <a:pt x="1743749" y="807720"/>
                </a:lnTo>
                <a:lnTo>
                  <a:pt x="1730704" y="807084"/>
                </a:lnTo>
                <a:lnTo>
                  <a:pt x="1718295" y="805493"/>
                </a:lnTo>
                <a:lnTo>
                  <a:pt x="1706522" y="803267"/>
                </a:lnTo>
                <a:lnTo>
                  <a:pt x="1693794" y="800722"/>
                </a:lnTo>
                <a:lnTo>
                  <a:pt x="1682340" y="797542"/>
                </a:lnTo>
                <a:lnTo>
                  <a:pt x="1670567" y="793725"/>
                </a:lnTo>
                <a:lnTo>
                  <a:pt x="1658794" y="789590"/>
                </a:lnTo>
                <a:lnTo>
                  <a:pt x="1647976" y="784819"/>
                </a:lnTo>
                <a:lnTo>
                  <a:pt x="1637158" y="779411"/>
                </a:lnTo>
                <a:lnTo>
                  <a:pt x="1626339" y="774004"/>
                </a:lnTo>
                <a:lnTo>
                  <a:pt x="1615839" y="767325"/>
                </a:lnTo>
                <a:lnTo>
                  <a:pt x="1606294" y="760963"/>
                </a:lnTo>
                <a:lnTo>
                  <a:pt x="1596430" y="753965"/>
                </a:lnTo>
                <a:lnTo>
                  <a:pt x="1586884" y="746332"/>
                </a:lnTo>
                <a:lnTo>
                  <a:pt x="1577975" y="738380"/>
                </a:lnTo>
                <a:lnTo>
                  <a:pt x="1586248" y="720250"/>
                </a:lnTo>
                <a:lnTo>
                  <a:pt x="1594203" y="702438"/>
                </a:lnTo>
                <a:lnTo>
                  <a:pt x="1601203" y="683353"/>
                </a:lnTo>
                <a:lnTo>
                  <a:pt x="1607566" y="664587"/>
                </a:lnTo>
                <a:lnTo>
                  <a:pt x="1615521" y="674765"/>
                </a:lnTo>
                <a:lnTo>
                  <a:pt x="1623476" y="684307"/>
                </a:lnTo>
                <a:lnTo>
                  <a:pt x="1632067" y="692895"/>
                </a:lnTo>
                <a:lnTo>
                  <a:pt x="1641294" y="701483"/>
                </a:lnTo>
                <a:lnTo>
                  <a:pt x="1650521" y="709435"/>
                </a:lnTo>
                <a:lnTo>
                  <a:pt x="1660067" y="716751"/>
                </a:lnTo>
                <a:lnTo>
                  <a:pt x="1669931" y="723431"/>
                </a:lnTo>
                <a:lnTo>
                  <a:pt x="1680113" y="729474"/>
                </a:lnTo>
                <a:lnTo>
                  <a:pt x="1690613" y="734563"/>
                </a:lnTo>
                <a:lnTo>
                  <a:pt x="1701113" y="739652"/>
                </a:lnTo>
                <a:lnTo>
                  <a:pt x="1711931" y="743787"/>
                </a:lnTo>
                <a:lnTo>
                  <a:pt x="1723067" y="746968"/>
                </a:lnTo>
                <a:lnTo>
                  <a:pt x="1734204" y="749831"/>
                </a:lnTo>
                <a:lnTo>
                  <a:pt x="1745977" y="751739"/>
                </a:lnTo>
                <a:lnTo>
                  <a:pt x="1757750" y="752693"/>
                </a:lnTo>
                <a:lnTo>
                  <a:pt x="1769204" y="753011"/>
                </a:lnTo>
                <a:lnTo>
                  <a:pt x="1776841" y="753011"/>
                </a:lnTo>
                <a:lnTo>
                  <a:pt x="1783841" y="752375"/>
                </a:lnTo>
                <a:lnTo>
                  <a:pt x="1791477" y="751739"/>
                </a:lnTo>
                <a:lnTo>
                  <a:pt x="1798795" y="750785"/>
                </a:lnTo>
                <a:lnTo>
                  <a:pt x="1805795" y="749512"/>
                </a:lnTo>
                <a:lnTo>
                  <a:pt x="1812477" y="747922"/>
                </a:lnTo>
                <a:lnTo>
                  <a:pt x="1819796" y="746014"/>
                </a:lnTo>
                <a:lnTo>
                  <a:pt x="1826477" y="743787"/>
                </a:lnTo>
                <a:lnTo>
                  <a:pt x="1833477" y="741561"/>
                </a:lnTo>
                <a:lnTo>
                  <a:pt x="1840159" y="738698"/>
                </a:lnTo>
                <a:lnTo>
                  <a:pt x="1846523" y="735835"/>
                </a:lnTo>
                <a:lnTo>
                  <a:pt x="1853205" y="732655"/>
                </a:lnTo>
                <a:lnTo>
                  <a:pt x="1859569" y="729156"/>
                </a:lnTo>
                <a:lnTo>
                  <a:pt x="1865614" y="725657"/>
                </a:lnTo>
                <a:lnTo>
                  <a:pt x="1872296" y="721522"/>
                </a:lnTo>
                <a:lnTo>
                  <a:pt x="1878342" y="717387"/>
                </a:lnTo>
                <a:lnTo>
                  <a:pt x="1884069" y="713252"/>
                </a:lnTo>
                <a:lnTo>
                  <a:pt x="1890114" y="708163"/>
                </a:lnTo>
                <a:lnTo>
                  <a:pt x="1895842" y="703710"/>
                </a:lnTo>
                <a:lnTo>
                  <a:pt x="1901569" y="698621"/>
                </a:lnTo>
                <a:lnTo>
                  <a:pt x="1906978" y="693213"/>
                </a:lnTo>
                <a:lnTo>
                  <a:pt x="1912387" y="688124"/>
                </a:lnTo>
                <a:lnTo>
                  <a:pt x="1917796" y="682399"/>
                </a:lnTo>
                <a:lnTo>
                  <a:pt x="1922569" y="676356"/>
                </a:lnTo>
                <a:lnTo>
                  <a:pt x="1927660" y="670312"/>
                </a:lnTo>
                <a:lnTo>
                  <a:pt x="1932433" y="664269"/>
                </a:lnTo>
                <a:lnTo>
                  <a:pt x="1936887" y="657907"/>
                </a:lnTo>
                <a:lnTo>
                  <a:pt x="1941342" y="650910"/>
                </a:lnTo>
                <a:lnTo>
                  <a:pt x="1950251" y="637551"/>
                </a:lnTo>
                <a:lnTo>
                  <a:pt x="1958206" y="623237"/>
                </a:lnTo>
                <a:lnTo>
                  <a:pt x="1619021" y="623237"/>
                </a:lnTo>
                <a:lnTo>
                  <a:pt x="1622839" y="607016"/>
                </a:lnTo>
                <a:lnTo>
                  <a:pt x="1625703" y="590794"/>
                </a:lnTo>
                <a:lnTo>
                  <a:pt x="1628248" y="574572"/>
                </a:lnTo>
                <a:lnTo>
                  <a:pt x="1630476" y="558032"/>
                </a:lnTo>
                <a:lnTo>
                  <a:pt x="1632385" y="541492"/>
                </a:lnTo>
                <a:lnTo>
                  <a:pt x="1633658" y="524953"/>
                </a:lnTo>
                <a:lnTo>
                  <a:pt x="1634294" y="507777"/>
                </a:lnTo>
                <a:lnTo>
                  <a:pt x="1634930" y="490919"/>
                </a:lnTo>
                <a:lnTo>
                  <a:pt x="1634294" y="469290"/>
                </a:lnTo>
                <a:lnTo>
                  <a:pt x="1633339" y="447661"/>
                </a:lnTo>
                <a:lnTo>
                  <a:pt x="1631112" y="426668"/>
                </a:lnTo>
                <a:lnTo>
                  <a:pt x="1628248" y="405357"/>
                </a:lnTo>
                <a:lnTo>
                  <a:pt x="1625067" y="384364"/>
                </a:lnTo>
                <a:lnTo>
                  <a:pt x="1620612" y="364008"/>
                </a:lnTo>
                <a:lnTo>
                  <a:pt x="1615521" y="343651"/>
                </a:lnTo>
                <a:lnTo>
                  <a:pt x="1609476" y="323612"/>
                </a:lnTo>
                <a:lnTo>
                  <a:pt x="1617748" y="318523"/>
                </a:lnTo>
                <a:lnTo>
                  <a:pt x="1625703" y="314070"/>
                </a:lnTo>
                <a:lnTo>
                  <a:pt x="1633976" y="308981"/>
                </a:lnTo>
                <a:lnTo>
                  <a:pt x="1642567" y="304846"/>
                </a:lnTo>
                <a:lnTo>
                  <a:pt x="1651476" y="301029"/>
                </a:lnTo>
                <a:lnTo>
                  <a:pt x="1660385" y="297530"/>
                </a:lnTo>
                <a:lnTo>
                  <a:pt x="1669294" y="294031"/>
                </a:lnTo>
                <a:lnTo>
                  <a:pt x="1678522" y="290851"/>
                </a:lnTo>
                <a:lnTo>
                  <a:pt x="1687749" y="288306"/>
                </a:lnTo>
                <a:lnTo>
                  <a:pt x="1697294" y="286080"/>
                </a:lnTo>
                <a:lnTo>
                  <a:pt x="1706840" y="283853"/>
                </a:lnTo>
                <a:lnTo>
                  <a:pt x="1716386" y="282263"/>
                </a:lnTo>
                <a:lnTo>
                  <a:pt x="1726249" y="280672"/>
                </a:lnTo>
                <a:lnTo>
                  <a:pt x="1736431" y="280036"/>
                </a:lnTo>
                <a:lnTo>
                  <a:pt x="1746295" y="279400"/>
                </a:lnTo>
                <a:close/>
                <a:moveTo>
                  <a:pt x="1054727" y="0"/>
                </a:moveTo>
                <a:lnTo>
                  <a:pt x="1067435" y="0"/>
                </a:lnTo>
                <a:lnTo>
                  <a:pt x="1080461" y="0"/>
                </a:lnTo>
                <a:lnTo>
                  <a:pt x="1092852" y="635"/>
                </a:lnTo>
                <a:lnTo>
                  <a:pt x="1105242" y="1271"/>
                </a:lnTo>
                <a:lnTo>
                  <a:pt x="1117951" y="2542"/>
                </a:lnTo>
                <a:lnTo>
                  <a:pt x="1130023" y="3813"/>
                </a:lnTo>
                <a:lnTo>
                  <a:pt x="1142414" y="5401"/>
                </a:lnTo>
                <a:lnTo>
                  <a:pt x="1154487" y="7307"/>
                </a:lnTo>
                <a:lnTo>
                  <a:pt x="1166560" y="10167"/>
                </a:lnTo>
                <a:lnTo>
                  <a:pt x="1178632" y="12391"/>
                </a:lnTo>
                <a:lnTo>
                  <a:pt x="1190387" y="15250"/>
                </a:lnTo>
                <a:lnTo>
                  <a:pt x="1202143" y="18745"/>
                </a:lnTo>
                <a:lnTo>
                  <a:pt x="1213580" y="22239"/>
                </a:lnTo>
                <a:lnTo>
                  <a:pt x="1225335" y="25734"/>
                </a:lnTo>
                <a:lnTo>
                  <a:pt x="1236455" y="29547"/>
                </a:lnTo>
                <a:lnTo>
                  <a:pt x="1247892" y="33995"/>
                </a:lnTo>
                <a:lnTo>
                  <a:pt x="1258694" y="38760"/>
                </a:lnTo>
                <a:lnTo>
                  <a:pt x="1270132" y="43208"/>
                </a:lnTo>
                <a:lnTo>
                  <a:pt x="1280616" y="48291"/>
                </a:lnTo>
                <a:lnTo>
                  <a:pt x="1291418" y="53692"/>
                </a:lnTo>
                <a:lnTo>
                  <a:pt x="1301902" y="59411"/>
                </a:lnTo>
                <a:lnTo>
                  <a:pt x="1312069" y="65130"/>
                </a:lnTo>
                <a:lnTo>
                  <a:pt x="1322235" y="71166"/>
                </a:lnTo>
                <a:lnTo>
                  <a:pt x="1332402" y="77520"/>
                </a:lnTo>
                <a:lnTo>
                  <a:pt x="1342251" y="83874"/>
                </a:lnTo>
                <a:lnTo>
                  <a:pt x="1352100" y="90546"/>
                </a:lnTo>
                <a:lnTo>
                  <a:pt x="1361313" y="97218"/>
                </a:lnTo>
                <a:lnTo>
                  <a:pt x="1370844" y="104525"/>
                </a:lnTo>
                <a:lnTo>
                  <a:pt x="1380375" y="112150"/>
                </a:lnTo>
                <a:lnTo>
                  <a:pt x="1389271" y="119457"/>
                </a:lnTo>
                <a:lnTo>
                  <a:pt x="1397849" y="127400"/>
                </a:lnTo>
                <a:lnTo>
                  <a:pt x="1406427" y="135660"/>
                </a:lnTo>
                <a:lnTo>
                  <a:pt x="1415323" y="143603"/>
                </a:lnTo>
                <a:lnTo>
                  <a:pt x="1423266" y="152181"/>
                </a:lnTo>
                <a:lnTo>
                  <a:pt x="1431526" y="161077"/>
                </a:lnTo>
                <a:lnTo>
                  <a:pt x="1439469" y="169655"/>
                </a:lnTo>
                <a:lnTo>
                  <a:pt x="1446776" y="178551"/>
                </a:lnTo>
                <a:lnTo>
                  <a:pt x="1454083" y="188082"/>
                </a:lnTo>
                <a:lnTo>
                  <a:pt x="1461391" y="197295"/>
                </a:lnTo>
                <a:lnTo>
                  <a:pt x="1468380" y="206826"/>
                </a:lnTo>
                <a:lnTo>
                  <a:pt x="1475052" y="216675"/>
                </a:lnTo>
                <a:lnTo>
                  <a:pt x="1481406" y="226524"/>
                </a:lnTo>
                <a:lnTo>
                  <a:pt x="1487760" y="236691"/>
                </a:lnTo>
                <a:lnTo>
                  <a:pt x="1493797" y="246857"/>
                </a:lnTo>
                <a:lnTo>
                  <a:pt x="1499515" y="256706"/>
                </a:lnTo>
                <a:lnTo>
                  <a:pt x="1505234" y="267508"/>
                </a:lnTo>
                <a:lnTo>
                  <a:pt x="1510317" y="278310"/>
                </a:lnTo>
                <a:lnTo>
                  <a:pt x="1515718" y="288794"/>
                </a:lnTo>
                <a:lnTo>
                  <a:pt x="1520166" y="300232"/>
                </a:lnTo>
                <a:lnTo>
                  <a:pt x="1524614" y="311034"/>
                </a:lnTo>
                <a:lnTo>
                  <a:pt x="1529380" y="322471"/>
                </a:lnTo>
                <a:lnTo>
                  <a:pt x="1532874" y="333591"/>
                </a:lnTo>
                <a:lnTo>
                  <a:pt x="1536687" y="345346"/>
                </a:lnTo>
                <a:lnTo>
                  <a:pt x="1540182" y="356466"/>
                </a:lnTo>
                <a:lnTo>
                  <a:pt x="1543676" y="368221"/>
                </a:lnTo>
                <a:lnTo>
                  <a:pt x="1546218" y="380294"/>
                </a:lnTo>
                <a:lnTo>
                  <a:pt x="1548760" y="392366"/>
                </a:lnTo>
                <a:lnTo>
                  <a:pt x="1551301" y="404439"/>
                </a:lnTo>
                <a:lnTo>
                  <a:pt x="1553208" y="416512"/>
                </a:lnTo>
                <a:lnTo>
                  <a:pt x="1554796" y="428902"/>
                </a:lnTo>
                <a:lnTo>
                  <a:pt x="1556385" y="440975"/>
                </a:lnTo>
                <a:lnTo>
                  <a:pt x="1557338" y="453366"/>
                </a:lnTo>
                <a:lnTo>
                  <a:pt x="1558291" y="466074"/>
                </a:lnTo>
                <a:lnTo>
                  <a:pt x="1558609" y="478464"/>
                </a:lnTo>
                <a:lnTo>
                  <a:pt x="1558926" y="491173"/>
                </a:lnTo>
                <a:lnTo>
                  <a:pt x="1558609" y="503881"/>
                </a:lnTo>
                <a:lnTo>
                  <a:pt x="1558291" y="516589"/>
                </a:lnTo>
                <a:lnTo>
                  <a:pt x="1557338" y="528980"/>
                </a:lnTo>
                <a:lnTo>
                  <a:pt x="1556385" y="541370"/>
                </a:lnTo>
                <a:lnTo>
                  <a:pt x="1554796" y="553761"/>
                </a:lnTo>
                <a:lnTo>
                  <a:pt x="1553208" y="566151"/>
                </a:lnTo>
                <a:lnTo>
                  <a:pt x="1551301" y="578224"/>
                </a:lnTo>
                <a:lnTo>
                  <a:pt x="1548760" y="590297"/>
                </a:lnTo>
                <a:lnTo>
                  <a:pt x="1546218" y="602370"/>
                </a:lnTo>
                <a:lnTo>
                  <a:pt x="1543676" y="613807"/>
                </a:lnTo>
                <a:lnTo>
                  <a:pt x="1540182" y="625562"/>
                </a:lnTo>
                <a:lnTo>
                  <a:pt x="1536687" y="637317"/>
                </a:lnTo>
                <a:lnTo>
                  <a:pt x="1532874" y="648755"/>
                </a:lnTo>
                <a:lnTo>
                  <a:pt x="1529380" y="660192"/>
                </a:lnTo>
                <a:lnTo>
                  <a:pt x="1524614" y="671312"/>
                </a:lnTo>
                <a:lnTo>
                  <a:pt x="1520166" y="682431"/>
                </a:lnTo>
                <a:lnTo>
                  <a:pt x="1515718" y="693233"/>
                </a:lnTo>
                <a:lnTo>
                  <a:pt x="1510317" y="704035"/>
                </a:lnTo>
                <a:lnTo>
                  <a:pt x="1505234" y="715155"/>
                </a:lnTo>
                <a:lnTo>
                  <a:pt x="1499515" y="725322"/>
                </a:lnTo>
                <a:lnTo>
                  <a:pt x="1493797" y="735806"/>
                </a:lnTo>
                <a:lnTo>
                  <a:pt x="1487760" y="745972"/>
                </a:lnTo>
                <a:lnTo>
                  <a:pt x="1481406" y="756139"/>
                </a:lnTo>
                <a:lnTo>
                  <a:pt x="1475052" y="765988"/>
                </a:lnTo>
                <a:lnTo>
                  <a:pt x="1468380" y="775519"/>
                </a:lnTo>
                <a:lnTo>
                  <a:pt x="1461391" y="785050"/>
                </a:lnTo>
                <a:lnTo>
                  <a:pt x="1454083" y="794581"/>
                </a:lnTo>
                <a:lnTo>
                  <a:pt x="1446776" y="803795"/>
                </a:lnTo>
                <a:lnTo>
                  <a:pt x="1439469" y="813008"/>
                </a:lnTo>
                <a:lnTo>
                  <a:pt x="1431526" y="821586"/>
                </a:lnTo>
                <a:lnTo>
                  <a:pt x="1423266" y="830164"/>
                </a:lnTo>
                <a:lnTo>
                  <a:pt x="1415323" y="838425"/>
                </a:lnTo>
                <a:lnTo>
                  <a:pt x="1406427" y="846685"/>
                </a:lnTo>
                <a:lnTo>
                  <a:pt x="1397849" y="854945"/>
                </a:lnTo>
                <a:lnTo>
                  <a:pt x="1389271" y="862888"/>
                </a:lnTo>
                <a:lnTo>
                  <a:pt x="1380375" y="870513"/>
                </a:lnTo>
                <a:lnTo>
                  <a:pt x="1370844" y="877503"/>
                </a:lnTo>
                <a:lnTo>
                  <a:pt x="1361313" y="885127"/>
                </a:lnTo>
                <a:lnTo>
                  <a:pt x="1352100" y="891799"/>
                </a:lnTo>
                <a:lnTo>
                  <a:pt x="1342251" y="898789"/>
                </a:lnTo>
                <a:lnTo>
                  <a:pt x="1332402" y="905143"/>
                </a:lnTo>
                <a:lnTo>
                  <a:pt x="1322235" y="911497"/>
                </a:lnTo>
                <a:lnTo>
                  <a:pt x="1312069" y="917533"/>
                </a:lnTo>
                <a:lnTo>
                  <a:pt x="1301902" y="923252"/>
                </a:lnTo>
                <a:lnTo>
                  <a:pt x="1291418" y="928653"/>
                </a:lnTo>
                <a:lnTo>
                  <a:pt x="1280616" y="934054"/>
                </a:lnTo>
                <a:lnTo>
                  <a:pt x="1270132" y="939455"/>
                </a:lnTo>
                <a:lnTo>
                  <a:pt x="1258694" y="943903"/>
                </a:lnTo>
                <a:lnTo>
                  <a:pt x="1247892" y="948351"/>
                </a:lnTo>
                <a:lnTo>
                  <a:pt x="1236455" y="952799"/>
                </a:lnTo>
                <a:lnTo>
                  <a:pt x="1225335" y="956611"/>
                </a:lnTo>
                <a:lnTo>
                  <a:pt x="1213580" y="960424"/>
                </a:lnTo>
                <a:lnTo>
                  <a:pt x="1202143" y="963601"/>
                </a:lnTo>
                <a:lnTo>
                  <a:pt x="1190387" y="967096"/>
                </a:lnTo>
                <a:lnTo>
                  <a:pt x="1178632" y="970273"/>
                </a:lnTo>
                <a:lnTo>
                  <a:pt x="1166560" y="972497"/>
                </a:lnTo>
                <a:lnTo>
                  <a:pt x="1154487" y="975038"/>
                </a:lnTo>
                <a:lnTo>
                  <a:pt x="1142414" y="976944"/>
                </a:lnTo>
                <a:lnTo>
                  <a:pt x="1130023" y="978533"/>
                </a:lnTo>
                <a:lnTo>
                  <a:pt x="1117951" y="979804"/>
                </a:lnTo>
                <a:lnTo>
                  <a:pt x="1105242" y="981075"/>
                </a:lnTo>
                <a:lnTo>
                  <a:pt x="1092852" y="981710"/>
                </a:lnTo>
                <a:lnTo>
                  <a:pt x="1080461" y="982663"/>
                </a:lnTo>
                <a:lnTo>
                  <a:pt x="1067435" y="982663"/>
                </a:lnTo>
                <a:lnTo>
                  <a:pt x="1054727" y="982663"/>
                </a:lnTo>
                <a:lnTo>
                  <a:pt x="1042337" y="981710"/>
                </a:lnTo>
                <a:lnTo>
                  <a:pt x="1029628" y="981075"/>
                </a:lnTo>
                <a:lnTo>
                  <a:pt x="1017238" y="979804"/>
                </a:lnTo>
                <a:lnTo>
                  <a:pt x="1005165" y="978533"/>
                </a:lnTo>
                <a:lnTo>
                  <a:pt x="992775" y="976944"/>
                </a:lnTo>
                <a:lnTo>
                  <a:pt x="980702" y="975038"/>
                </a:lnTo>
                <a:lnTo>
                  <a:pt x="968629" y="972497"/>
                </a:lnTo>
                <a:lnTo>
                  <a:pt x="956556" y="970273"/>
                </a:lnTo>
                <a:lnTo>
                  <a:pt x="944801" y="967096"/>
                </a:lnTo>
                <a:lnTo>
                  <a:pt x="933046" y="963601"/>
                </a:lnTo>
                <a:lnTo>
                  <a:pt x="921609" y="960424"/>
                </a:lnTo>
                <a:lnTo>
                  <a:pt x="909854" y="956611"/>
                </a:lnTo>
                <a:lnTo>
                  <a:pt x="898734" y="952799"/>
                </a:lnTo>
                <a:lnTo>
                  <a:pt x="887296" y="948351"/>
                </a:lnTo>
                <a:lnTo>
                  <a:pt x="876494" y="943903"/>
                </a:lnTo>
                <a:lnTo>
                  <a:pt x="865692" y="939455"/>
                </a:lnTo>
                <a:lnTo>
                  <a:pt x="854573" y="934054"/>
                </a:lnTo>
                <a:lnTo>
                  <a:pt x="843771" y="928653"/>
                </a:lnTo>
                <a:lnTo>
                  <a:pt x="833604" y="923252"/>
                </a:lnTo>
                <a:lnTo>
                  <a:pt x="823120" y="917533"/>
                </a:lnTo>
                <a:lnTo>
                  <a:pt x="812953" y="911497"/>
                </a:lnTo>
                <a:lnTo>
                  <a:pt x="802787" y="905143"/>
                </a:lnTo>
                <a:lnTo>
                  <a:pt x="792938" y="898789"/>
                </a:lnTo>
                <a:lnTo>
                  <a:pt x="783089" y="891799"/>
                </a:lnTo>
                <a:lnTo>
                  <a:pt x="773876" y="885127"/>
                </a:lnTo>
                <a:lnTo>
                  <a:pt x="764344" y="877503"/>
                </a:lnTo>
                <a:lnTo>
                  <a:pt x="754813" y="870513"/>
                </a:lnTo>
                <a:lnTo>
                  <a:pt x="745917" y="862888"/>
                </a:lnTo>
                <a:lnTo>
                  <a:pt x="737339" y="854945"/>
                </a:lnTo>
                <a:lnTo>
                  <a:pt x="728761" y="846685"/>
                </a:lnTo>
                <a:lnTo>
                  <a:pt x="720183" y="838425"/>
                </a:lnTo>
                <a:lnTo>
                  <a:pt x="711923" y="830164"/>
                </a:lnTo>
                <a:lnTo>
                  <a:pt x="703663" y="821586"/>
                </a:lnTo>
                <a:lnTo>
                  <a:pt x="696355" y="813008"/>
                </a:lnTo>
                <a:lnTo>
                  <a:pt x="688413" y="803795"/>
                </a:lnTo>
                <a:lnTo>
                  <a:pt x="681106" y="794581"/>
                </a:lnTo>
                <a:lnTo>
                  <a:pt x="674116" y="785050"/>
                </a:lnTo>
                <a:lnTo>
                  <a:pt x="666809" y="775519"/>
                </a:lnTo>
                <a:lnTo>
                  <a:pt x="660137" y="765988"/>
                </a:lnTo>
                <a:lnTo>
                  <a:pt x="653783" y="756139"/>
                </a:lnTo>
                <a:lnTo>
                  <a:pt x="647429" y="745972"/>
                </a:lnTo>
                <a:lnTo>
                  <a:pt x="641392" y="735806"/>
                </a:lnTo>
                <a:lnTo>
                  <a:pt x="635674" y="725322"/>
                </a:lnTo>
                <a:lnTo>
                  <a:pt x="629955" y="715155"/>
                </a:lnTo>
                <a:lnTo>
                  <a:pt x="624872" y="704035"/>
                </a:lnTo>
                <a:lnTo>
                  <a:pt x="619788" y="693233"/>
                </a:lnTo>
                <a:lnTo>
                  <a:pt x="615023" y="682431"/>
                </a:lnTo>
                <a:lnTo>
                  <a:pt x="610575" y="671312"/>
                </a:lnTo>
                <a:lnTo>
                  <a:pt x="605809" y="660192"/>
                </a:lnTo>
                <a:lnTo>
                  <a:pt x="602315" y="648755"/>
                </a:lnTo>
                <a:lnTo>
                  <a:pt x="598502" y="637317"/>
                </a:lnTo>
                <a:lnTo>
                  <a:pt x="595007" y="625562"/>
                </a:lnTo>
                <a:lnTo>
                  <a:pt x="591513" y="613807"/>
                </a:lnTo>
                <a:lnTo>
                  <a:pt x="588971" y="602370"/>
                </a:lnTo>
                <a:lnTo>
                  <a:pt x="586429" y="590297"/>
                </a:lnTo>
                <a:lnTo>
                  <a:pt x="584205" y="578224"/>
                </a:lnTo>
                <a:lnTo>
                  <a:pt x="581981" y="566151"/>
                </a:lnTo>
                <a:lnTo>
                  <a:pt x="580393" y="553761"/>
                </a:lnTo>
                <a:lnTo>
                  <a:pt x="578804" y="541370"/>
                </a:lnTo>
                <a:lnTo>
                  <a:pt x="577851" y="528980"/>
                </a:lnTo>
                <a:lnTo>
                  <a:pt x="576898" y="516589"/>
                </a:lnTo>
                <a:lnTo>
                  <a:pt x="576580" y="503881"/>
                </a:lnTo>
                <a:lnTo>
                  <a:pt x="576263" y="491173"/>
                </a:lnTo>
                <a:lnTo>
                  <a:pt x="576580" y="478464"/>
                </a:lnTo>
                <a:lnTo>
                  <a:pt x="576898" y="466074"/>
                </a:lnTo>
                <a:lnTo>
                  <a:pt x="577851" y="453366"/>
                </a:lnTo>
                <a:lnTo>
                  <a:pt x="578804" y="440975"/>
                </a:lnTo>
                <a:lnTo>
                  <a:pt x="580393" y="428902"/>
                </a:lnTo>
                <a:lnTo>
                  <a:pt x="581981" y="416512"/>
                </a:lnTo>
                <a:lnTo>
                  <a:pt x="584205" y="404439"/>
                </a:lnTo>
                <a:lnTo>
                  <a:pt x="586429" y="392366"/>
                </a:lnTo>
                <a:lnTo>
                  <a:pt x="588971" y="380294"/>
                </a:lnTo>
                <a:lnTo>
                  <a:pt x="591513" y="368221"/>
                </a:lnTo>
                <a:lnTo>
                  <a:pt x="595007" y="356466"/>
                </a:lnTo>
                <a:lnTo>
                  <a:pt x="598502" y="345346"/>
                </a:lnTo>
                <a:lnTo>
                  <a:pt x="602315" y="333591"/>
                </a:lnTo>
                <a:lnTo>
                  <a:pt x="605809" y="322471"/>
                </a:lnTo>
                <a:lnTo>
                  <a:pt x="610575" y="311034"/>
                </a:lnTo>
                <a:lnTo>
                  <a:pt x="615023" y="300232"/>
                </a:lnTo>
                <a:lnTo>
                  <a:pt x="619788" y="288794"/>
                </a:lnTo>
                <a:lnTo>
                  <a:pt x="624872" y="278310"/>
                </a:lnTo>
                <a:lnTo>
                  <a:pt x="629955" y="267508"/>
                </a:lnTo>
                <a:lnTo>
                  <a:pt x="635674" y="256706"/>
                </a:lnTo>
                <a:lnTo>
                  <a:pt x="641392" y="246857"/>
                </a:lnTo>
                <a:lnTo>
                  <a:pt x="647429" y="236691"/>
                </a:lnTo>
                <a:lnTo>
                  <a:pt x="653783" y="226524"/>
                </a:lnTo>
                <a:lnTo>
                  <a:pt x="660137" y="216675"/>
                </a:lnTo>
                <a:lnTo>
                  <a:pt x="666809" y="206826"/>
                </a:lnTo>
                <a:lnTo>
                  <a:pt x="674116" y="197295"/>
                </a:lnTo>
                <a:lnTo>
                  <a:pt x="681106" y="188082"/>
                </a:lnTo>
                <a:lnTo>
                  <a:pt x="688413" y="178551"/>
                </a:lnTo>
                <a:lnTo>
                  <a:pt x="696355" y="169655"/>
                </a:lnTo>
                <a:lnTo>
                  <a:pt x="703663" y="161077"/>
                </a:lnTo>
                <a:lnTo>
                  <a:pt x="711923" y="152181"/>
                </a:lnTo>
                <a:lnTo>
                  <a:pt x="720183" y="143603"/>
                </a:lnTo>
                <a:lnTo>
                  <a:pt x="728761" y="135660"/>
                </a:lnTo>
                <a:lnTo>
                  <a:pt x="737339" y="127400"/>
                </a:lnTo>
                <a:lnTo>
                  <a:pt x="745917" y="119457"/>
                </a:lnTo>
                <a:lnTo>
                  <a:pt x="754813" y="112150"/>
                </a:lnTo>
                <a:lnTo>
                  <a:pt x="764344" y="104525"/>
                </a:lnTo>
                <a:lnTo>
                  <a:pt x="773876" y="97218"/>
                </a:lnTo>
                <a:lnTo>
                  <a:pt x="783089" y="90546"/>
                </a:lnTo>
                <a:lnTo>
                  <a:pt x="792938" y="83874"/>
                </a:lnTo>
                <a:lnTo>
                  <a:pt x="802787" y="77520"/>
                </a:lnTo>
                <a:lnTo>
                  <a:pt x="812953" y="71166"/>
                </a:lnTo>
                <a:lnTo>
                  <a:pt x="823120" y="65130"/>
                </a:lnTo>
                <a:lnTo>
                  <a:pt x="833604" y="59411"/>
                </a:lnTo>
                <a:lnTo>
                  <a:pt x="843771" y="53692"/>
                </a:lnTo>
                <a:lnTo>
                  <a:pt x="854573" y="48291"/>
                </a:lnTo>
                <a:lnTo>
                  <a:pt x="865692" y="43208"/>
                </a:lnTo>
                <a:lnTo>
                  <a:pt x="876494" y="38760"/>
                </a:lnTo>
                <a:lnTo>
                  <a:pt x="887296" y="33995"/>
                </a:lnTo>
                <a:lnTo>
                  <a:pt x="898734" y="29547"/>
                </a:lnTo>
                <a:lnTo>
                  <a:pt x="909854" y="25734"/>
                </a:lnTo>
                <a:lnTo>
                  <a:pt x="921609" y="22239"/>
                </a:lnTo>
                <a:lnTo>
                  <a:pt x="933046" y="18745"/>
                </a:lnTo>
                <a:lnTo>
                  <a:pt x="944801" y="15250"/>
                </a:lnTo>
                <a:lnTo>
                  <a:pt x="956556" y="12391"/>
                </a:lnTo>
                <a:lnTo>
                  <a:pt x="968629" y="10167"/>
                </a:lnTo>
                <a:lnTo>
                  <a:pt x="980702" y="7307"/>
                </a:lnTo>
                <a:lnTo>
                  <a:pt x="992775" y="5401"/>
                </a:lnTo>
                <a:lnTo>
                  <a:pt x="1005165" y="3813"/>
                </a:lnTo>
                <a:lnTo>
                  <a:pt x="1017238" y="2542"/>
                </a:lnTo>
                <a:lnTo>
                  <a:pt x="1029628" y="1271"/>
                </a:lnTo>
                <a:lnTo>
                  <a:pt x="1042337" y="635"/>
                </a:lnTo>
                <a:lnTo>
                  <a:pt x="1054727" y="0"/>
                </a:lnTo>
                <a:close/>
              </a:path>
            </a:pathLst>
          </a:custGeom>
          <a:solidFill>
            <a:schemeClr val="bg1"/>
          </a:solidFill>
          <a:ln>
            <a:noFill/>
          </a:ln>
        </p:spPr>
        <p:txBody>
          <a:bodyPr/>
          <a:lstStyle/>
          <a:p>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par>
                          <p:cTn id="17" fill="hold">
                            <p:stCondLst>
                              <p:cond delay="1500"/>
                            </p:stCondLst>
                            <p:childTnLst>
                              <p:par>
                                <p:cTn id="18" presetID="22" presetClass="entr" presetSubtype="8" fill="hold" nodeType="after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wipe(left)">
                                      <p:cBhvr>
                                        <p:cTn id="20" dur="500"/>
                                        <p:tgtEl>
                                          <p:spTgt spid="28"/>
                                        </p:tgtEl>
                                      </p:cBhvr>
                                    </p:animEffect>
                                  </p:childTnLst>
                                </p:cTn>
                              </p:par>
                              <p:par>
                                <p:cTn id="21" presetID="22" presetClass="entr" presetSubtype="8" fill="hold" nodeType="with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wipe(left)">
                                      <p:cBhvr>
                                        <p:cTn id="23" dur="500"/>
                                        <p:tgtEl>
                                          <p:spTgt spid="44"/>
                                        </p:tgtEl>
                                      </p:cBhvr>
                                    </p:animEffect>
                                  </p:childTnLst>
                                </p:cTn>
                              </p:par>
                              <p:par>
                                <p:cTn id="24" presetID="22" presetClass="entr" presetSubtype="8" fill="hold" nodeType="with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wipe(left)">
                                      <p:cBhvr>
                                        <p:cTn id="26" dur="500"/>
                                        <p:tgtEl>
                                          <p:spTgt spid="20"/>
                                        </p:tgtEl>
                                      </p:cBhvr>
                                    </p:animEffect>
                                  </p:childTnLst>
                                </p:cTn>
                              </p:par>
                              <p:par>
                                <p:cTn id="27" presetID="22" presetClass="entr" presetSubtype="8" fill="hold" nodeType="with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wipe(left)">
                                      <p:cBhvr>
                                        <p:cTn id="29" dur="500"/>
                                        <p:tgtEl>
                                          <p:spTgt spid="18"/>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wipe(left)">
                                      <p:cBhvr>
                                        <p:cTn id="32" dur="500"/>
                                        <p:tgtEl>
                                          <p:spTgt spid="6"/>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wipe(left)">
                                      <p:cBhvr>
                                        <p:cTn id="35" dur="500"/>
                                        <p:tgtEl>
                                          <p:spTgt spid="7"/>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wipe(left)">
                                      <p:cBhvr>
                                        <p:cTn id="38" dur="500"/>
                                        <p:tgtEl>
                                          <p:spTgt spid="8"/>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wipe(left)">
                                      <p:cBhvr>
                                        <p:cTn id="41" dur="500"/>
                                        <p:tgtEl>
                                          <p:spTgt spid="9"/>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10"/>
                                        </p:tgtEl>
                                        <p:attrNameLst>
                                          <p:attrName>style.visibility</p:attrName>
                                        </p:attrNameLst>
                                      </p:cBhvr>
                                      <p:to>
                                        <p:strVal val="visible"/>
                                      </p:to>
                                    </p:set>
                                    <p:animEffect transition="in" filter="wipe(left)">
                                      <p:cBhvr>
                                        <p:cTn id="44" dur="500"/>
                                        <p:tgtEl>
                                          <p:spTgt spid="10"/>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wipe(left)">
                                      <p:cBhvr>
                                        <p:cTn id="47" dur="500"/>
                                        <p:tgtEl>
                                          <p:spTgt spid="11"/>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wipe(left)">
                                      <p:cBhvr>
                                        <p:cTn id="50" dur="500"/>
                                        <p:tgtEl>
                                          <p:spTgt spid="12"/>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3"/>
                                        </p:tgtEl>
                                        <p:attrNameLst>
                                          <p:attrName>style.visibility</p:attrName>
                                        </p:attrNameLst>
                                      </p:cBhvr>
                                      <p:to>
                                        <p:strVal val="visible"/>
                                      </p:to>
                                    </p:set>
                                    <p:animEffect transition="in" filter="wipe(left)">
                                      <p:cBhvr>
                                        <p:cTn id="53" dur="500"/>
                                        <p:tgtEl>
                                          <p:spTgt spid="13"/>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14"/>
                                        </p:tgtEl>
                                        <p:attrNameLst>
                                          <p:attrName>style.visibility</p:attrName>
                                        </p:attrNameLst>
                                      </p:cBhvr>
                                      <p:to>
                                        <p:strVal val="visible"/>
                                      </p:to>
                                    </p:set>
                                    <p:animEffect transition="in" filter="wipe(left)">
                                      <p:cBhvr>
                                        <p:cTn id="56" dur="500"/>
                                        <p:tgtEl>
                                          <p:spTgt spid="14"/>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wipe(left)">
                                      <p:cBhvr>
                                        <p:cTn id="59" dur="500"/>
                                        <p:tgtEl>
                                          <p:spTgt spid="15"/>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16"/>
                                        </p:tgtEl>
                                        <p:attrNameLst>
                                          <p:attrName>style.visibility</p:attrName>
                                        </p:attrNameLst>
                                      </p:cBhvr>
                                      <p:to>
                                        <p:strVal val="visible"/>
                                      </p:to>
                                    </p:set>
                                    <p:animEffect transition="in" filter="wipe(left)">
                                      <p:cBhvr>
                                        <p:cTn id="62" dur="500"/>
                                        <p:tgtEl>
                                          <p:spTgt spid="16"/>
                                        </p:tgtEl>
                                      </p:cBhvr>
                                    </p:animEffect>
                                  </p:childTnLst>
                                </p:cTn>
                              </p:par>
                              <p:par>
                                <p:cTn id="63" presetID="22" presetClass="entr" presetSubtype="8" fill="hold" nodeType="withEffect">
                                  <p:stCondLst>
                                    <p:cond delay="0"/>
                                  </p:stCondLst>
                                  <p:childTnLst>
                                    <p:set>
                                      <p:cBhvr>
                                        <p:cTn id="64" dur="1" fill="hold">
                                          <p:stCondLst>
                                            <p:cond delay="0"/>
                                          </p:stCondLst>
                                        </p:cTn>
                                        <p:tgtEl>
                                          <p:spTgt spid="23"/>
                                        </p:tgtEl>
                                        <p:attrNameLst>
                                          <p:attrName>style.visibility</p:attrName>
                                        </p:attrNameLst>
                                      </p:cBhvr>
                                      <p:to>
                                        <p:strVal val="visible"/>
                                      </p:to>
                                    </p:set>
                                    <p:animEffect transition="in" filter="wipe(left)">
                                      <p:cBhvr>
                                        <p:cTn id="65" dur="500"/>
                                        <p:tgtEl>
                                          <p:spTgt spid="23"/>
                                        </p:tgtEl>
                                      </p:cBhvr>
                                    </p:animEffect>
                                  </p:childTnLst>
                                </p:cTn>
                              </p:par>
                              <p:par>
                                <p:cTn id="66" presetID="22" presetClass="entr" presetSubtype="8" fill="hold" nodeType="withEffect">
                                  <p:stCondLst>
                                    <p:cond delay="0"/>
                                  </p:stCondLst>
                                  <p:childTnLst>
                                    <p:set>
                                      <p:cBhvr>
                                        <p:cTn id="67" dur="1" fill="hold">
                                          <p:stCondLst>
                                            <p:cond delay="0"/>
                                          </p:stCondLst>
                                        </p:cTn>
                                        <p:tgtEl>
                                          <p:spTgt spid="32"/>
                                        </p:tgtEl>
                                        <p:attrNameLst>
                                          <p:attrName>style.visibility</p:attrName>
                                        </p:attrNameLst>
                                      </p:cBhvr>
                                      <p:to>
                                        <p:strVal val="visible"/>
                                      </p:to>
                                    </p:set>
                                    <p:animEffect transition="in" filter="wipe(left)">
                                      <p:cBhvr>
                                        <p:cTn id="68" dur="500"/>
                                        <p:tgtEl>
                                          <p:spTgt spid="32"/>
                                        </p:tgtEl>
                                      </p:cBhvr>
                                    </p:animEffect>
                                  </p:childTnLst>
                                </p:cTn>
                              </p:par>
                              <p:par>
                                <p:cTn id="69" presetID="22" presetClass="entr" presetSubtype="8" fill="hold" nodeType="withEffect">
                                  <p:stCondLst>
                                    <p:cond delay="0"/>
                                  </p:stCondLst>
                                  <p:childTnLst>
                                    <p:set>
                                      <p:cBhvr>
                                        <p:cTn id="70" dur="1" fill="hold">
                                          <p:stCondLst>
                                            <p:cond delay="0"/>
                                          </p:stCondLst>
                                        </p:cTn>
                                        <p:tgtEl>
                                          <p:spTgt spid="33"/>
                                        </p:tgtEl>
                                        <p:attrNameLst>
                                          <p:attrName>style.visibility</p:attrName>
                                        </p:attrNameLst>
                                      </p:cBhvr>
                                      <p:to>
                                        <p:strVal val="visible"/>
                                      </p:to>
                                    </p:set>
                                    <p:animEffect transition="in" filter="wipe(left)">
                                      <p:cBhvr>
                                        <p:cTn id="71" dur="500"/>
                                        <p:tgtEl>
                                          <p:spTgt spid="33"/>
                                        </p:tgtEl>
                                      </p:cBhvr>
                                    </p:animEffect>
                                  </p:childTnLst>
                                </p:cTn>
                              </p:par>
                              <p:par>
                                <p:cTn id="72" presetID="22" presetClass="entr" presetSubtype="8" fill="hold" nodeType="withEffect">
                                  <p:stCondLst>
                                    <p:cond delay="0"/>
                                  </p:stCondLst>
                                  <p:childTnLst>
                                    <p:set>
                                      <p:cBhvr>
                                        <p:cTn id="73" dur="1" fill="hold">
                                          <p:stCondLst>
                                            <p:cond delay="0"/>
                                          </p:stCondLst>
                                        </p:cTn>
                                        <p:tgtEl>
                                          <p:spTgt spid="39"/>
                                        </p:tgtEl>
                                        <p:attrNameLst>
                                          <p:attrName>style.visibility</p:attrName>
                                        </p:attrNameLst>
                                      </p:cBhvr>
                                      <p:to>
                                        <p:strVal val="visible"/>
                                      </p:to>
                                    </p:set>
                                    <p:animEffect transition="in" filter="wipe(left)">
                                      <p:cBhvr>
                                        <p:cTn id="74" dur="500"/>
                                        <p:tgtEl>
                                          <p:spTgt spid="39"/>
                                        </p:tgtEl>
                                      </p:cBhvr>
                                    </p:animEffect>
                                  </p:childTnLst>
                                </p:cTn>
                              </p:par>
                              <p:par>
                                <p:cTn id="75" presetID="22" presetClass="entr" presetSubtype="8" fill="hold" nodeType="withEffect">
                                  <p:stCondLst>
                                    <p:cond delay="0"/>
                                  </p:stCondLst>
                                  <p:childTnLst>
                                    <p:set>
                                      <p:cBhvr>
                                        <p:cTn id="76" dur="1" fill="hold">
                                          <p:stCondLst>
                                            <p:cond delay="0"/>
                                          </p:stCondLst>
                                        </p:cTn>
                                        <p:tgtEl>
                                          <p:spTgt spid="50"/>
                                        </p:tgtEl>
                                        <p:attrNameLst>
                                          <p:attrName>style.visibility</p:attrName>
                                        </p:attrNameLst>
                                      </p:cBhvr>
                                      <p:to>
                                        <p:strVal val="visible"/>
                                      </p:to>
                                    </p:set>
                                    <p:animEffect transition="in" filter="wipe(left)">
                                      <p:cBhvr>
                                        <p:cTn id="77" dur="500"/>
                                        <p:tgtEl>
                                          <p:spTgt spid="50"/>
                                        </p:tgtEl>
                                      </p:cBhvr>
                                    </p:animEffect>
                                  </p:childTnLst>
                                </p:cTn>
                              </p:par>
                              <p:par>
                                <p:cTn id="78" presetID="22" presetClass="entr" presetSubtype="8" fill="hold" grpId="0" nodeType="withEffect">
                                  <p:stCondLst>
                                    <p:cond delay="0"/>
                                  </p:stCondLst>
                                  <p:childTnLst>
                                    <p:set>
                                      <p:cBhvr>
                                        <p:cTn id="79" dur="1" fill="hold">
                                          <p:stCondLst>
                                            <p:cond delay="0"/>
                                          </p:stCondLst>
                                        </p:cTn>
                                        <p:tgtEl>
                                          <p:spTgt spid="54"/>
                                        </p:tgtEl>
                                        <p:attrNameLst>
                                          <p:attrName>style.visibility</p:attrName>
                                        </p:attrNameLst>
                                      </p:cBhvr>
                                      <p:to>
                                        <p:strVal val="visible"/>
                                      </p:to>
                                    </p:set>
                                    <p:animEffect transition="in" filter="wipe(left)">
                                      <p:cBhvr>
                                        <p:cTn id="80" dur="500"/>
                                        <p:tgtEl>
                                          <p:spTgt spid="54"/>
                                        </p:tgtEl>
                                      </p:cBhvr>
                                    </p:animEffect>
                                  </p:childTnLst>
                                </p:cTn>
                              </p:par>
                              <p:par>
                                <p:cTn id="81" presetID="22" presetClass="entr" presetSubtype="8" fill="hold" grpId="0" nodeType="withEffect">
                                  <p:stCondLst>
                                    <p:cond delay="0"/>
                                  </p:stCondLst>
                                  <p:childTnLst>
                                    <p:set>
                                      <p:cBhvr>
                                        <p:cTn id="82" dur="1" fill="hold">
                                          <p:stCondLst>
                                            <p:cond delay="0"/>
                                          </p:stCondLst>
                                        </p:cTn>
                                        <p:tgtEl>
                                          <p:spTgt spid="55"/>
                                        </p:tgtEl>
                                        <p:attrNameLst>
                                          <p:attrName>style.visibility</p:attrName>
                                        </p:attrNameLst>
                                      </p:cBhvr>
                                      <p:to>
                                        <p:strVal val="visible"/>
                                      </p:to>
                                    </p:set>
                                    <p:animEffect transition="in" filter="wipe(left)">
                                      <p:cBhvr>
                                        <p:cTn id="83" dur="500"/>
                                        <p:tgtEl>
                                          <p:spTgt spid="55"/>
                                        </p:tgtEl>
                                      </p:cBhvr>
                                    </p:animEffect>
                                  </p:childTnLst>
                                </p:cTn>
                              </p:par>
                              <p:par>
                                <p:cTn id="84" presetID="22" presetClass="entr" presetSubtype="8" fill="hold" grpId="0" nodeType="withEffect">
                                  <p:stCondLst>
                                    <p:cond delay="0"/>
                                  </p:stCondLst>
                                  <p:childTnLst>
                                    <p:set>
                                      <p:cBhvr>
                                        <p:cTn id="85" dur="1" fill="hold">
                                          <p:stCondLst>
                                            <p:cond delay="0"/>
                                          </p:stCondLst>
                                        </p:cTn>
                                        <p:tgtEl>
                                          <p:spTgt spid="56"/>
                                        </p:tgtEl>
                                        <p:attrNameLst>
                                          <p:attrName>style.visibility</p:attrName>
                                        </p:attrNameLst>
                                      </p:cBhvr>
                                      <p:to>
                                        <p:strVal val="visible"/>
                                      </p:to>
                                    </p:set>
                                    <p:animEffect transition="in" filter="wipe(left)">
                                      <p:cBhvr>
                                        <p:cTn id="86" dur="500"/>
                                        <p:tgtEl>
                                          <p:spTgt spid="56"/>
                                        </p:tgtEl>
                                      </p:cBhvr>
                                    </p:animEffect>
                                  </p:childTnLst>
                                </p:cTn>
                              </p:par>
                              <p:par>
                                <p:cTn id="87" presetID="22" presetClass="entr" presetSubtype="8" fill="hold" grpId="0" nodeType="withEffect">
                                  <p:stCondLst>
                                    <p:cond delay="0"/>
                                  </p:stCondLst>
                                  <p:childTnLst>
                                    <p:set>
                                      <p:cBhvr>
                                        <p:cTn id="88" dur="1" fill="hold">
                                          <p:stCondLst>
                                            <p:cond delay="0"/>
                                          </p:stCondLst>
                                        </p:cTn>
                                        <p:tgtEl>
                                          <p:spTgt spid="57"/>
                                        </p:tgtEl>
                                        <p:attrNameLst>
                                          <p:attrName>style.visibility</p:attrName>
                                        </p:attrNameLst>
                                      </p:cBhvr>
                                      <p:to>
                                        <p:strVal val="visible"/>
                                      </p:to>
                                    </p:set>
                                    <p:animEffect transition="in" filter="wipe(left)">
                                      <p:cBhvr>
                                        <p:cTn id="89" dur="500"/>
                                        <p:tgtEl>
                                          <p:spTgt spid="57"/>
                                        </p:tgtEl>
                                      </p:cBhvr>
                                    </p:animEffect>
                                  </p:childTnLst>
                                </p:cTn>
                              </p:par>
                              <p:par>
                                <p:cTn id="90" presetID="22" presetClass="entr" presetSubtype="8" fill="hold" grpId="0" nodeType="withEffect">
                                  <p:stCondLst>
                                    <p:cond delay="0"/>
                                  </p:stCondLst>
                                  <p:childTnLst>
                                    <p:set>
                                      <p:cBhvr>
                                        <p:cTn id="91" dur="1" fill="hold">
                                          <p:stCondLst>
                                            <p:cond delay="0"/>
                                          </p:stCondLst>
                                        </p:cTn>
                                        <p:tgtEl>
                                          <p:spTgt spid="58"/>
                                        </p:tgtEl>
                                        <p:attrNameLst>
                                          <p:attrName>style.visibility</p:attrName>
                                        </p:attrNameLst>
                                      </p:cBhvr>
                                      <p:to>
                                        <p:strVal val="visible"/>
                                      </p:to>
                                    </p:set>
                                    <p:animEffect transition="in" filter="wipe(left)">
                                      <p:cBhvr>
                                        <p:cTn id="92" dur="500"/>
                                        <p:tgtEl>
                                          <p:spTgt spid="58"/>
                                        </p:tgtEl>
                                      </p:cBhvr>
                                    </p:animEffect>
                                  </p:childTnLst>
                                </p:cTn>
                              </p:par>
                              <p:par>
                                <p:cTn id="93" presetID="22" presetClass="entr" presetSubtype="8" fill="hold" grpId="0" nodeType="withEffect">
                                  <p:stCondLst>
                                    <p:cond delay="0"/>
                                  </p:stCondLst>
                                  <p:childTnLst>
                                    <p:set>
                                      <p:cBhvr>
                                        <p:cTn id="94" dur="1" fill="hold">
                                          <p:stCondLst>
                                            <p:cond delay="0"/>
                                          </p:stCondLst>
                                        </p:cTn>
                                        <p:tgtEl>
                                          <p:spTgt spid="60"/>
                                        </p:tgtEl>
                                        <p:attrNameLst>
                                          <p:attrName>style.visibility</p:attrName>
                                        </p:attrNameLst>
                                      </p:cBhvr>
                                      <p:to>
                                        <p:strVal val="visible"/>
                                      </p:to>
                                    </p:set>
                                    <p:animEffect transition="in" filter="wipe(left)">
                                      <p:cBhvr>
                                        <p:cTn id="95" dur="500"/>
                                        <p:tgtEl>
                                          <p:spTgt spid="60"/>
                                        </p:tgtEl>
                                      </p:cBhvr>
                                    </p:animEffect>
                                  </p:childTnLst>
                                </p:cTn>
                              </p:par>
                              <p:par>
                                <p:cTn id="96" presetID="22" presetClass="entr" presetSubtype="8" fill="hold" grpId="0" nodeType="withEffect">
                                  <p:stCondLst>
                                    <p:cond delay="0"/>
                                  </p:stCondLst>
                                  <p:childTnLst>
                                    <p:set>
                                      <p:cBhvr>
                                        <p:cTn id="97" dur="1" fill="hold">
                                          <p:stCondLst>
                                            <p:cond delay="0"/>
                                          </p:stCondLst>
                                        </p:cTn>
                                        <p:tgtEl>
                                          <p:spTgt spid="61"/>
                                        </p:tgtEl>
                                        <p:attrNameLst>
                                          <p:attrName>style.visibility</p:attrName>
                                        </p:attrNameLst>
                                      </p:cBhvr>
                                      <p:to>
                                        <p:strVal val="visible"/>
                                      </p:to>
                                    </p:set>
                                    <p:animEffect transition="in" filter="wipe(left)">
                                      <p:cBhvr>
                                        <p:cTn id="98" dur="500"/>
                                        <p:tgtEl>
                                          <p:spTgt spid="61"/>
                                        </p:tgtEl>
                                      </p:cBhvr>
                                    </p:animEffect>
                                  </p:childTnLst>
                                </p:cTn>
                              </p:par>
                              <p:par>
                                <p:cTn id="99" presetID="22" presetClass="entr" presetSubtype="8" fill="hold" grpId="0" nodeType="withEffect">
                                  <p:stCondLst>
                                    <p:cond delay="0"/>
                                  </p:stCondLst>
                                  <p:childTnLst>
                                    <p:set>
                                      <p:cBhvr>
                                        <p:cTn id="100" dur="1" fill="hold">
                                          <p:stCondLst>
                                            <p:cond delay="0"/>
                                          </p:stCondLst>
                                        </p:cTn>
                                        <p:tgtEl>
                                          <p:spTgt spid="62"/>
                                        </p:tgtEl>
                                        <p:attrNameLst>
                                          <p:attrName>style.visibility</p:attrName>
                                        </p:attrNameLst>
                                      </p:cBhvr>
                                      <p:to>
                                        <p:strVal val="visible"/>
                                      </p:to>
                                    </p:set>
                                    <p:animEffect transition="in" filter="wipe(left)">
                                      <p:cBhvr>
                                        <p:cTn id="101"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54" grpId="0"/>
      <p:bldP spid="55" grpId="0"/>
      <p:bldP spid="56" grpId="0"/>
      <p:bldP spid="57" grpId="0"/>
      <p:bldP spid="58" grpId="0" animBg="1"/>
      <p:bldP spid="60" grpId="0" animBg="1"/>
      <p:bldP spid="61" grpId="0" animBg="1"/>
      <p:bldP spid="6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2" descr="I:\PPT素材\图片素材\百张low poly 高清背景图\62.jpg"/>
          <p:cNvPicPr>
            <a:picLocks noChangeAspect="1" noChangeArrowheads="1"/>
          </p:cNvPicPr>
          <p:nvPr/>
        </p:nvPicPr>
        <p:blipFill rotWithShape="1">
          <a:blip r:embed="rId2">
            <a:extLst>
              <a:ext uri="{28A0092B-C50C-407E-A947-70E740481C1C}">
                <a14:useLocalDpi xmlns:a14="http://schemas.microsoft.com/office/drawing/2010/main" val="0"/>
              </a:ext>
            </a:extLst>
          </a:blip>
          <a:srcRect l="10527" t="45640" r="11894" b="45453"/>
          <a:stretch>
            <a:fillRect/>
          </a:stretch>
        </p:blipFill>
        <p:spPr bwMode="auto">
          <a:xfrm>
            <a:off x="0" y="0"/>
            <a:ext cx="9144000" cy="933242"/>
          </a:xfrm>
          <a:prstGeom prst="parallelogram">
            <a:avLst>
              <a:gd name="adj" fmla="val 0"/>
            </a:avLst>
          </a:prstGeom>
          <a:noFill/>
          <a:extLst>
            <a:ext uri="{909E8E84-426E-40DD-AFC4-6F175D3DCCD1}">
              <a14:hiddenFill xmlns:a14="http://schemas.microsoft.com/office/drawing/2010/main">
                <a:solidFill>
                  <a:srgbClr val="FFFFFF"/>
                </a:solidFill>
              </a14:hiddenFill>
            </a:ext>
          </a:extLst>
        </p:spPr>
      </p:pic>
      <p:sp>
        <p:nvSpPr>
          <p:cNvPr id="44" name="TextBox 43"/>
          <p:cNvSpPr txBox="1"/>
          <p:nvPr/>
        </p:nvSpPr>
        <p:spPr>
          <a:xfrm>
            <a:off x="2234501" y="175390"/>
            <a:ext cx="3998242" cy="584775"/>
          </a:xfrm>
          <a:prstGeom prst="rect">
            <a:avLst/>
          </a:prstGeom>
          <a:noFill/>
        </p:spPr>
        <p:txBody>
          <a:bodyPr wrap="square" rtlCol="0">
            <a:spAutoFit/>
          </a:bodyPr>
          <a:lstStyle/>
          <a:p>
            <a:pPr algn="ctr"/>
            <a:r>
              <a:rPr lang="en-US" altLang="zh-CN" sz="3200" b="1" dirty="0">
                <a:solidFill>
                  <a:schemeClr val="bg1"/>
                </a:solidFill>
                <a:latin typeface="Adobe Gothic Std B" pitchFamily="34" charset="-128"/>
                <a:ea typeface="Adobe Gothic Std B" pitchFamily="34" charset="-128"/>
              </a:rPr>
              <a:t>ADD YOUR TEXT</a:t>
            </a:r>
            <a:endParaRPr lang="zh-CN" altLang="en-US" sz="3200" b="1" dirty="0">
              <a:solidFill>
                <a:schemeClr val="bg1"/>
              </a:solidFill>
              <a:latin typeface="Adobe Gothic Std B" pitchFamily="34" charset="-128"/>
            </a:endParaRPr>
          </a:p>
        </p:txBody>
      </p:sp>
      <p:sp>
        <p:nvSpPr>
          <p:cNvPr id="45" name="TextBox 44"/>
          <p:cNvSpPr txBox="1"/>
          <p:nvPr/>
        </p:nvSpPr>
        <p:spPr>
          <a:xfrm>
            <a:off x="572408" y="1864739"/>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sp>
        <p:nvSpPr>
          <p:cNvPr id="46" name="TextBox 45"/>
          <p:cNvSpPr txBox="1"/>
          <p:nvPr/>
        </p:nvSpPr>
        <p:spPr>
          <a:xfrm>
            <a:off x="620778" y="3439139"/>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sp>
        <p:nvSpPr>
          <p:cNvPr id="47" name="TextBox 46"/>
          <p:cNvSpPr txBox="1"/>
          <p:nvPr/>
        </p:nvSpPr>
        <p:spPr>
          <a:xfrm>
            <a:off x="5746511" y="1763979"/>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sp>
        <p:nvSpPr>
          <p:cNvPr id="48" name="TextBox 47"/>
          <p:cNvSpPr txBox="1"/>
          <p:nvPr/>
        </p:nvSpPr>
        <p:spPr>
          <a:xfrm>
            <a:off x="6232743" y="3481206"/>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grpSp>
        <p:nvGrpSpPr>
          <p:cNvPr id="2" name="组合 1"/>
          <p:cNvGrpSpPr/>
          <p:nvPr/>
        </p:nvGrpSpPr>
        <p:grpSpPr>
          <a:xfrm>
            <a:off x="1700898" y="1419622"/>
            <a:ext cx="4765842" cy="3154939"/>
            <a:chOff x="1700898" y="1419622"/>
            <a:chExt cx="4765842" cy="3154939"/>
          </a:xfrm>
        </p:grpSpPr>
        <p:sp>
          <p:nvSpPr>
            <p:cNvPr id="8" name="Freeform 8"/>
            <p:cNvSpPr/>
            <p:nvPr/>
          </p:nvSpPr>
          <p:spPr bwMode="auto">
            <a:xfrm>
              <a:off x="4046001" y="3444802"/>
              <a:ext cx="750487" cy="686954"/>
            </a:xfrm>
            <a:custGeom>
              <a:avLst/>
              <a:gdLst>
                <a:gd name="T0" fmla="*/ 442 w 756"/>
                <a:gd name="T1" fmla="*/ 692 h 692"/>
                <a:gd name="T2" fmla="*/ 0 w 756"/>
                <a:gd name="T3" fmla="*/ 378 h 692"/>
                <a:gd name="T4" fmla="*/ 314 w 756"/>
                <a:gd name="T5" fmla="*/ 0 h 692"/>
                <a:gd name="T6" fmla="*/ 756 w 756"/>
                <a:gd name="T7" fmla="*/ 125 h 692"/>
                <a:gd name="T8" fmla="*/ 442 w 756"/>
                <a:gd name="T9" fmla="*/ 692 h 692"/>
              </a:gdLst>
              <a:ahLst/>
              <a:cxnLst>
                <a:cxn ang="0">
                  <a:pos x="T0" y="T1"/>
                </a:cxn>
                <a:cxn ang="0">
                  <a:pos x="T2" y="T3"/>
                </a:cxn>
                <a:cxn ang="0">
                  <a:pos x="T4" y="T5"/>
                </a:cxn>
                <a:cxn ang="0">
                  <a:pos x="T6" y="T7"/>
                </a:cxn>
                <a:cxn ang="0">
                  <a:pos x="T8" y="T9"/>
                </a:cxn>
              </a:cxnLst>
              <a:rect l="0" t="0" r="r" b="b"/>
              <a:pathLst>
                <a:path w="756" h="692">
                  <a:moveTo>
                    <a:pt x="442" y="692"/>
                  </a:moveTo>
                  <a:lnTo>
                    <a:pt x="0" y="378"/>
                  </a:lnTo>
                  <a:lnTo>
                    <a:pt x="314" y="0"/>
                  </a:lnTo>
                  <a:lnTo>
                    <a:pt x="756" y="125"/>
                  </a:lnTo>
                  <a:lnTo>
                    <a:pt x="442" y="692"/>
                  </a:lnTo>
                  <a:close/>
                </a:path>
              </a:pathLst>
            </a:custGeom>
            <a:solidFill>
              <a:srgbClr val="800080"/>
            </a:solidFill>
            <a:ln>
              <a:noFill/>
            </a:ln>
          </p:spPr>
          <p:txBody>
            <a:bodyPr vert="horz" wrap="square" lIns="91440" tIns="45720" rIns="91440" bIns="45720" numCol="1" anchor="t" anchorCtr="0" compatLnSpc="1"/>
            <a:lstStyle/>
            <a:p>
              <a:endParaRPr lang="zh-CN" altLang="en-US"/>
            </a:p>
          </p:txBody>
        </p:sp>
        <p:sp>
          <p:nvSpPr>
            <p:cNvPr id="9" name="Freeform 9"/>
            <p:cNvSpPr/>
            <p:nvPr/>
          </p:nvSpPr>
          <p:spPr bwMode="auto">
            <a:xfrm>
              <a:off x="4357711" y="3193647"/>
              <a:ext cx="750487" cy="375244"/>
            </a:xfrm>
            <a:custGeom>
              <a:avLst/>
              <a:gdLst>
                <a:gd name="T0" fmla="*/ 317 w 756"/>
                <a:gd name="T1" fmla="*/ 0 h 378"/>
                <a:gd name="T2" fmla="*/ 756 w 756"/>
                <a:gd name="T3" fmla="*/ 189 h 378"/>
                <a:gd name="T4" fmla="*/ 442 w 756"/>
                <a:gd name="T5" fmla="*/ 378 h 378"/>
                <a:gd name="T6" fmla="*/ 0 w 756"/>
                <a:gd name="T7" fmla="*/ 253 h 378"/>
                <a:gd name="T8" fmla="*/ 317 w 756"/>
                <a:gd name="T9" fmla="*/ 0 h 378"/>
              </a:gdLst>
              <a:ahLst/>
              <a:cxnLst>
                <a:cxn ang="0">
                  <a:pos x="T0" y="T1"/>
                </a:cxn>
                <a:cxn ang="0">
                  <a:pos x="T2" y="T3"/>
                </a:cxn>
                <a:cxn ang="0">
                  <a:pos x="T4" y="T5"/>
                </a:cxn>
                <a:cxn ang="0">
                  <a:pos x="T6" y="T7"/>
                </a:cxn>
                <a:cxn ang="0">
                  <a:pos x="T8" y="T9"/>
                </a:cxn>
              </a:cxnLst>
              <a:rect l="0" t="0" r="r" b="b"/>
              <a:pathLst>
                <a:path w="756" h="378">
                  <a:moveTo>
                    <a:pt x="317" y="0"/>
                  </a:moveTo>
                  <a:lnTo>
                    <a:pt x="756" y="189"/>
                  </a:lnTo>
                  <a:lnTo>
                    <a:pt x="442" y="378"/>
                  </a:lnTo>
                  <a:lnTo>
                    <a:pt x="0" y="253"/>
                  </a:lnTo>
                  <a:lnTo>
                    <a:pt x="317" y="0"/>
                  </a:lnTo>
                  <a:close/>
                </a:path>
              </a:pathLst>
            </a:custGeom>
            <a:solidFill>
              <a:srgbClr val="CC0099"/>
            </a:solidFill>
            <a:ln>
              <a:noFill/>
            </a:ln>
          </p:spPr>
          <p:txBody>
            <a:bodyPr vert="horz" wrap="square" lIns="91440" tIns="45720" rIns="91440" bIns="45720" numCol="1" anchor="t" anchorCtr="0" compatLnSpc="1"/>
            <a:lstStyle/>
            <a:p>
              <a:endParaRPr lang="zh-CN" altLang="en-US"/>
            </a:p>
          </p:txBody>
        </p:sp>
        <p:sp>
          <p:nvSpPr>
            <p:cNvPr id="10" name="Freeform 10"/>
            <p:cNvSpPr/>
            <p:nvPr/>
          </p:nvSpPr>
          <p:spPr bwMode="auto">
            <a:xfrm>
              <a:off x="4672399" y="2818403"/>
              <a:ext cx="750487" cy="562865"/>
            </a:xfrm>
            <a:custGeom>
              <a:avLst/>
              <a:gdLst>
                <a:gd name="T0" fmla="*/ 314 w 756"/>
                <a:gd name="T1" fmla="*/ 0 h 567"/>
                <a:gd name="T2" fmla="*/ 0 w 756"/>
                <a:gd name="T3" fmla="*/ 378 h 567"/>
                <a:gd name="T4" fmla="*/ 439 w 756"/>
                <a:gd name="T5" fmla="*/ 567 h 567"/>
                <a:gd name="T6" fmla="*/ 756 w 756"/>
                <a:gd name="T7" fmla="*/ 64 h 567"/>
                <a:gd name="T8" fmla="*/ 314 w 756"/>
                <a:gd name="T9" fmla="*/ 0 h 567"/>
              </a:gdLst>
              <a:ahLst/>
              <a:cxnLst>
                <a:cxn ang="0">
                  <a:pos x="T0" y="T1"/>
                </a:cxn>
                <a:cxn ang="0">
                  <a:pos x="T2" y="T3"/>
                </a:cxn>
                <a:cxn ang="0">
                  <a:pos x="T4" y="T5"/>
                </a:cxn>
                <a:cxn ang="0">
                  <a:pos x="T6" y="T7"/>
                </a:cxn>
                <a:cxn ang="0">
                  <a:pos x="T8" y="T9"/>
                </a:cxn>
              </a:cxnLst>
              <a:rect l="0" t="0" r="r" b="b"/>
              <a:pathLst>
                <a:path w="756" h="567">
                  <a:moveTo>
                    <a:pt x="314" y="0"/>
                  </a:moveTo>
                  <a:lnTo>
                    <a:pt x="0" y="378"/>
                  </a:lnTo>
                  <a:lnTo>
                    <a:pt x="439" y="567"/>
                  </a:lnTo>
                  <a:lnTo>
                    <a:pt x="756" y="64"/>
                  </a:lnTo>
                  <a:lnTo>
                    <a:pt x="314" y="0"/>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11" name="Freeform 11"/>
            <p:cNvSpPr/>
            <p:nvPr/>
          </p:nvSpPr>
          <p:spPr bwMode="auto">
            <a:xfrm>
              <a:off x="4984110" y="2694315"/>
              <a:ext cx="750487" cy="187622"/>
            </a:xfrm>
            <a:custGeom>
              <a:avLst/>
              <a:gdLst>
                <a:gd name="T0" fmla="*/ 314 w 756"/>
                <a:gd name="T1" fmla="*/ 0 h 189"/>
                <a:gd name="T2" fmla="*/ 756 w 756"/>
                <a:gd name="T3" fmla="*/ 64 h 189"/>
                <a:gd name="T4" fmla="*/ 442 w 756"/>
                <a:gd name="T5" fmla="*/ 189 h 189"/>
                <a:gd name="T6" fmla="*/ 0 w 756"/>
                <a:gd name="T7" fmla="*/ 125 h 189"/>
                <a:gd name="T8" fmla="*/ 314 w 756"/>
                <a:gd name="T9" fmla="*/ 0 h 189"/>
              </a:gdLst>
              <a:ahLst/>
              <a:cxnLst>
                <a:cxn ang="0">
                  <a:pos x="T0" y="T1"/>
                </a:cxn>
                <a:cxn ang="0">
                  <a:pos x="T2" y="T3"/>
                </a:cxn>
                <a:cxn ang="0">
                  <a:pos x="T4" y="T5"/>
                </a:cxn>
                <a:cxn ang="0">
                  <a:pos x="T6" y="T7"/>
                </a:cxn>
                <a:cxn ang="0">
                  <a:pos x="T8" y="T9"/>
                </a:cxn>
              </a:cxnLst>
              <a:rect l="0" t="0" r="r" b="b"/>
              <a:pathLst>
                <a:path w="756" h="189">
                  <a:moveTo>
                    <a:pt x="314" y="0"/>
                  </a:moveTo>
                  <a:lnTo>
                    <a:pt x="756" y="64"/>
                  </a:lnTo>
                  <a:lnTo>
                    <a:pt x="442" y="189"/>
                  </a:lnTo>
                  <a:lnTo>
                    <a:pt x="0" y="125"/>
                  </a:lnTo>
                  <a:lnTo>
                    <a:pt x="314" y="0"/>
                  </a:lnTo>
                  <a:close/>
                </a:path>
              </a:pathLst>
            </a:custGeom>
            <a:solidFill>
              <a:srgbClr val="CC0099"/>
            </a:solidFill>
            <a:ln>
              <a:noFill/>
            </a:ln>
          </p:spPr>
          <p:txBody>
            <a:bodyPr vert="horz" wrap="square" lIns="91440" tIns="45720" rIns="91440" bIns="45720" numCol="1" anchor="t" anchorCtr="0" compatLnSpc="1"/>
            <a:lstStyle/>
            <a:p>
              <a:endParaRPr lang="zh-CN" altLang="en-US"/>
            </a:p>
          </p:txBody>
        </p:sp>
        <p:sp>
          <p:nvSpPr>
            <p:cNvPr id="12" name="Freeform 12"/>
            <p:cNvSpPr/>
            <p:nvPr/>
          </p:nvSpPr>
          <p:spPr bwMode="auto">
            <a:xfrm>
              <a:off x="4545333" y="2256530"/>
              <a:ext cx="750487" cy="561873"/>
            </a:xfrm>
            <a:custGeom>
              <a:avLst/>
              <a:gdLst>
                <a:gd name="T0" fmla="*/ 317 w 756"/>
                <a:gd name="T1" fmla="*/ 0 h 566"/>
                <a:gd name="T2" fmla="*/ 0 w 756"/>
                <a:gd name="T3" fmla="*/ 377 h 566"/>
                <a:gd name="T4" fmla="*/ 442 w 756"/>
                <a:gd name="T5" fmla="*/ 566 h 566"/>
                <a:gd name="T6" fmla="*/ 756 w 756"/>
                <a:gd name="T7" fmla="*/ 441 h 566"/>
                <a:gd name="T8" fmla="*/ 317 w 756"/>
                <a:gd name="T9" fmla="*/ 0 h 566"/>
              </a:gdLst>
              <a:ahLst/>
              <a:cxnLst>
                <a:cxn ang="0">
                  <a:pos x="T0" y="T1"/>
                </a:cxn>
                <a:cxn ang="0">
                  <a:pos x="T2" y="T3"/>
                </a:cxn>
                <a:cxn ang="0">
                  <a:pos x="T4" y="T5"/>
                </a:cxn>
                <a:cxn ang="0">
                  <a:pos x="T6" y="T7"/>
                </a:cxn>
                <a:cxn ang="0">
                  <a:pos x="T8" y="T9"/>
                </a:cxn>
              </a:cxnLst>
              <a:rect l="0" t="0" r="r" b="b"/>
              <a:pathLst>
                <a:path w="756" h="566">
                  <a:moveTo>
                    <a:pt x="317" y="0"/>
                  </a:moveTo>
                  <a:lnTo>
                    <a:pt x="0" y="377"/>
                  </a:lnTo>
                  <a:lnTo>
                    <a:pt x="442" y="566"/>
                  </a:lnTo>
                  <a:lnTo>
                    <a:pt x="756" y="441"/>
                  </a:lnTo>
                  <a:lnTo>
                    <a:pt x="317" y="0"/>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13" name="Freeform 13"/>
            <p:cNvSpPr/>
            <p:nvPr/>
          </p:nvSpPr>
          <p:spPr bwMode="auto">
            <a:xfrm>
              <a:off x="4233622" y="2630782"/>
              <a:ext cx="750487" cy="562865"/>
            </a:xfrm>
            <a:custGeom>
              <a:avLst/>
              <a:gdLst>
                <a:gd name="T0" fmla="*/ 0 w 756"/>
                <a:gd name="T1" fmla="*/ 378 h 567"/>
                <a:gd name="T2" fmla="*/ 442 w 756"/>
                <a:gd name="T3" fmla="*/ 567 h 567"/>
                <a:gd name="T4" fmla="*/ 756 w 756"/>
                <a:gd name="T5" fmla="*/ 189 h 567"/>
                <a:gd name="T6" fmla="*/ 314 w 756"/>
                <a:gd name="T7" fmla="*/ 0 h 567"/>
                <a:gd name="T8" fmla="*/ 0 w 756"/>
                <a:gd name="T9" fmla="*/ 378 h 567"/>
              </a:gdLst>
              <a:ahLst/>
              <a:cxnLst>
                <a:cxn ang="0">
                  <a:pos x="T0" y="T1"/>
                </a:cxn>
                <a:cxn ang="0">
                  <a:pos x="T2" y="T3"/>
                </a:cxn>
                <a:cxn ang="0">
                  <a:pos x="T4" y="T5"/>
                </a:cxn>
                <a:cxn ang="0">
                  <a:pos x="T6" y="T7"/>
                </a:cxn>
                <a:cxn ang="0">
                  <a:pos x="T8" y="T9"/>
                </a:cxn>
              </a:cxnLst>
              <a:rect l="0" t="0" r="r" b="b"/>
              <a:pathLst>
                <a:path w="756" h="567">
                  <a:moveTo>
                    <a:pt x="0" y="378"/>
                  </a:moveTo>
                  <a:lnTo>
                    <a:pt x="442" y="567"/>
                  </a:lnTo>
                  <a:lnTo>
                    <a:pt x="756" y="189"/>
                  </a:lnTo>
                  <a:lnTo>
                    <a:pt x="314" y="0"/>
                  </a:lnTo>
                  <a:lnTo>
                    <a:pt x="0" y="378"/>
                  </a:lnTo>
                  <a:close/>
                </a:path>
              </a:pathLst>
            </a:custGeom>
            <a:solidFill>
              <a:srgbClr val="800080"/>
            </a:solidFill>
            <a:ln>
              <a:noFill/>
            </a:ln>
          </p:spPr>
          <p:txBody>
            <a:bodyPr vert="horz" wrap="square" lIns="91440" tIns="45720" rIns="91440" bIns="45720" numCol="1" anchor="t" anchorCtr="0" compatLnSpc="1"/>
            <a:lstStyle/>
            <a:p>
              <a:endParaRPr lang="zh-CN" altLang="en-US"/>
            </a:p>
          </p:txBody>
        </p:sp>
        <p:sp>
          <p:nvSpPr>
            <p:cNvPr id="14" name="Freeform 14"/>
            <p:cNvSpPr/>
            <p:nvPr/>
          </p:nvSpPr>
          <p:spPr bwMode="auto">
            <a:xfrm>
              <a:off x="3921912" y="3006026"/>
              <a:ext cx="750487" cy="438777"/>
            </a:xfrm>
            <a:custGeom>
              <a:avLst/>
              <a:gdLst>
                <a:gd name="T0" fmla="*/ 0 w 756"/>
                <a:gd name="T1" fmla="*/ 253 h 442"/>
                <a:gd name="T2" fmla="*/ 439 w 756"/>
                <a:gd name="T3" fmla="*/ 442 h 442"/>
                <a:gd name="T4" fmla="*/ 756 w 756"/>
                <a:gd name="T5" fmla="*/ 189 h 442"/>
                <a:gd name="T6" fmla="*/ 314 w 756"/>
                <a:gd name="T7" fmla="*/ 0 h 442"/>
                <a:gd name="T8" fmla="*/ 0 w 756"/>
                <a:gd name="T9" fmla="*/ 253 h 442"/>
              </a:gdLst>
              <a:ahLst/>
              <a:cxnLst>
                <a:cxn ang="0">
                  <a:pos x="T0" y="T1"/>
                </a:cxn>
                <a:cxn ang="0">
                  <a:pos x="T2" y="T3"/>
                </a:cxn>
                <a:cxn ang="0">
                  <a:pos x="T4" y="T5"/>
                </a:cxn>
                <a:cxn ang="0">
                  <a:pos x="T6" y="T7"/>
                </a:cxn>
                <a:cxn ang="0">
                  <a:pos x="T8" y="T9"/>
                </a:cxn>
              </a:cxnLst>
              <a:rect l="0" t="0" r="r" b="b"/>
              <a:pathLst>
                <a:path w="756" h="442">
                  <a:moveTo>
                    <a:pt x="0" y="253"/>
                  </a:moveTo>
                  <a:lnTo>
                    <a:pt x="439" y="442"/>
                  </a:lnTo>
                  <a:lnTo>
                    <a:pt x="756" y="189"/>
                  </a:lnTo>
                  <a:lnTo>
                    <a:pt x="314" y="0"/>
                  </a:lnTo>
                  <a:lnTo>
                    <a:pt x="0" y="253"/>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15" name="Freeform 15"/>
            <p:cNvSpPr/>
            <p:nvPr/>
          </p:nvSpPr>
          <p:spPr bwMode="auto">
            <a:xfrm>
              <a:off x="3607224" y="3257181"/>
              <a:ext cx="750487" cy="562865"/>
            </a:xfrm>
            <a:custGeom>
              <a:avLst/>
              <a:gdLst>
                <a:gd name="T0" fmla="*/ 0 w 756"/>
                <a:gd name="T1" fmla="*/ 503 h 567"/>
                <a:gd name="T2" fmla="*/ 442 w 756"/>
                <a:gd name="T3" fmla="*/ 567 h 567"/>
                <a:gd name="T4" fmla="*/ 756 w 756"/>
                <a:gd name="T5" fmla="*/ 189 h 567"/>
                <a:gd name="T6" fmla="*/ 317 w 756"/>
                <a:gd name="T7" fmla="*/ 0 h 567"/>
                <a:gd name="T8" fmla="*/ 0 w 756"/>
                <a:gd name="T9" fmla="*/ 503 h 567"/>
              </a:gdLst>
              <a:ahLst/>
              <a:cxnLst>
                <a:cxn ang="0">
                  <a:pos x="T0" y="T1"/>
                </a:cxn>
                <a:cxn ang="0">
                  <a:pos x="T2" y="T3"/>
                </a:cxn>
                <a:cxn ang="0">
                  <a:pos x="T4" y="T5"/>
                </a:cxn>
                <a:cxn ang="0">
                  <a:pos x="T6" y="T7"/>
                </a:cxn>
                <a:cxn ang="0">
                  <a:pos x="T8" y="T9"/>
                </a:cxn>
              </a:cxnLst>
              <a:rect l="0" t="0" r="r" b="b"/>
              <a:pathLst>
                <a:path w="756" h="567">
                  <a:moveTo>
                    <a:pt x="0" y="503"/>
                  </a:moveTo>
                  <a:lnTo>
                    <a:pt x="442" y="567"/>
                  </a:lnTo>
                  <a:lnTo>
                    <a:pt x="756" y="189"/>
                  </a:lnTo>
                  <a:lnTo>
                    <a:pt x="317" y="0"/>
                  </a:lnTo>
                  <a:lnTo>
                    <a:pt x="0" y="503"/>
                  </a:lnTo>
                  <a:close/>
                </a:path>
              </a:pathLst>
            </a:custGeom>
            <a:solidFill>
              <a:srgbClr val="CC0099"/>
            </a:solidFill>
            <a:ln>
              <a:noFill/>
            </a:ln>
          </p:spPr>
          <p:txBody>
            <a:bodyPr vert="horz" wrap="square" lIns="91440" tIns="45720" rIns="91440" bIns="45720" numCol="1" anchor="t" anchorCtr="0" compatLnSpc="1"/>
            <a:lstStyle/>
            <a:p>
              <a:endParaRPr lang="zh-CN" altLang="en-US"/>
            </a:p>
          </p:txBody>
        </p:sp>
        <p:sp>
          <p:nvSpPr>
            <p:cNvPr id="16" name="Freeform 16"/>
            <p:cNvSpPr/>
            <p:nvPr/>
          </p:nvSpPr>
          <p:spPr bwMode="auto">
            <a:xfrm>
              <a:off x="3171425" y="2881936"/>
              <a:ext cx="750487" cy="874576"/>
            </a:xfrm>
            <a:custGeom>
              <a:avLst/>
              <a:gdLst>
                <a:gd name="T0" fmla="*/ 0 w 756"/>
                <a:gd name="T1" fmla="*/ 503 h 881"/>
                <a:gd name="T2" fmla="*/ 439 w 756"/>
                <a:gd name="T3" fmla="*/ 881 h 881"/>
                <a:gd name="T4" fmla="*/ 756 w 756"/>
                <a:gd name="T5" fmla="*/ 378 h 881"/>
                <a:gd name="T6" fmla="*/ 314 w 756"/>
                <a:gd name="T7" fmla="*/ 0 h 881"/>
                <a:gd name="T8" fmla="*/ 0 w 756"/>
                <a:gd name="T9" fmla="*/ 503 h 881"/>
              </a:gdLst>
              <a:ahLst/>
              <a:cxnLst>
                <a:cxn ang="0">
                  <a:pos x="T0" y="T1"/>
                </a:cxn>
                <a:cxn ang="0">
                  <a:pos x="T2" y="T3"/>
                </a:cxn>
                <a:cxn ang="0">
                  <a:pos x="T4" y="T5"/>
                </a:cxn>
                <a:cxn ang="0">
                  <a:pos x="T6" y="T7"/>
                </a:cxn>
                <a:cxn ang="0">
                  <a:pos x="T8" y="T9"/>
                </a:cxn>
              </a:cxnLst>
              <a:rect l="0" t="0" r="r" b="b"/>
              <a:pathLst>
                <a:path w="756" h="881">
                  <a:moveTo>
                    <a:pt x="0" y="503"/>
                  </a:moveTo>
                  <a:lnTo>
                    <a:pt x="439" y="881"/>
                  </a:lnTo>
                  <a:lnTo>
                    <a:pt x="756" y="378"/>
                  </a:lnTo>
                  <a:lnTo>
                    <a:pt x="314" y="0"/>
                  </a:lnTo>
                  <a:lnTo>
                    <a:pt x="0" y="503"/>
                  </a:lnTo>
                  <a:close/>
                </a:path>
              </a:pathLst>
            </a:custGeom>
            <a:solidFill>
              <a:srgbClr val="800080"/>
            </a:solidFill>
            <a:ln>
              <a:noFill/>
            </a:ln>
          </p:spPr>
          <p:txBody>
            <a:bodyPr vert="horz" wrap="square" lIns="91440" tIns="45720" rIns="91440" bIns="45720" numCol="1" anchor="t" anchorCtr="0" compatLnSpc="1"/>
            <a:lstStyle/>
            <a:p>
              <a:endParaRPr lang="zh-CN" altLang="en-US"/>
            </a:p>
          </p:txBody>
        </p:sp>
        <p:sp>
          <p:nvSpPr>
            <p:cNvPr id="17" name="Freeform 17"/>
            <p:cNvSpPr/>
            <p:nvPr/>
          </p:nvSpPr>
          <p:spPr bwMode="auto">
            <a:xfrm>
              <a:off x="3483135" y="2694315"/>
              <a:ext cx="750487" cy="562865"/>
            </a:xfrm>
            <a:custGeom>
              <a:avLst/>
              <a:gdLst>
                <a:gd name="T0" fmla="*/ 314 w 756"/>
                <a:gd name="T1" fmla="*/ 0 h 567"/>
                <a:gd name="T2" fmla="*/ 0 w 756"/>
                <a:gd name="T3" fmla="*/ 189 h 567"/>
                <a:gd name="T4" fmla="*/ 442 w 756"/>
                <a:gd name="T5" fmla="*/ 567 h 567"/>
                <a:gd name="T6" fmla="*/ 756 w 756"/>
                <a:gd name="T7" fmla="*/ 314 h 567"/>
                <a:gd name="T8" fmla="*/ 314 w 756"/>
                <a:gd name="T9" fmla="*/ 0 h 567"/>
              </a:gdLst>
              <a:ahLst/>
              <a:cxnLst>
                <a:cxn ang="0">
                  <a:pos x="T0" y="T1"/>
                </a:cxn>
                <a:cxn ang="0">
                  <a:pos x="T2" y="T3"/>
                </a:cxn>
                <a:cxn ang="0">
                  <a:pos x="T4" y="T5"/>
                </a:cxn>
                <a:cxn ang="0">
                  <a:pos x="T6" y="T7"/>
                </a:cxn>
                <a:cxn ang="0">
                  <a:pos x="T8" y="T9"/>
                </a:cxn>
              </a:cxnLst>
              <a:rect l="0" t="0" r="r" b="b"/>
              <a:pathLst>
                <a:path w="756" h="567">
                  <a:moveTo>
                    <a:pt x="314" y="0"/>
                  </a:moveTo>
                  <a:lnTo>
                    <a:pt x="0" y="189"/>
                  </a:lnTo>
                  <a:lnTo>
                    <a:pt x="442" y="567"/>
                  </a:lnTo>
                  <a:lnTo>
                    <a:pt x="756" y="314"/>
                  </a:lnTo>
                  <a:lnTo>
                    <a:pt x="314" y="0"/>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18" name="Freeform 18"/>
            <p:cNvSpPr/>
            <p:nvPr/>
          </p:nvSpPr>
          <p:spPr bwMode="auto">
            <a:xfrm>
              <a:off x="3794846" y="2256530"/>
              <a:ext cx="750487" cy="749495"/>
            </a:xfrm>
            <a:custGeom>
              <a:avLst/>
              <a:gdLst>
                <a:gd name="T0" fmla="*/ 317 w 756"/>
                <a:gd name="T1" fmla="*/ 0 h 755"/>
                <a:gd name="T2" fmla="*/ 0 w 756"/>
                <a:gd name="T3" fmla="*/ 441 h 755"/>
                <a:gd name="T4" fmla="*/ 442 w 756"/>
                <a:gd name="T5" fmla="*/ 755 h 755"/>
                <a:gd name="T6" fmla="*/ 756 w 756"/>
                <a:gd name="T7" fmla="*/ 377 h 755"/>
                <a:gd name="T8" fmla="*/ 317 w 756"/>
                <a:gd name="T9" fmla="*/ 0 h 755"/>
              </a:gdLst>
              <a:ahLst/>
              <a:cxnLst>
                <a:cxn ang="0">
                  <a:pos x="T0" y="T1"/>
                </a:cxn>
                <a:cxn ang="0">
                  <a:pos x="T2" y="T3"/>
                </a:cxn>
                <a:cxn ang="0">
                  <a:pos x="T4" y="T5"/>
                </a:cxn>
                <a:cxn ang="0">
                  <a:pos x="T6" y="T7"/>
                </a:cxn>
                <a:cxn ang="0">
                  <a:pos x="T8" y="T9"/>
                </a:cxn>
              </a:cxnLst>
              <a:rect l="0" t="0" r="r" b="b"/>
              <a:pathLst>
                <a:path w="756" h="755">
                  <a:moveTo>
                    <a:pt x="317" y="0"/>
                  </a:moveTo>
                  <a:lnTo>
                    <a:pt x="0" y="441"/>
                  </a:lnTo>
                  <a:lnTo>
                    <a:pt x="442" y="755"/>
                  </a:lnTo>
                  <a:lnTo>
                    <a:pt x="756" y="377"/>
                  </a:lnTo>
                  <a:lnTo>
                    <a:pt x="317" y="0"/>
                  </a:lnTo>
                  <a:close/>
                </a:path>
              </a:pathLst>
            </a:custGeom>
            <a:solidFill>
              <a:srgbClr val="800080"/>
            </a:solidFill>
            <a:ln>
              <a:noFill/>
            </a:ln>
          </p:spPr>
          <p:txBody>
            <a:bodyPr vert="horz" wrap="square" lIns="91440" tIns="45720" rIns="91440" bIns="45720" numCol="1" anchor="t" anchorCtr="0" compatLnSpc="1"/>
            <a:lstStyle/>
            <a:p>
              <a:endParaRPr lang="zh-CN" altLang="en-US"/>
            </a:p>
          </p:txBody>
        </p:sp>
        <p:sp>
          <p:nvSpPr>
            <p:cNvPr id="19" name="Freeform 19"/>
            <p:cNvSpPr/>
            <p:nvPr/>
          </p:nvSpPr>
          <p:spPr bwMode="auto">
            <a:xfrm>
              <a:off x="4109534" y="2068909"/>
              <a:ext cx="750487" cy="561873"/>
            </a:xfrm>
            <a:custGeom>
              <a:avLst/>
              <a:gdLst>
                <a:gd name="T0" fmla="*/ 314 w 756"/>
                <a:gd name="T1" fmla="*/ 0 h 566"/>
                <a:gd name="T2" fmla="*/ 0 w 756"/>
                <a:gd name="T3" fmla="*/ 189 h 566"/>
                <a:gd name="T4" fmla="*/ 439 w 756"/>
                <a:gd name="T5" fmla="*/ 566 h 566"/>
                <a:gd name="T6" fmla="*/ 756 w 756"/>
                <a:gd name="T7" fmla="*/ 189 h 566"/>
                <a:gd name="T8" fmla="*/ 314 w 756"/>
                <a:gd name="T9" fmla="*/ 0 h 566"/>
              </a:gdLst>
              <a:ahLst/>
              <a:cxnLst>
                <a:cxn ang="0">
                  <a:pos x="T0" y="T1"/>
                </a:cxn>
                <a:cxn ang="0">
                  <a:pos x="T2" y="T3"/>
                </a:cxn>
                <a:cxn ang="0">
                  <a:pos x="T4" y="T5"/>
                </a:cxn>
                <a:cxn ang="0">
                  <a:pos x="T6" y="T7"/>
                </a:cxn>
                <a:cxn ang="0">
                  <a:pos x="T8" y="T9"/>
                </a:cxn>
              </a:cxnLst>
              <a:rect l="0" t="0" r="r" b="b"/>
              <a:pathLst>
                <a:path w="756" h="566">
                  <a:moveTo>
                    <a:pt x="314" y="0"/>
                  </a:moveTo>
                  <a:lnTo>
                    <a:pt x="0" y="189"/>
                  </a:lnTo>
                  <a:lnTo>
                    <a:pt x="439" y="566"/>
                  </a:lnTo>
                  <a:lnTo>
                    <a:pt x="756" y="189"/>
                  </a:lnTo>
                  <a:lnTo>
                    <a:pt x="314" y="0"/>
                  </a:lnTo>
                  <a:close/>
                </a:path>
              </a:pathLst>
            </a:custGeom>
            <a:solidFill>
              <a:srgbClr val="CC0099"/>
            </a:solidFill>
            <a:ln>
              <a:noFill/>
            </a:ln>
          </p:spPr>
          <p:txBody>
            <a:bodyPr vert="horz" wrap="square" lIns="91440" tIns="45720" rIns="91440" bIns="45720" numCol="1" anchor="t" anchorCtr="0" compatLnSpc="1"/>
            <a:lstStyle/>
            <a:p>
              <a:endParaRPr lang="zh-CN" altLang="en-US"/>
            </a:p>
          </p:txBody>
        </p:sp>
        <p:sp>
          <p:nvSpPr>
            <p:cNvPr id="20" name="Freeform 20"/>
            <p:cNvSpPr/>
            <p:nvPr/>
          </p:nvSpPr>
          <p:spPr bwMode="auto">
            <a:xfrm>
              <a:off x="3670757" y="1881287"/>
              <a:ext cx="750487" cy="375244"/>
            </a:xfrm>
            <a:custGeom>
              <a:avLst/>
              <a:gdLst>
                <a:gd name="T0" fmla="*/ 314 w 756"/>
                <a:gd name="T1" fmla="*/ 0 h 378"/>
                <a:gd name="T2" fmla="*/ 0 w 756"/>
                <a:gd name="T3" fmla="*/ 252 h 378"/>
                <a:gd name="T4" fmla="*/ 442 w 756"/>
                <a:gd name="T5" fmla="*/ 378 h 378"/>
                <a:gd name="T6" fmla="*/ 756 w 756"/>
                <a:gd name="T7" fmla="*/ 189 h 378"/>
                <a:gd name="T8" fmla="*/ 314 w 756"/>
                <a:gd name="T9" fmla="*/ 0 h 378"/>
              </a:gdLst>
              <a:ahLst/>
              <a:cxnLst>
                <a:cxn ang="0">
                  <a:pos x="T0" y="T1"/>
                </a:cxn>
                <a:cxn ang="0">
                  <a:pos x="T2" y="T3"/>
                </a:cxn>
                <a:cxn ang="0">
                  <a:pos x="T4" y="T5"/>
                </a:cxn>
                <a:cxn ang="0">
                  <a:pos x="T6" y="T7"/>
                </a:cxn>
                <a:cxn ang="0">
                  <a:pos x="T8" y="T9"/>
                </a:cxn>
              </a:cxnLst>
              <a:rect l="0" t="0" r="r" b="b"/>
              <a:pathLst>
                <a:path w="756" h="378">
                  <a:moveTo>
                    <a:pt x="314" y="0"/>
                  </a:moveTo>
                  <a:lnTo>
                    <a:pt x="0" y="252"/>
                  </a:lnTo>
                  <a:lnTo>
                    <a:pt x="442" y="378"/>
                  </a:lnTo>
                  <a:lnTo>
                    <a:pt x="756" y="189"/>
                  </a:lnTo>
                  <a:lnTo>
                    <a:pt x="314" y="0"/>
                  </a:lnTo>
                  <a:close/>
                </a:path>
              </a:pathLst>
            </a:custGeom>
            <a:solidFill>
              <a:srgbClr val="CC0099"/>
            </a:solidFill>
            <a:ln>
              <a:noFill/>
            </a:ln>
          </p:spPr>
          <p:txBody>
            <a:bodyPr vert="horz" wrap="square" lIns="91440" tIns="45720" rIns="91440" bIns="45720" numCol="1" anchor="t" anchorCtr="0" compatLnSpc="1"/>
            <a:lstStyle/>
            <a:p>
              <a:endParaRPr lang="zh-CN" altLang="en-US"/>
            </a:p>
          </p:txBody>
        </p:sp>
        <p:sp>
          <p:nvSpPr>
            <p:cNvPr id="21" name="Freeform 21"/>
            <p:cNvSpPr/>
            <p:nvPr/>
          </p:nvSpPr>
          <p:spPr bwMode="auto">
            <a:xfrm>
              <a:off x="3359047" y="2131450"/>
              <a:ext cx="750487" cy="562865"/>
            </a:xfrm>
            <a:custGeom>
              <a:avLst/>
              <a:gdLst>
                <a:gd name="T0" fmla="*/ 0 w 756"/>
                <a:gd name="T1" fmla="*/ 442 h 567"/>
                <a:gd name="T2" fmla="*/ 439 w 756"/>
                <a:gd name="T3" fmla="*/ 567 h 567"/>
                <a:gd name="T4" fmla="*/ 756 w 756"/>
                <a:gd name="T5" fmla="*/ 126 h 567"/>
                <a:gd name="T6" fmla="*/ 314 w 756"/>
                <a:gd name="T7" fmla="*/ 0 h 567"/>
                <a:gd name="T8" fmla="*/ 0 w 756"/>
                <a:gd name="T9" fmla="*/ 442 h 567"/>
              </a:gdLst>
              <a:ahLst/>
              <a:cxnLst>
                <a:cxn ang="0">
                  <a:pos x="T0" y="T1"/>
                </a:cxn>
                <a:cxn ang="0">
                  <a:pos x="T2" y="T3"/>
                </a:cxn>
                <a:cxn ang="0">
                  <a:pos x="T4" y="T5"/>
                </a:cxn>
                <a:cxn ang="0">
                  <a:pos x="T6" y="T7"/>
                </a:cxn>
                <a:cxn ang="0">
                  <a:pos x="T8" y="T9"/>
                </a:cxn>
              </a:cxnLst>
              <a:rect l="0" t="0" r="r" b="b"/>
              <a:pathLst>
                <a:path w="756" h="567">
                  <a:moveTo>
                    <a:pt x="0" y="442"/>
                  </a:moveTo>
                  <a:lnTo>
                    <a:pt x="439" y="567"/>
                  </a:lnTo>
                  <a:lnTo>
                    <a:pt x="756" y="126"/>
                  </a:lnTo>
                  <a:lnTo>
                    <a:pt x="314" y="0"/>
                  </a:lnTo>
                  <a:lnTo>
                    <a:pt x="0" y="442"/>
                  </a:lnTo>
                  <a:close/>
                </a:path>
              </a:pathLst>
            </a:custGeom>
            <a:solidFill>
              <a:srgbClr val="800080"/>
            </a:solidFill>
            <a:ln>
              <a:noFill/>
            </a:ln>
          </p:spPr>
          <p:txBody>
            <a:bodyPr vert="horz" wrap="square" lIns="91440" tIns="45720" rIns="91440" bIns="45720" numCol="1" anchor="t" anchorCtr="0" compatLnSpc="1"/>
            <a:lstStyle/>
            <a:p>
              <a:endParaRPr lang="zh-CN" altLang="en-US"/>
            </a:p>
          </p:txBody>
        </p:sp>
        <p:sp>
          <p:nvSpPr>
            <p:cNvPr id="22" name="Freeform 22"/>
            <p:cNvSpPr/>
            <p:nvPr/>
          </p:nvSpPr>
          <p:spPr bwMode="auto">
            <a:xfrm>
              <a:off x="3044359" y="2570226"/>
              <a:ext cx="750487" cy="311710"/>
            </a:xfrm>
            <a:custGeom>
              <a:avLst/>
              <a:gdLst>
                <a:gd name="T0" fmla="*/ 0 w 756"/>
                <a:gd name="T1" fmla="*/ 314 h 314"/>
                <a:gd name="T2" fmla="*/ 442 w 756"/>
                <a:gd name="T3" fmla="*/ 314 h 314"/>
                <a:gd name="T4" fmla="*/ 756 w 756"/>
                <a:gd name="T5" fmla="*/ 125 h 314"/>
                <a:gd name="T6" fmla="*/ 317 w 756"/>
                <a:gd name="T7" fmla="*/ 0 h 314"/>
                <a:gd name="T8" fmla="*/ 0 w 756"/>
                <a:gd name="T9" fmla="*/ 314 h 314"/>
              </a:gdLst>
              <a:ahLst/>
              <a:cxnLst>
                <a:cxn ang="0">
                  <a:pos x="T0" y="T1"/>
                </a:cxn>
                <a:cxn ang="0">
                  <a:pos x="T2" y="T3"/>
                </a:cxn>
                <a:cxn ang="0">
                  <a:pos x="T4" y="T5"/>
                </a:cxn>
                <a:cxn ang="0">
                  <a:pos x="T6" y="T7"/>
                </a:cxn>
                <a:cxn ang="0">
                  <a:pos x="T8" y="T9"/>
                </a:cxn>
              </a:cxnLst>
              <a:rect l="0" t="0" r="r" b="b"/>
              <a:pathLst>
                <a:path w="756" h="314">
                  <a:moveTo>
                    <a:pt x="0" y="314"/>
                  </a:moveTo>
                  <a:lnTo>
                    <a:pt x="442" y="314"/>
                  </a:lnTo>
                  <a:lnTo>
                    <a:pt x="756" y="125"/>
                  </a:lnTo>
                  <a:lnTo>
                    <a:pt x="317" y="0"/>
                  </a:lnTo>
                  <a:lnTo>
                    <a:pt x="0" y="314"/>
                  </a:lnTo>
                  <a:close/>
                </a:path>
              </a:pathLst>
            </a:custGeom>
            <a:solidFill>
              <a:srgbClr val="CC0099"/>
            </a:solidFill>
            <a:ln>
              <a:noFill/>
            </a:ln>
          </p:spPr>
          <p:txBody>
            <a:bodyPr vert="horz" wrap="square" lIns="91440" tIns="45720" rIns="91440" bIns="45720" numCol="1" anchor="t" anchorCtr="0" compatLnSpc="1"/>
            <a:lstStyle/>
            <a:p>
              <a:endParaRPr lang="zh-CN" altLang="en-US"/>
            </a:p>
          </p:txBody>
        </p:sp>
        <p:sp>
          <p:nvSpPr>
            <p:cNvPr id="23" name="Freeform 23"/>
            <p:cNvSpPr/>
            <p:nvPr/>
          </p:nvSpPr>
          <p:spPr bwMode="auto">
            <a:xfrm>
              <a:off x="2732648" y="2881937"/>
              <a:ext cx="750487" cy="499333"/>
            </a:xfrm>
            <a:custGeom>
              <a:avLst/>
              <a:gdLst>
                <a:gd name="T0" fmla="*/ 0 w 756"/>
                <a:gd name="T1" fmla="*/ 378 h 503"/>
                <a:gd name="T2" fmla="*/ 442 w 756"/>
                <a:gd name="T3" fmla="*/ 503 h 503"/>
                <a:gd name="T4" fmla="*/ 756 w 756"/>
                <a:gd name="T5" fmla="*/ 0 h 503"/>
                <a:gd name="T6" fmla="*/ 314 w 756"/>
                <a:gd name="T7" fmla="*/ 0 h 503"/>
                <a:gd name="T8" fmla="*/ 0 w 756"/>
                <a:gd name="T9" fmla="*/ 378 h 503"/>
              </a:gdLst>
              <a:ahLst/>
              <a:cxnLst>
                <a:cxn ang="0">
                  <a:pos x="T0" y="T1"/>
                </a:cxn>
                <a:cxn ang="0">
                  <a:pos x="T2" y="T3"/>
                </a:cxn>
                <a:cxn ang="0">
                  <a:pos x="T4" y="T5"/>
                </a:cxn>
                <a:cxn ang="0">
                  <a:pos x="T6" y="T7"/>
                </a:cxn>
                <a:cxn ang="0">
                  <a:pos x="T8" y="T9"/>
                </a:cxn>
              </a:cxnLst>
              <a:rect l="0" t="0" r="r" b="b"/>
              <a:pathLst>
                <a:path w="756" h="503">
                  <a:moveTo>
                    <a:pt x="0" y="378"/>
                  </a:moveTo>
                  <a:lnTo>
                    <a:pt x="442" y="503"/>
                  </a:lnTo>
                  <a:lnTo>
                    <a:pt x="756" y="0"/>
                  </a:lnTo>
                  <a:lnTo>
                    <a:pt x="314" y="0"/>
                  </a:lnTo>
                  <a:lnTo>
                    <a:pt x="0" y="378"/>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28" name="Freeform 28"/>
            <p:cNvSpPr/>
            <p:nvPr/>
          </p:nvSpPr>
          <p:spPr bwMode="auto">
            <a:xfrm>
              <a:off x="2722721" y="3128128"/>
              <a:ext cx="1770991" cy="895423"/>
            </a:xfrm>
            <a:custGeom>
              <a:avLst/>
              <a:gdLst>
                <a:gd name="T0" fmla="*/ 751 w 755"/>
                <a:gd name="T1" fmla="*/ 382 h 382"/>
                <a:gd name="T2" fmla="*/ 748 w 755"/>
                <a:gd name="T3" fmla="*/ 381 h 382"/>
                <a:gd name="T4" fmla="*/ 563 w 755"/>
                <a:gd name="T5" fmla="*/ 248 h 382"/>
                <a:gd name="T6" fmla="*/ 377 w 755"/>
                <a:gd name="T7" fmla="*/ 222 h 382"/>
                <a:gd name="T8" fmla="*/ 375 w 755"/>
                <a:gd name="T9" fmla="*/ 221 h 382"/>
                <a:gd name="T10" fmla="*/ 189 w 755"/>
                <a:gd name="T11" fmla="*/ 61 h 382"/>
                <a:gd name="T12" fmla="*/ 3 w 755"/>
                <a:gd name="T13" fmla="*/ 8 h 382"/>
                <a:gd name="T14" fmla="*/ 0 w 755"/>
                <a:gd name="T15" fmla="*/ 3 h 382"/>
                <a:gd name="T16" fmla="*/ 5 w 755"/>
                <a:gd name="T17" fmla="*/ 0 h 382"/>
                <a:gd name="T18" fmla="*/ 192 w 755"/>
                <a:gd name="T19" fmla="*/ 54 h 382"/>
                <a:gd name="T20" fmla="*/ 193 w 755"/>
                <a:gd name="T21" fmla="*/ 55 h 382"/>
                <a:gd name="T22" fmla="*/ 379 w 755"/>
                <a:gd name="T23" fmla="*/ 214 h 382"/>
                <a:gd name="T24" fmla="*/ 565 w 755"/>
                <a:gd name="T25" fmla="*/ 240 h 382"/>
                <a:gd name="T26" fmla="*/ 566 w 755"/>
                <a:gd name="T27" fmla="*/ 241 h 382"/>
                <a:gd name="T28" fmla="*/ 753 w 755"/>
                <a:gd name="T29" fmla="*/ 374 h 382"/>
                <a:gd name="T30" fmla="*/ 754 w 755"/>
                <a:gd name="T31" fmla="*/ 380 h 382"/>
                <a:gd name="T32" fmla="*/ 751 w 755"/>
                <a:gd name="T33" fmla="*/ 382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5" h="382">
                  <a:moveTo>
                    <a:pt x="751" y="382"/>
                  </a:moveTo>
                  <a:cubicBezTo>
                    <a:pt x="750" y="382"/>
                    <a:pt x="749" y="381"/>
                    <a:pt x="748" y="381"/>
                  </a:cubicBezTo>
                  <a:cubicBezTo>
                    <a:pt x="563" y="248"/>
                    <a:pt x="563" y="248"/>
                    <a:pt x="563" y="248"/>
                  </a:cubicBezTo>
                  <a:cubicBezTo>
                    <a:pt x="377" y="222"/>
                    <a:pt x="377" y="222"/>
                    <a:pt x="377" y="222"/>
                  </a:cubicBezTo>
                  <a:cubicBezTo>
                    <a:pt x="376" y="221"/>
                    <a:pt x="375" y="221"/>
                    <a:pt x="375" y="221"/>
                  </a:cubicBezTo>
                  <a:cubicBezTo>
                    <a:pt x="189" y="61"/>
                    <a:pt x="189" y="61"/>
                    <a:pt x="189" y="61"/>
                  </a:cubicBezTo>
                  <a:cubicBezTo>
                    <a:pt x="3" y="8"/>
                    <a:pt x="3" y="8"/>
                    <a:pt x="3" y="8"/>
                  </a:cubicBezTo>
                  <a:cubicBezTo>
                    <a:pt x="1" y="8"/>
                    <a:pt x="0" y="5"/>
                    <a:pt x="0" y="3"/>
                  </a:cubicBezTo>
                  <a:cubicBezTo>
                    <a:pt x="1" y="1"/>
                    <a:pt x="3" y="0"/>
                    <a:pt x="5" y="0"/>
                  </a:cubicBezTo>
                  <a:cubicBezTo>
                    <a:pt x="192" y="54"/>
                    <a:pt x="192" y="54"/>
                    <a:pt x="192" y="54"/>
                  </a:cubicBezTo>
                  <a:cubicBezTo>
                    <a:pt x="192" y="54"/>
                    <a:pt x="193" y="54"/>
                    <a:pt x="193" y="55"/>
                  </a:cubicBezTo>
                  <a:cubicBezTo>
                    <a:pt x="379" y="214"/>
                    <a:pt x="379" y="214"/>
                    <a:pt x="379" y="214"/>
                  </a:cubicBezTo>
                  <a:cubicBezTo>
                    <a:pt x="565" y="240"/>
                    <a:pt x="565" y="240"/>
                    <a:pt x="565" y="240"/>
                  </a:cubicBezTo>
                  <a:cubicBezTo>
                    <a:pt x="565" y="240"/>
                    <a:pt x="566" y="241"/>
                    <a:pt x="566" y="241"/>
                  </a:cubicBezTo>
                  <a:cubicBezTo>
                    <a:pt x="753" y="374"/>
                    <a:pt x="753" y="374"/>
                    <a:pt x="753" y="374"/>
                  </a:cubicBezTo>
                  <a:cubicBezTo>
                    <a:pt x="755" y="376"/>
                    <a:pt x="755" y="378"/>
                    <a:pt x="754" y="380"/>
                  </a:cubicBezTo>
                  <a:cubicBezTo>
                    <a:pt x="753" y="381"/>
                    <a:pt x="752" y="382"/>
                    <a:pt x="751" y="382"/>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29" name="Freeform 29"/>
            <p:cNvSpPr/>
            <p:nvPr/>
          </p:nvSpPr>
          <p:spPr bwMode="auto">
            <a:xfrm>
              <a:off x="3035425" y="2752884"/>
              <a:ext cx="1772976" cy="708793"/>
            </a:xfrm>
            <a:custGeom>
              <a:avLst/>
              <a:gdLst>
                <a:gd name="T0" fmla="*/ 751 w 756"/>
                <a:gd name="T1" fmla="*/ 302 h 302"/>
                <a:gd name="T2" fmla="*/ 750 w 756"/>
                <a:gd name="T3" fmla="*/ 301 h 302"/>
                <a:gd name="T4" fmla="*/ 563 w 756"/>
                <a:gd name="T5" fmla="*/ 248 h 302"/>
                <a:gd name="T6" fmla="*/ 563 w 756"/>
                <a:gd name="T7" fmla="*/ 248 h 302"/>
                <a:gd name="T8" fmla="*/ 376 w 756"/>
                <a:gd name="T9" fmla="*/ 168 h 302"/>
                <a:gd name="T10" fmla="*/ 375 w 756"/>
                <a:gd name="T11" fmla="*/ 167 h 302"/>
                <a:gd name="T12" fmla="*/ 190 w 756"/>
                <a:gd name="T13" fmla="*/ 8 h 302"/>
                <a:gd name="T14" fmla="*/ 4 w 756"/>
                <a:gd name="T15" fmla="*/ 8 h 302"/>
                <a:gd name="T16" fmla="*/ 0 w 756"/>
                <a:gd name="T17" fmla="*/ 4 h 302"/>
                <a:gd name="T18" fmla="*/ 4 w 756"/>
                <a:gd name="T19" fmla="*/ 0 h 302"/>
                <a:gd name="T20" fmla="*/ 191 w 756"/>
                <a:gd name="T21" fmla="*/ 0 h 302"/>
                <a:gd name="T22" fmla="*/ 194 w 756"/>
                <a:gd name="T23" fmla="*/ 1 h 302"/>
                <a:gd name="T24" fmla="*/ 380 w 756"/>
                <a:gd name="T25" fmla="*/ 161 h 302"/>
                <a:gd name="T26" fmla="*/ 566 w 756"/>
                <a:gd name="T27" fmla="*/ 240 h 302"/>
                <a:gd name="T28" fmla="*/ 752 w 756"/>
                <a:gd name="T29" fmla="*/ 294 h 302"/>
                <a:gd name="T30" fmla="*/ 755 w 756"/>
                <a:gd name="T31" fmla="*/ 299 h 302"/>
                <a:gd name="T32" fmla="*/ 751 w 756"/>
                <a:gd name="T33"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 h="302">
                  <a:moveTo>
                    <a:pt x="751" y="302"/>
                  </a:moveTo>
                  <a:cubicBezTo>
                    <a:pt x="751" y="302"/>
                    <a:pt x="750" y="302"/>
                    <a:pt x="750" y="301"/>
                  </a:cubicBezTo>
                  <a:cubicBezTo>
                    <a:pt x="563" y="248"/>
                    <a:pt x="563" y="248"/>
                    <a:pt x="563" y="248"/>
                  </a:cubicBezTo>
                  <a:cubicBezTo>
                    <a:pt x="563" y="248"/>
                    <a:pt x="563" y="248"/>
                    <a:pt x="563" y="248"/>
                  </a:cubicBezTo>
                  <a:cubicBezTo>
                    <a:pt x="376" y="168"/>
                    <a:pt x="376" y="168"/>
                    <a:pt x="376" y="168"/>
                  </a:cubicBezTo>
                  <a:cubicBezTo>
                    <a:pt x="376" y="168"/>
                    <a:pt x="375" y="168"/>
                    <a:pt x="375" y="167"/>
                  </a:cubicBezTo>
                  <a:cubicBezTo>
                    <a:pt x="190" y="8"/>
                    <a:pt x="190" y="8"/>
                    <a:pt x="190" y="8"/>
                  </a:cubicBezTo>
                  <a:cubicBezTo>
                    <a:pt x="4" y="8"/>
                    <a:pt x="4" y="8"/>
                    <a:pt x="4" y="8"/>
                  </a:cubicBezTo>
                  <a:cubicBezTo>
                    <a:pt x="2" y="8"/>
                    <a:pt x="0" y="6"/>
                    <a:pt x="0" y="4"/>
                  </a:cubicBezTo>
                  <a:cubicBezTo>
                    <a:pt x="0" y="2"/>
                    <a:pt x="2" y="0"/>
                    <a:pt x="4" y="0"/>
                  </a:cubicBezTo>
                  <a:cubicBezTo>
                    <a:pt x="191" y="0"/>
                    <a:pt x="191" y="0"/>
                    <a:pt x="191" y="0"/>
                  </a:cubicBezTo>
                  <a:cubicBezTo>
                    <a:pt x="192" y="0"/>
                    <a:pt x="193" y="1"/>
                    <a:pt x="194" y="1"/>
                  </a:cubicBezTo>
                  <a:cubicBezTo>
                    <a:pt x="380" y="161"/>
                    <a:pt x="380" y="161"/>
                    <a:pt x="380" y="161"/>
                  </a:cubicBezTo>
                  <a:cubicBezTo>
                    <a:pt x="566" y="240"/>
                    <a:pt x="566" y="240"/>
                    <a:pt x="566" y="240"/>
                  </a:cubicBezTo>
                  <a:cubicBezTo>
                    <a:pt x="752" y="294"/>
                    <a:pt x="752" y="294"/>
                    <a:pt x="752" y="294"/>
                  </a:cubicBezTo>
                  <a:cubicBezTo>
                    <a:pt x="754" y="294"/>
                    <a:pt x="756" y="297"/>
                    <a:pt x="755" y="299"/>
                  </a:cubicBezTo>
                  <a:cubicBezTo>
                    <a:pt x="754" y="300"/>
                    <a:pt x="753" y="302"/>
                    <a:pt x="751" y="302"/>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0" name="Freeform 30"/>
            <p:cNvSpPr/>
            <p:nvPr/>
          </p:nvSpPr>
          <p:spPr bwMode="auto">
            <a:xfrm>
              <a:off x="3347136" y="2439189"/>
              <a:ext cx="1772976" cy="834868"/>
            </a:xfrm>
            <a:custGeom>
              <a:avLst/>
              <a:gdLst>
                <a:gd name="T0" fmla="*/ 751 w 756"/>
                <a:gd name="T1" fmla="*/ 356 h 356"/>
                <a:gd name="T2" fmla="*/ 750 w 756"/>
                <a:gd name="T3" fmla="*/ 355 h 356"/>
                <a:gd name="T4" fmla="*/ 377 w 756"/>
                <a:gd name="T5" fmla="*/ 195 h 356"/>
                <a:gd name="T6" fmla="*/ 376 w 756"/>
                <a:gd name="T7" fmla="*/ 195 h 356"/>
                <a:gd name="T8" fmla="*/ 190 w 756"/>
                <a:gd name="T9" fmla="*/ 62 h 356"/>
                <a:gd name="T10" fmla="*/ 4 w 756"/>
                <a:gd name="T11" fmla="*/ 9 h 356"/>
                <a:gd name="T12" fmla="*/ 1 w 756"/>
                <a:gd name="T13" fmla="*/ 4 h 356"/>
                <a:gd name="T14" fmla="*/ 6 w 756"/>
                <a:gd name="T15" fmla="*/ 1 h 356"/>
                <a:gd name="T16" fmla="*/ 193 w 756"/>
                <a:gd name="T17" fmla="*/ 54 h 356"/>
                <a:gd name="T18" fmla="*/ 194 w 756"/>
                <a:gd name="T19" fmla="*/ 55 h 356"/>
                <a:gd name="T20" fmla="*/ 380 w 756"/>
                <a:gd name="T21" fmla="*/ 188 h 356"/>
                <a:gd name="T22" fmla="*/ 753 w 756"/>
                <a:gd name="T23" fmla="*/ 348 h 356"/>
                <a:gd name="T24" fmla="*/ 755 w 756"/>
                <a:gd name="T25" fmla="*/ 353 h 356"/>
                <a:gd name="T26" fmla="*/ 751 w 756"/>
                <a:gd name="T27"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6" h="356">
                  <a:moveTo>
                    <a:pt x="751" y="356"/>
                  </a:moveTo>
                  <a:cubicBezTo>
                    <a:pt x="751" y="356"/>
                    <a:pt x="750" y="355"/>
                    <a:pt x="750" y="355"/>
                  </a:cubicBezTo>
                  <a:cubicBezTo>
                    <a:pt x="377" y="195"/>
                    <a:pt x="377" y="195"/>
                    <a:pt x="377" y="195"/>
                  </a:cubicBezTo>
                  <a:cubicBezTo>
                    <a:pt x="376" y="195"/>
                    <a:pt x="376" y="195"/>
                    <a:pt x="376" y="195"/>
                  </a:cubicBezTo>
                  <a:cubicBezTo>
                    <a:pt x="190" y="62"/>
                    <a:pt x="190" y="62"/>
                    <a:pt x="190" y="62"/>
                  </a:cubicBezTo>
                  <a:cubicBezTo>
                    <a:pt x="4" y="9"/>
                    <a:pt x="4" y="9"/>
                    <a:pt x="4" y="9"/>
                  </a:cubicBezTo>
                  <a:cubicBezTo>
                    <a:pt x="2" y="8"/>
                    <a:pt x="0" y="6"/>
                    <a:pt x="1" y="4"/>
                  </a:cubicBezTo>
                  <a:cubicBezTo>
                    <a:pt x="2" y="2"/>
                    <a:pt x="4" y="0"/>
                    <a:pt x="6" y="1"/>
                  </a:cubicBezTo>
                  <a:cubicBezTo>
                    <a:pt x="193" y="54"/>
                    <a:pt x="193" y="54"/>
                    <a:pt x="193" y="54"/>
                  </a:cubicBezTo>
                  <a:cubicBezTo>
                    <a:pt x="193" y="55"/>
                    <a:pt x="193" y="55"/>
                    <a:pt x="194" y="55"/>
                  </a:cubicBezTo>
                  <a:cubicBezTo>
                    <a:pt x="380" y="188"/>
                    <a:pt x="380" y="188"/>
                    <a:pt x="380" y="188"/>
                  </a:cubicBezTo>
                  <a:cubicBezTo>
                    <a:pt x="753" y="348"/>
                    <a:pt x="753" y="348"/>
                    <a:pt x="753" y="348"/>
                  </a:cubicBezTo>
                  <a:cubicBezTo>
                    <a:pt x="755" y="349"/>
                    <a:pt x="756" y="351"/>
                    <a:pt x="755" y="353"/>
                  </a:cubicBezTo>
                  <a:cubicBezTo>
                    <a:pt x="754" y="355"/>
                    <a:pt x="753" y="356"/>
                    <a:pt x="751" y="356"/>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1" name="Freeform 31"/>
            <p:cNvSpPr/>
            <p:nvPr/>
          </p:nvSpPr>
          <p:spPr bwMode="auto">
            <a:xfrm>
              <a:off x="3660830" y="2002397"/>
              <a:ext cx="1770991" cy="769349"/>
            </a:xfrm>
            <a:custGeom>
              <a:avLst/>
              <a:gdLst>
                <a:gd name="T0" fmla="*/ 751 w 755"/>
                <a:gd name="T1" fmla="*/ 328 h 328"/>
                <a:gd name="T2" fmla="*/ 750 w 755"/>
                <a:gd name="T3" fmla="*/ 328 h 328"/>
                <a:gd name="T4" fmla="*/ 564 w 755"/>
                <a:gd name="T5" fmla="*/ 302 h 328"/>
                <a:gd name="T6" fmla="*/ 563 w 755"/>
                <a:gd name="T7" fmla="*/ 301 h 328"/>
                <a:gd name="T8" fmla="*/ 376 w 755"/>
                <a:gd name="T9" fmla="*/ 221 h 328"/>
                <a:gd name="T10" fmla="*/ 375 w 755"/>
                <a:gd name="T11" fmla="*/ 221 h 328"/>
                <a:gd name="T12" fmla="*/ 189 w 755"/>
                <a:gd name="T13" fmla="*/ 61 h 328"/>
                <a:gd name="T14" fmla="*/ 3 w 755"/>
                <a:gd name="T15" fmla="*/ 8 h 328"/>
                <a:gd name="T16" fmla="*/ 0 w 755"/>
                <a:gd name="T17" fmla="*/ 3 h 328"/>
                <a:gd name="T18" fmla="*/ 5 w 755"/>
                <a:gd name="T19" fmla="*/ 0 h 328"/>
                <a:gd name="T20" fmla="*/ 192 w 755"/>
                <a:gd name="T21" fmla="*/ 54 h 328"/>
                <a:gd name="T22" fmla="*/ 193 w 755"/>
                <a:gd name="T23" fmla="*/ 55 h 328"/>
                <a:gd name="T24" fmla="*/ 380 w 755"/>
                <a:gd name="T25" fmla="*/ 214 h 328"/>
                <a:gd name="T26" fmla="*/ 565 w 755"/>
                <a:gd name="T27" fmla="*/ 294 h 328"/>
                <a:gd name="T28" fmla="*/ 751 w 755"/>
                <a:gd name="T29" fmla="*/ 320 h 328"/>
                <a:gd name="T30" fmla="*/ 755 w 755"/>
                <a:gd name="T31" fmla="*/ 325 h 328"/>
                <a:gd name="T32" fmla="*/ 751 w 755"/>
                <a:gd name="T33"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5" h="328">
                  <a:moveTo>
                    <a:pt x="751" y="328"/>
                  </a:moveTo>
                  <a:cubicBezTo>
                    <a:pt x="751" y="328"/>
                    <a:pt x="750" y="328"/>
                    <a:pt x="750" y="328"/>
                  </a:cubicBezTo>
                  <a:cubicBezTo>
                    <a:pt x="564" y="302"/>
                    <a:pt x="564" y="302"/>
                    <a:pt x="564" y="302"/>
                  </a:cubicBezTo>
                  <a:cubicBezTo>
                    <a:pt x="563" y="302"/>
                    <a:pt x="563" y="301"/>
                    <a:pt x="563" y="301"/>
                  </a:cubicBezTo>
                  <a:cubicBezTo>
                    <a:pt x="376" y="221"/>
                    <a:pt x="376" y="221"/>
                    <a:pt x="376" y="221"/>
                  </a:cubicBezTo>
                  <a:cubicBezTo>
                    <a:pt x="375" y="221"/>
                    <a:pt x="375" y="221"/>
                    <a:pt x="375" y="221"/>
                  </a:cubicBezTo>
                  <a:cubicBezTo>
                    <a:pt x="189" y="61"/>
                    <a:pt x="189" y="61"/>
                    <a:pt x="189" y="61"/>
                  </a:cubicBezTo>
                  <a:cubicBezTo>
                    <a:pt x="3" y="8"/>
                    <a:pt x="3" y="8"/>
                    <a:pt x="3" y="8"/>
                  </a:cubicBezTo>
                  <a:cubicBezTo>
                    <a:pt x="1" y="8"/>
                    <a:pt x="0" y="5"/>
                    <a:pt x="0" y="3"/>
                  </a:cubicBezTo>
                  <a:cubicBezTo>
                    <a:pt x="1" y="1"/>
                    <a:pt x="3" y="0"/>
                    <a:pt x="5" y="0"/>
                  </a:cubicBezTo>
                  <a:cubicBezTo>
                    <a:pt x="192" y="54"/>
                    <a:pt x="192" y="54"/>
                    <a:pt x="192" y="54"/>
                  </a:cubicBezTo>
                  <a:cubicBezTo>
                    <a:pt x="192" y="54"/>
                    <a:pt x="193" y="54"/>
                    <a:pt x="193" y="55"/>
                  </a:cubicBezTo>
                  <a:cubicBezTo>
                    <a:pt x="380" y="214"/>
                    <a:pt x="380" y="214"/>
                    <a:pt x="380" y="214"/>
                  </a:cubicBezTo>
                  <a:cubicBezTo>
                    <a:pt x="565" y="294"/>
                    <a:pt x="565" y="294"/>
                    <a:pt x="565" y="294"/>
                  </a:cubicBezTo>
                  <a:cubicBezTo>
                    <a:pt x="751" y="320"/>
                    <a:pt x="751" y="320"/>
                    <a:pt x="751" y="320"/>
                  </a:cubicBezTo>
                  <a:cubicBezTo>
                    <a:pt x="753" y="321"/>
                    <a:pt x="755" y="323"/>
                    <a:pt x="755" y="325"/>
                  </a:cubicBezTo>
                  <a:cubicBezTo>
                    <a:pt x="754" y="327"/>
                    <a:pt x="753" y="328"/>
                    <a:pt x="751" y="328"/>
                  </a:cubicBezTo>
                  <a:close/>
                </a:path>
              </a:pathLst>
            </a:custGeom>
            <a:solidFill>
              <a:schemeClr val="accent4">
                <a:lumMod val="40000"/>
                <a:lumOff val="60000"/>
              </a:schemeClr>
            </a:solidFill>
            <a:ln w="9525">
              <a:noFill/>
              <a:round/>
            </a:ln>
          </p:spPr>
          <p:txBody>
            <a:bodyPr vert="horz" wrap="square" lIns="91440" tIns="45720" rIns="91440" bIns="45720" numCol="1" anchor="t" anchorCtr="0" compatLnSpc="1"/>
            <a:lstStyle/>
            <a:p>
              <a:endParaRPr lang="zh-CN" altLang="en-US"/>
            </a:p>
          </p:txBody>
        </p:sp>
        <p:sp>
          <p:nvSpPr>
            <p:cNvPr id="32" name="Freeform 32"/>
            <p:cNvSpPr/>
            <p:nvPr/>
          </p:nvSpPr>
          <p:spPr bwMode="auto">
            <a:xfrm>
              <a:off x="3973533" y="1752235"/>
              <a:ext cx="1769998" cy="895423"/>
            </a:xfrm>
            <a:custGeom>
              <a:avLst/>
              <a:gdLst>
                <a:gd name="T0" fmla="*/ 751 w 755"/>
                <a:gd name="T1" fmla="*/ 382 h 382"/>
                <a:gd name="T2" fmla="*/ 751 w 755"/>
                <a:gd name="T3" fmla="*/ 382 h 382"/>
                <a:gd name="T4" fmla="*/ 564 w 755"/>
                <a:gd name="T5" fmla="*/ 355 h 382"/>
                <a:gd name="T6" fmla="*/ 562 w 755"/>
                <a:gd name="T7" fmla="*/ 354 h 382"/>
                <a:gd name="T8" fmla="*/ 375 w 755"/>
                <a:gd name="T9" fmla="*/ 168 h 382"/>
                <a:gd name="T10" fmla="*/ 3 w 755"/>
                <a:gd name="T11" fmla="*/ 8 h 382"/>
                <a:gd name="T12" fmla="*/ 1 w 755"/>
                <a:gd name="T13" fmla="*/ 3 h 382"/>
                <a:gd name="T14" fmla="*/ 6 w 755"/>
                <a:gd name="T15" fmla="*/ 1 h 382"/>
                <a:gd name="T16" fmla="*/ 379 w 755"/>
                <a:gd name="T17" fmla="*/ 161 h 382"/>
                <a:gd name="T18" fmla="*/ 381 w 755"/>
                <a:gd name="T19" fmla="*/ 162 h 382"/>
                <a:gd name="T20" fmla="*/ 566 w 755"/>
                <a:gd name="T21" fmla="*/ 347 h 382"/>
                <a:gd name="T22" fmla="*/ 752 w 755"/>
                <a:gd name="T23" fmla="*/ 374 h 382"/>
                <a:gd name="T24" fmla="*/ 755 w 755"/>
                <a:gd name="T25" fmla="*/ 378 h 382"/>
                <a:gd name="T26" fmla="*/ 751 w 755"/>
                <a:gd name="T27" fmla="*/ 382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5" h="382">
                  <a:moveTo>
                    <a:pt x="751" y="382"/>
                  </a:moveTo>
                  <a:cubicBezTo>
                    <a:pt x="751" y="382"/>
                    <a:pt x="751" y="382"/>
                    <a:pt x="751" y="382"/>
                  </a:cubicBezTo>
                  <a:cubicBezTo>
                    <a:pt x="564" y="355"/>
                    <a:pt x="564" y="355"/>
                    <a:pt x="564" y="355"/>
                  </a:cubicBezTo>
                  <a:cubicBezTo>
                    <a:pt x="563" y="355"/>
                    <a:pt x="562" y="355"/>
                    <a:pt x="562" y="354"/>
                  </a:cubicBezTo>
                  <a:cubicBezTo>
                    <a:pt x="375" y="168"/>
                    <a:pt x="375" y="168"/>
                    <a:pt x="375" y="168"/>
                  </a:cubicBezTo>
                  <a:cubicBezTo>
                    <a:pt x="3" y="8"/>
                    <a:pt x="3" y="8"/>
                    <a:pt x="3" y="8"/>
                  </a:cubicBezTo>
                  <a:cubicBezTo>
                    <a:pt x="1" y="7"/>
                    <a:pt x="0" y="5"/>
                    <a:pt x="1" y="3"/>
                  </a:cubicBezTo>
                  <a:cubicBezTo>
                    <a:pt x="2" y="1"/>
                    <a:pt x="4" y="0"/>
                    <a:pt x="6" y="1"/>
                  </a:cubicBezTo>
                  <a:cubicBezTo>
                    <a:pt x="379" y="161"/>
                    <a:pt x="379" y="161"/>
                    <a:pt x="379" y="161"/>
                  </a:cubicBezTo>
                  <a:cubicBezTo>
                    <a:pt x="380" y="161"/>
                    <a:pt x="380" y="161"/>
                    <a:pt x="381" y="162"/>
                  </a:cubicBezTo>
                  <a:cubicBezTo>
                    <a:pt x="566" y="347"/>
                    <a:pt x="566" y="347"/>
                    <a:pt x="566" y="347"/>
                  </a:cubicBezTo>
                  <a:cubicBezTo>
                    <a:pt x="752" y="374"/>
                    <a:pt x="752" y="374"/>
                    <a:pt x="752" y="374"/>
                  </a:cubicBezTo>
                  <a:cubicBezTo>
                    <a:pt x="754" y="374"/>
                    <a:pt x="755" y="376"/>
                    <a:pt x="755" y="378"/>
                  </a:cubicBezTo>
                  <a:cubicBezTo>
                    <a:pt x="755" y="380"/>
                    <a:pt x="753" y="382"/>
                    <a:pt x="751" y="382"/>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3" name="Freeform 33"/>
            <p:cNvSpPr/>
            <p:nvPr/>
          </p:nvSpPr>
          <p:spPr bwMode="auto">
            <a:xfrm>
              <a:off x="2722721" y="1752235"/>
              <a:ext cx="1271659" cy="1394755"/>
            </a:xfrm>
            <a:custGeom>
              <a:avLst/>
              <a:gdLst>
                <a:gd name="T0" fmla="*/ 4 w 542"/>
                <a:gd name="T1" fmla="*/ 595 h 595"/>
                <a:gd name="T2" fmla="*/ 2 w 542"/>
                <a:gd name="T3" fmla="*/ 594 h 595"/>
                <a:gd name="T4" fmla="*/ 1 w 542"/>
                <a:gd name="T5" fmla="*/ 589 h 595"/>
                <a:gd name="T6" fmla="*/ 134 w 542"/>
                <a:gd name="T7" fmla="*/ 429 h 595"/>
                <a:gd name="T8" fmla="*/ 135 w 542"/>
                <a:gd name="T9" fmla="*/ 428 h 595"/>
                <a:gd name="T10" fmla="*/ 268 w 542"/>
                <a:gd name="T11" fmla="*/ 295 h 595"/>
                <a:gd name="T12" fmla="*/ 401 w 542"/>
                <a:gd name="T13" fmla="*/ 109 h 595"/>
                <a:gd name="T14" fmla="*/ 402 w 542"/>
                <a:gd name="T15" fmla="*/ 108 h 595"/>
                <a:gd name="T16" fmla="*/ 535 w 542"/>
                <a:gd name="T17" fmla="*/ 1 h 595"/>
                <a:gd name="T18" fmla="*/ 541 w 542"/>
                <a:gd name="T19" fmla="*/ 2 h 595"/>
                <a:gd name="T20" fmla="*/ 540 w 542"/>
                <a:gd name="T21" fmla="*/ 8 h 595"/>
                <a:gd name="T22" fmla="*/ 407 w 542"/>
                <a:gd name="T23" fmla="*/ 114 h 595"/>
                <a:gd name="T24" fmla="*/ 274 w 542"/>
                <a:gd name="T25" fmla="*/ 300 h 595"/>
                <a:gd name="T26" fmla="*/ 274 w 542"/>
                <a:gd name="T27" fmla="*/ 301 h 595"/>
                <a:gd name="T28" fmla="*/ 140 w 542"/>
                <a:gd name="T29" fmla="*/ 434 h 595"/>
                <a:gd name="T30" fmla="*/ 7 w 542"/>
                <a:gd name="T31" fmla="*/ 594 h 595"/>
                <a:gd name="T32" fmla="*/ 4 w 542"/>
                <a:gd name="T33" fmla="*/ 595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595">
                  <a:moveTo>
                    <a:pt x="4" y="595"/>
                  </a:moveTo>
                  <a:cubicBezTo>
                    <a:pt x="3" y="595"/>
                    <a:pt x="2" y="595"/>
                    <a:pt x="2" y="594"/>
                  </a:cubicBezTo>
                  <a:cubicBezTo>
                    <a:pt x="0" y="593"/>
                    <a:pt x="0" y="590"/>
                    <a:pt x="1" y="589"/>
                  </a:cubicBezTo>
                  <a:cubicBezTo>
                    <a:pt x="134" y="429"/>
                    <a:pt x="134" y="429"/>
                    <a:pt x="134" y="429"/>
                  </a:cubicBezTo>
                  <a:cubicBezTo>
                    <a:pt x="134" y="429"/>
                    <a:pt x="134" y="429"/>
                    <a:pt x="135" y="428"/>
                  </a:cubicBezTo>
                  <a:cubicBezTo>
                    <a:pt x="268" y="295"/>
                    <a:pt x="268" y="295"/>
                    <a:pt x="268" y="295"/>
                  </a:cubicBezTo>
                  <a:cubicBezTo>
                    <a:pt x="401" y="109"/>
                    <a:pt x="401" y="109"/>
                    <a:pt x="401" y="109"/>
                  </a:cubicBezTo>
                  <a:cubicBezTo>
                    <a:pt x="401" y="109"/>
                    <a:pt x="401" y="108"/>
                    <a:pt x="402" y="108"/>
                  </a:cubicBezTo>
                  <a:cubicBezTo>
                    <a:pt x="535" y="1"/>
                    <a:pt x="535" y="1"/>
                    <a:pt x="535" y="1"/>
                  </a:cubicBezTo>
                  <a:cubicBezTo>
                    <a:pt x="537" y="0"/>
                    <a:pt x="539" y="0"/>
                    <a:pt x="541" y="2"/>
                  </a:cubicBezTo>
                  <a:cubicBezTo>
                    <a:pt x="542" y="4"/>
                    <a:pt x="542" y="6"/>
                    <a:pt x="540" y="8"/>
                  </a:cubicBezTo>
                  <a:cubicBezTo>
                    <a:pt x="407" y="114"/>
                    <a:pt x="407" y="114"/>
                    <a:pt x="407" y="114"/>
                  </a:cubicBezTo>
                  <a:cubicBezTo>
                    <a:pt x="274" y="300"/>
                    <a:pt x="274" y="300"/>
                    <a:pt x="274" y="300"/>
                  </a:cubicBezTo>
                  <a:cubicBezTo>
                    <a:pt x="274" y="300"/>
                    <a:pt x="274" y="301"/>
                    <a:pt x="274" y="301"/>
                  </a:cubicBezTo>
                  <a:cubicBezTo>
                    <a:pt x="140" y="434"/>
                    <a:pt x="140" y="434"/>
                    <a:pt x="140" y="434"/>
                  </a:cubicBezTo>
                  <a:cubicBezTo>
                    <a:pt x="7" y="594"/>
                    <a:pt x="7" y="594"/>
                    <a:pt x="7" y="594"/>
                  </a:cubicBezTo>
                  <a:cubicBezTo>
                    <a:pt x="6" y="595"/>
                    <a:pt x="5" y="595"/>
                    <a:pt x="4" y="595"/>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4" name="Freeform 34"/>
            <p:cNvSpPr/>
            <p:nvPr/>
          </p:nvSpPr>
          <p:spPr bwMode="auto">
            <a:xfrm>
              <a:off x="3159513" y="1939856"/>
              <a:ext cx="1273644" cy="1334200"/>
            </a:xfrm>
            <a:custGeom>
              <a:avLst/>
              <a:gdLst>
                <a:gd name="T0" fmla="*/ 5 w 543"/>
                <a:gd name="T1" fmla="*/ 569 h 569"/>
                <a:gd name="T2" fmla="*/ 3 w 543"/>
                <a:gd name="T3" fmla="*/ 568 h 569"/>
                <a:gd name="T4" fmla="*/ 1 w 543"/>
                <a:gd name="T5" fmla="*/ 562 h 569"/>
                <a:gd name="T6" fmla="*/ 135 w 543"/>
                <a:gd name="T7" fmla="*/ 349 h 569"/>
                <a:gd name="T8" fmla="*/ 136 w 543"/>
                <a:gd name="T9" fmla="*/ 348 h 569"/>
                <a:gd name="T10" fmla="*/ 269 w 543"/>
                <a:gd name="T11" fmla="*/ 268 h 569"/>
                <a:gd name="T12" fmla="*/ 401 w 543"/>
                <a:gd name="T13" fmla="*/ 82 h 569"/>
                <a:gd name="T14" fmla="*/ 403 w 543"/>
                <a:gd name="T15" fmla="*/ 81 h 569"/>
                <a:gd name="T16" fmla="*/ 536 w 543"/>
                <a:gd name="T17" fmla="*/ 1 h 569"/>
                <a:gd name="T18" fmla="*/ 542 w 543"/>
                <a:gd name="T19" fmla="*/ 3 h 569"/>
                <a:gd name="T20" fmla="*/ 540 w 543"/>
                <a:gd name="T21" fmla="*/ 8 h 569"/>
                <a:gd name="T22" fmla="*/ 408 w 543"/>
                <a:gd name="T23" fmla="*/ 88 h 569"/>
                <a:gd name="T24" fmla="*/ 275 w 543"/>
                <a:gd name="T25" fmla="*/ 274 h 569"/>
                <a:gd name="T26" fmla="*/ 273 w 543"/>
                <a:gd name="T27" fmla="*/ 275 h 569"/>
                <a:gd name="T28" fmla="*/ 141 w 543"/>
                <a:gd name="T29" fmla="*/ 354 h 569"/>
                <a:gd name="T30" fmla="*/ 8 w 543"/>
                <a:gd name="T31" fmla="*/ 567 h 569"/>
                <a:gd name="T32" fmla="*/ 5 w 543"/>
                <a:gd name="T33" fmla="*/ 569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3" h="569">
                  <a:moveTo>
                    <a:pt x="5" y="569"/>
                  </a:moveTo>
                  <a:cubicBezTo>
                    <a:pt x="4" y="569"/>
                    <a:pt x="3" y="568"/>
                    <a:pt x="3" y="568"/>
                  </a:cubicBezTo>
                  <a:cubicBezTo>
                    <a:pt x="1" y="567"/>
                    <a:pt x="0" y="564"/>
                    <a:pt x="1" y="562"/>
                  </a:cubicBezTo>
                  <a:cubicBezTo>
                    <a:pt x="135" y="349"/>
                    <a:pt x="135" y="349"/>
                    <a:pt x="135" y="349"/>
                  </a:cubicBezTo>
                  <a:cubicBezTo>
                    <a:pt x="135" y="349"/>
                    <a:pt x="135" y="348"/>
                    <a:pt x="136" y="348"/>
                  </a:cubicBezTo>
                  <a:cubicBezTo>
                    <a:pt x="269" y="268"/>
                    <a:pt x="269" y="268"/>
                    <a:pt x="269" y="268"/>
                  </a:cubicBezTo>
                  <a:cubicBezTo>
                    <a:pt x="401" y="82"/>
                    <a:pt x="401" y="82"/>
                    <a:pt x="401" y="82"/>
                  </a:cubicBezTo>
                  <a:cubicBezTo>
                    <a:pt x="402" y="82"/>
                    <a:pt x="402" y="81"/>
                    <a:pt x="403" y="81"/>
                  </a:cubicBezTo>
                  <a:cubicBezTo>
                    <a:pt x="536" y="1"/>
                    <a:pt x="536" y="1"/>
                    <a:pt x="536" y="1"/>
                  </a:cubicBezTo>
                  <a:cubicBezTo>
                    <a:pt x="538" y="0"/>
                    <a:pt x="540" y="1"/>
                    <a:pt x="542" y="3"/>
                  </a:cubicBezTo>
                  <a:cubicBezTo>
                    <a:pt x="543" y="4"/>
                    <a:pt x="542" y="7"/>
                    <a:pt x="540" y="8"/>
                  </a:cubicBezTo>
                  <a:cubicBezTo>
                    <a:pt x="408" y="88"/>
                    <a:pt x="408" y="88"/>
                    <a:pt x="408" y="88"/>
                  </a:cubicBezTo>
                  <a:cubicBezTo>
                    <a:pt x="275" y="274"/>
                    <a:pt x="275" y="274"/>
                    <a:pt x="275" y="274"/>
                  </a:cubicBezTo>
                  <a:cubicBezTo>
                    <a:pt x="274" y="274"/>
                    <a:pt x="274" y="274"/>
                    <a:pt x="273" y="275"/>
                  </a:cubicBezTo>
                  <a:cubicBezTo>
                    <a:pt x="141" y="354"/>
                    <a:pt x="141" y="354"/>
                    <a:pt x="141" y="354"/>
                  </a:cubicBezTo>
                  <a:cubicBezTo>
                    <a:pt x="8" y="567"/>
                    <a:pt x="8" y="567"/>
                    <a:pt x="8" y="567"/>
                  </a:cubicBezTo>
                  <a:cubicBezTo>
                    <a:pt x="7" y="568"/>
                    <a:pt x="6" y="569"/>
                    <a:pt x="5" y="569"/>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5" name="Freeform 35"/>
            <p:cNvSpPr/>
            <p:nvPr/>
          </p:nvSpPr>
          <p:spPr bwMode="auto">
            <a:xfrm>
              <a:off x="3598289" y="2127479"/>
              <a:ext cx="1270666" cy="1520829"/>
            </a:xfrm>
            <a:custGeom>
              <a:avLst/>
              <a:gdLst>
                <a:gd name="T0" fmla="*/ 4 w 542"/>
                <a:gd name="T1" fmla="*/ 649 h 649"/>
                <a:gd name="T2" fmla="*/ 2 w 542"/>
                <a:gd name="T3" fmla="*/ 648 h 649"/>
                <a:gd name="T4" fmla="*/ 1 w 542"/>
                <a:gd name="T5" fmla="*/ 642 h 649"/>
                <a:gd name="T6" fmla="*/ 134 w 542"/>
                <a:gd name="T7" fmla="*/ 429 h 649"/>
                <a:gd name="T8" fmla="*/ 135 w 542"/>
                <a:gd name="T9" fmla="*/ 428 h 649"/>
                <a:gd name="T10" fmla="*/ 268 w 542"/>
                <a:gd name="T11" fmla="*/ 322 h 649"/>
                <a:gd name="T12" fmla="*/ 535 w 542"/>
                <a:gd name="T13" fmla="*/ 2 h 649"/>
                <a:gd name="T14" fmla="*/ 540 w 542"/>
                <a:gd name="T15" fmla="*/ 2 h 649"/>
                <a:gd name="T16" fmla="*/ 541 w 542"/>
                <a:gd name="T17" fmla="*/ 7 h 649"/>
                <a:gd name="T18" fmla="*/ 274 w 542"/>
                <a:gd name="T19" fmla="*/ 327 h 649"/>
                <a:gd name="T20" fmla="*/ 274 w 542"/>
                <a:gd name="T21" fmla="*/ 328 h 649"/>
                <a:gd name="T22" fmla="*/ 141 w 542"/>
                <a:gd name="T23" fmla="*/ 434 h 649"/>
                <a:gd name="T24" fmla="*/ 8 w 542"/>
                <a:gd name="T25" fmla="*/ 647 h 649"/>
                <a:gd name="T26" fmla="*/ 4 w 542"/>
                <a:gd name="T27" fmla="*/ 649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2" h="649">
                  <a:moveTo>
                    <a:pt x="4" y="649"/>
                  </a:moveTo>
                  <a:cubicBezTo>
                    <a:pt x="4" y="649"/>
                    <a:pt x="3" y="648"/>
                    <a:pt x="2" y="648"/>
                  </a:cubicBezTo>
                  <a:cubicBezTo>
                    <a:pt x="0" y="647"/>
                    <a:pt x="0" y="644"/>
                    <a:pt x="1" y="642"/>
                  </a:cubicBezTo>
                  <a:cubicBezTo>
                    <a:pt x="134" y="429"/>
                    <a:pt x="134" y="429"/>
                    <a:pt x="134" y="429"/>
                  </a:cubicBezTo>
                  <a:cubicBezTo>
                    <a:pt x="135" y="429"/>
                    <a:pt x="135" y="428"/>
                    <a:pt x="135" y="428"/>
                  </a:cubicBezTo>
                  <a:cubicBezTo>
                    <a:pt x="268" y="322"/>
                    <a:pt x="268" y="322"/>
                    <a:pt x="268" y="322"/>
                  </a:cubicBezTo>
                  <a:cubicBezTo>
                    <a:pt x="535" y="2"/>
                    <a:pt x="535" y="2"/>
                    <a:pt x="535" y="2"/>
                  </a:cubicBezTo>
                  <a:cubicBezTo>
                    <a:pt x="536" y="0"/>
                    <a:pt x="539" y="0"/>
                    <a:pt x="540" y="2"/>
                  </a:cubicBezTo>
                  <a:cubicBezTo>
                    <a:pt x="542" y="3"/>
                    <a:pt x="542" y="5"/>
                    <a:pt x="541" y="7"/>
                  </a:cubicBezTo>
                  <a:cubicBezTo>
                    <a:pt x="274" y="327"/>
                    <a:pt x="274" y="327"/>
                    <a:pt x="274" y="327"/>
                  </a:cubicBezTo>
                  <a:cubicBezTo>
                    <a:pt x="274" y="327"/>
                    <a:pt x="274" y="328"/>
                    <a:pt x="274" y="328"/>
                  </a:cubicBezTo>
                  <a:cubicBezTo>
                    <a:pt x="141" y="434"/>
                    <a:pt x="141" y="434"/>
                    <a:pt x="141" y="434"/>
                  </a:cubicBezTo>
                  <a:cubicBezTo>
                    <a:pt x="8" y="647"/>
                    <a:pt x="8" y="647"/>
                    <a:pt x="8" y="647"/>
                  </a:cubicBezTo>
                  <a:cubicBezTo>
                    <a:pt x="7" y="648"/>
                    <a:pt x="6" y="649"/>
                    <a:pt x="4" y="649"/>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6" name="Freeform 36"/>
            <p:cNvSpPr/>
            <p:nvPr/>
          </p:nvSpPr>
          <p:spPr bwMode="auto">
            <a:xfrm>
              <a:off x="4036074" y="2565263"/>
              <a:ext cx="1271659" cy="1144593"/>
            </a:xfrm>
            <a:custGeom>
              <a:avLst/>
              <a:gdLst>
                <a:gd name="T0" fmla="*/ 4 w 542"/>
                <a:gd name="T1" fmla="*/ 488 h 488"/>
                <a:gd name="T2" fmla="*/ 2 w 542"/>
                <a:gd name="T3" fmla="*/ 487 h 488"/>
                <a:gd name="T4" fmla="*/ 1 w 542"/>
                <a:gd name="T5" fmla="*/ 482 h 488"/>
                <a:gd name="T6" fmla="*/ 134 w 542"/>
                <a:gd name="T7" fmla="*/ 322 h 488"/>
                <a:gd name="T8" fmla="*/ 135 w 542"/>
                <a:gd name="T9" fmla="*/ 321 h 488"/>
                <a:gd name="T10" fmla="*/ 268 w 542"/>
                <a:gd name="T11" fmla="*/ 215 h 488"/>
                <a:gd name="T12" fmla="*/ 401 w 542"/>
                <a:gd name="T13" fmla="*/ 55 h 488"/>
                <a:gd name="T14" fmla="*/ 403 w 542"/>
                <a:gd name="T15" fmla="*/ 54 h 488"/>
                <a:gd name="T16" fmla="*/ 536 w 542"/>
                <a:gd name="T17" fmla="*/ 1 h 488"/>
                <a:gd name="T18" fmla="*/ 541 w 542"/>
                <a:gd name="T19" fmla="*/ 3 h 488"/>
                <a:gd name="T20" fmla="*/ 539 w 542"/>
                <a:gd name="T21" fmla="*/ 8 h 488"/>
                <a:gd name="T22" fmla="*/ 407 w 542"/>
                <a:gd name="T23" fmla="*/ 61 h 488"/>
                <a:gd name="T24" fmla="*/ 274 w 542"/>
                <a:gd name="T25" fmla="*/ 220 h 488"/>
                <a:gd name="T26" fmla="*/ 273 w 542"/>
                <a:gd name="T27" fmla="*/ 221 h 488"/>
                <a:gd name="T28" fmla="*/ 140 w 542"/>
                <a:gd name="T29" fmla="*/ 327 h 488"/>
                <a:gd name="T30" fmla="*/ 7 w 542"/>
                <a:gd name="T31" fmla="*/ 487 h 488"/>
                <a:gd name="T32" fmla="*/ 4 w 542"/>
                <a:gd name="T33" fmla="*/ 48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488">
                  <a:moveTo>
                    <a:pt x="4" y="488"/>
                  </a:moveTo>
                  <a:cubicBezTo>
                    <a:pt x="3" y="488"/>
                    <a:pt x="2" y="488"/>
                    <a:pt x="2" y="487"/>
                  </a:cubicBezTo>
                  <a:cubicBezTo>
                    <a:pt x="0" y="486"/>
                    <a:pt x="0" y="483"/>
                    <a:pt x="1" y="482"/>
                  </a:cubicBezTo>
                  <a:cubicBezTo>
                    <a:pt x="134" y="322"/>
                    <a:pt x="134" y="322"/>
                    <a:pt x="134" y="322"/>
                  </a:cubicBezTo>
                  <a:cubicBezTo>
                    <a:pt x="135" y="321"/>
                    <a:pt x="135" y="321"/>
                    <a:pt x="135" y="321"/>
                  </a:cubicBezTo>
                  <a:cubicBezTo>
                    <a:pt x="268" y="215"/>
                    <a:pt x="268" y="215"/>
                    <a:pt x="268" y="215"/>
                  </a:cubicBezTo>
                  <a:cubicBezTo>
                    <a:pt x="401" y="55"/>
                    <a:pt x="401" y="55"/>
                    <a:pt x="401" y="55"/>
                  </a:cubicBezTo>
                  <a:cubicBezTo>
                    <a:pt x="401" y="55"/>
                    <a:pt x="402" y="54"/>
                    <a:pt x="403" y="54"/>
                  </a:cubicBezTo>
                  <a:cubicBezTo>
                    <a:pt x="536" y="1"/>
                    <a:pt x="536" y="1"/>
                    <a:pt x="536" y="1"/>
                  </a:cubicBezTo>
                  <a:cubicBezTo>
                    <a:pt x="538" y="0"/>
                    <a:pt x="540" y="1"/>
                    <a:pt x="541" y="3"/>
                  </a:cubicBezTo>
                  <a:cubicBezTo>
                    <a:pt x="542" y="5"/>
                    <a:pt x="541" y="7"/>
                    <a:pt x="539" y="8"/>
                  </a:cubicBezTo>
                  <a:cubicBezTo>
                    <a:pt x="407" y="61"/>
                    <a:pt x="407" y="61"/>
                    <a:pt x="407" y="61"/>
                  </a:cubicBezTo>
                  <a:cubicBezTo>
                    <a:pt x="274" y="220"/>
                    <a:pt x="274" y="220"/>
                    <a:pt x="274" y="220"/>
                  </a:cubicBezTo>
                  <a:cubicBezTo>
                    <a:pt x="274" y="220"/>
                    <a:pt x="273" y="221"/>
                    <a:pt x="273" y="221"/>
                  </a:cubicBezTo>
                  <a:cubicBezTo>
                    <a:pt x="140" y="327"/>
                    <a:pt x="140" y="327"/>
                    <a:pt x="140" y="327"/>
                  </a:cubicBezTo>
                  <a:cubicBezTo>
                    <a:pt x="7" y="487"/>
                    <a:pt x="7" y="487"/>
                    <a:pt x="7" y="487"/>
                  </a:cubicBezTo>
                  <a:cubicBezTo>
                    <a:pt x="6" y="488"/>
                    <a:pt x="5" y="488"/>
                    <a:pt x="4" y="488"/>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7" name="Freeform 37"/>
            <p:cNvSpPr/>
            <p:nvPr/>
          </p:nvSpPr>
          <p:spPr bwMode="auto">
            <a:xfrm>
              <a:off x="4472867" y="2626811"/>
              <a:ext cx="1273644" cy="1396740"/>
            </a:xfrm>
            <a:custGeom>
              <a:avLst/>
              <a:gdLst>
                <a:gd name="T0" fmla="*/ 5 w 543"/>
                <a:gd name="T1" fmla="*/ 596 h 596"/>
                <a:gd name="T2" fmla="*/ 3 w 543"/>
                <a:gd name="T3" fmla="*/ 595 h 596"/>
                <a:gd name="T4" fmla="*/ 1 w 543"/>
                <a:gd name="T5" fmla="*/ 590 h 596"/>
                <a:gd name="T6" fmla="*/ 135 w 543"/>
                <a:gd name="T7" fmla="*/ 350 h 596"/>
                <a:gd name="T8" fmla="*/ 136 w 543"/>
                <a:gd name="T9" fmla="*/ 348 h 596"/>
                <a:gd name="T10" fmla="*/ 269 w 543"/>
                <a:gd name="T11" fmla="*/ 269 h 596"/>
                <a:gd name="T12" fmla="*/ 401 w 543"/>
                <a:gd name="T13" fmla="*/ 56 h 596"/>
                <a:gd name="T14" fmla="*/ 403 w 543"/>
                <a:gd name="T15" fmla="*/ 55 h 596"/>
                <a:gd name="T16" fmla="*/ 537 w 543"/>
                <a:gd name="T17" fmla="*/ 1 h 596"/>
                <a:gd name="T18" fmla="*/ 542 w 543"/>
                <a:gd name="T19" fmla="*/ 3 h 596"/>
                <a:gd name="T20" fmla="*/ 540 w 543"/>
                <a:gd name="T21" fmla="*/ 9 h 596"/>
                <a:gd name="T22" fmla="*/ 407 w 543"/>
                <a:gd name="T23" fmla="*/ 61 h 596"/>
                <a:gd name="T24" fmla="*/ 275 w 543"/>
                <a:gd name="T25" fmla="*/ 274 h 596"/>
                <a:gd name="T26" fmla="*/ 273 w 543"/>
                <a:gd name="T27" fmla="*/ 275 h 596"/>
                <a:gd name="T28" fmla="*/ 141 w 543"/>
                <a:gd name="T29" fmla="*/ 354 h 596"/>
                <a:gd name="T30" fmla="*/ 8 w 543"/>
                <a:gd name="T31" fmla="*/ 594 h 596"/>
                <a:gd name="T32" fmla="*/ 5 w 543"/>
                <a:gd name="T33"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3" h="596">
                  <a:moveTo>
                    <a:pt x="5" y="596"/>
                  </a:moveTo>
                  <a:cubicBezTo>
                    <a:pt x="4" y="596"/>
                    <a:pt x="3" y="595"/>
                    <a:pt x="3" y="595"/>
                  </a:cubicBezTo>
                  <a:cubicBezTo>
                    <a:pt x="1" y="594"/>
                    <a:pt x="0" y="592"/>
                    <a:pt x="1" y="590"/>
                  </a:cubicBezTo>
                  <a:cubicBezTo>
                    <a:pt x="135" y="350"/>
                    <a:pt x="135" y="350"/>
                    <a:pt x="135" y="350"/>
                  </a:cubicBezTo>
                  <a:cubicBezTo>
                    <a:pt x="135" y="349"/>
                    <a:pt x="135" y="349"/>
                    <a:pt x="136" y="348"/>
                  </a:cubicBezTo>
                  <a:cubicBezTo>
                    <a:pt x="269" y="269"/>
                    <a:pt x="269" y="269"/>
                    <a:pt x="269" y="269"/>
                  </a:cubicBezTo>
                  <a:cubicBezTo>
                    <a:pt x="401" y="56"/>
                    <a:pt x="401" y="56"/>
                    <a:pt x="401" y="56"/>
                  </a:cubicBezTo>
                  <a:cubicBezTo>
                    <a:pt x="402" y="55"/>
                    <a:pt x="402" y="55"/>
                    <a:pt x="403" y="55"/>
                  </a:cubicBezTo>
                  <a:cubicBezTo>
                    <a:pt x="537" y="1"/>
                    <a:pt x="537" y="1"/>
                    <a:pt x="537" y="1"/>
                  </a:cubicBezTo>
                  <a:cubicBezTo>
                    <a:pt x="539" y="0"/>
                    <a:pt x="541" y="1"/>
                    <a:pt x="542" y="3"/>
                  </a:cubicBezTo>
                  <a:cubicBezTo>
                    <a:pt x="543" y="5"/>
                    <a:pt x="542" y="8"/>
                    <a:pt x="540" y="9"/>
                  </a:cubicBezTo>
                  <a:cubicBezTo>
                    <a:pt x="407" y="61"/>
                    <a:pt x="407" y="61"/>
                    <a:pt x="407" y="61"/>
                  </a:cubicBezTo>
                  <a:cubicBezTo>
                    <a:pt x="275" y="274"/>
                    <a:pt x="275" y="274"/>
                    <a:pt x="275" y="274"/>
                  </a:cubicBezTo>
                  <a:cubicBezTo>
                    <a:pt x="274" y="274"/>
                    <a:pt x="274" y="275"/>
                    <a:pt x="273" y="275"/>
                  </a:cubicBezTo>
                  <a:cubicBezTo>
                    <a:pt x="141" y="354"/>
                    <a:pt x="141" y="354"/>
                    <a:pt x="141" y="354"/>
                  </a:cubicBezTo>
                  <a:cubicBezTo>
                    <a:pt x="8" y="594"/>
                    <a:pt x="8" y="594"/>
                    <a:pt x="8" y="594"/>
                  </a:cubicBezTo>
                  <a:cubicBezTo>
                    <a:pt x="8" y="595"/>
                    <a:pt x="6" y="596"/>
                    <a:pt x="5" y="596"/>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9" name="Freeform 39"/>
            <p:cNvSpPr>
              <a:spLocks noEditPoints="1"/>
            </p:cNvSpPr>
            <p:nvPr/>
          </p:nvSpPr>
          <p:spPr bwMode="auto">
            <a:xfrm>
              <a:off x="3605240" y="3639373"/>
              <a:ext cx="18862" cy="468558"/>
            </a:xfrm>
            <a:custGeom>
              <a:avLst/>
              <a:gdLst>
                <a:gd name="T0" fmla="*/ 19 w 19"/>
                <a:gd name="T1" fmla="*/ 472 h 472"/>
                <a:gd name="T2" fmla="*/ 0 w 19"/>
                <a:gd name="T3" fmla="*/ 472 h 472"/>
                <a:gd name="T4" fmla="*/ 0 w 19"/>
                <a:gd name="T5" fmla="*/ 453 h 472"/>
                <a:gd name="T6" fmla="*/ 19 w 19"/>
                <a:gd name="T7" fmla="*/ 453 h 472"/>
                <a:gd name="T8" fmla="*/ 19 w 19"/>
                <a:gd name="T9" fmla="*/ 472 h 472"/>
                <a:gd name="T10" fmla="*/ 19 w 19"/>
                <a:gd name="T11" fmla="*/ 416 h 472"/>
                <a:gd name="T12" fmla="*/ 0 w 19"/>
                <a:gd name="T13" fmla="*/ 416 h 472"/>
                <a:gd name="T14" fmla="*/ 0 w 19"/>
                <a:gd name="T15" fmla="*/ 397 h 472"/>
                <a:gd name="T16" fmla="*/ 19 w 19"/>
                <a:gd name="T17" fmla="*/ 397 h 472"/>
                <a:gd name="T18" fmla="*/ 19 w 19"/>
                <a:gd name="T19" fmla="*/ 416 h 472"/>
                <a:gd name="T20" fmla="*/ 19 w 19"/>
                <a:gd name="T21" fmla="*/ 359 h 472"/>
                <a:gd name="T22" fmla="*/ 0 w 19"/>
                <a:gd name="T23" fmla="*/ 359 h 472"/>
                <a:gd name="T24" fmla="*/ 0 w 19"/>
                <a:gd name="T25" fmla="*/ 340 h 472"/>
                <a:gd name="T26" fmla="*/ 19 w 19"/>
                <a:gd name="T27" fmla="*/ 340 h 472"/>
                <a:gd name="T28" fmla="*/ 19 w 19"/>
                <a:gd name="T29" fmla="*/ 359 h 472"/>
                <a:gd name="T30" fmla="*/ 19 w 19"/>
                <a:gd name="T31" fmla="*/ 302 h 472"/>
                <a:gd name="T32" fmla="*/ 0 w 19"/>
                <a:gd name="T33" fmla="*/ 302 h 472"/>
                <a:gd name="T34" fmla="*/ 0 w 19"/>
                <a:gd name="T35" fmla="*/ 283 h 472"/>
                <a:gd name="T36" fmla="*/ 19 w 19"/>
                <a:gd name="T37" fmla="*/ 283 h 472"/>
                <a:gd name="T38" fmla="*/ 19 w 19"/>
                <a:gd name="T39" fmla="*/ 302 h 472"/>
                <a:gd name="T40" fmla="*/ 19 w 19"/>
                <a:gd name="T41" fmla="*/ 246 h 472"/>
                <a:gd name="T42" fmla="*/ 0 w 19"/>
                <a:gd name="T43" fmla="*/ 246 h 472"/>
                <a:gd name="T44" fmla="*/ 0 w 19"/>
                <a:gd name="T45" fmla="*/ 227 h 472"/>
                <a:gd name="T46" fmla="*/ 19 w 19"/>
                <a:gd name="T47" fmla="*/ 227 h 472"/>
                <a:gd name="T48" fmla="*/ 19 w 19"/>
                <a:gd name="T49" fmla="*/ 246 h 472"/>
                <a:gd name="T50" fmla="*/ 19 w 19"/>
                <a:gd name="T51" fmla="*/ 189 h 472"/>
                <a:gd name="T52" fmla="*/ 0 w 19"/>
                <a:gd name="T53" fmla="*/ 189 h 472"/>
                <a:gd name="T54" fmla="*/ 0 w 19"/>
                <a:gd name="T55" fmla="*/ 170 h 472"/>
                <a:gd name="T56" fmla="*/ 19 w 19"/>
                <a:gd name="T57" fmla="*/ 170 h 472"/>
                <a:gd name="T58" fmla="*/ 19 w 19"/>
                <a:gd name="T59" fmla="*/ 189 h 472"/>
                <a:gd name="T60" fmla="*/ 19 w 19"/>
                <a:gd name="T61" fmla="*/ 132 h 472"/>
                <a:gd name="T62" fmla="*/ 0 w 19"/>
                <a:gd name="T63" fmla="*/ 132 h 472"/>
                <a:gd name="T64" fmla="*/ 0 w 19"/>
                <a:gd name="T65" fmla="*/ 113 h 472"/>
                <a:gd name="T66" fmla="*/ 19 w 19"/>
                <a:gd name="T67" fmla="*/ 113 h 472"/>
                <a:gd name="T68" fmla="*/ 19 w 19"/>
                <a:gd name="T69" fmla="*/ 132 h 472"/>
                <a:gd name="T70" fmla="*/ 19 w 19"/>
                <a:gd name="T71" fmla="*/ 76 h 472"/>
                <a:gd name="T72" fmla="*/ 0 w 19"/>
                <a:gd name="T73" fmla="*/ 76 h 472"/>
                <a:gd name="T74" fmla="*/ 0 w 19"/>
                <a:gd name="T75" fmla="*/ 57 h 472"/>
                <a:gd name="T76" fmla="*/ 19 w 19"/>
                <a:gd name="T77" fmla="*/ 57 h 472"/>
                <a:gd name="T78" fmla="*/ 19 w 19"/>
                <a:gd name="T79" fmla="*/ 76 h 472"/>
                <a:gd name="T80" fmla="*/ 19 w 19"/>
                <a:gd name="T81" fmla="*/ 19 h 472"/>
                <a:gd name="T82" fmla="*/ 0 w 19"/>
                <a:gd name="T83" fmla="*/ 19 h 472"/>
                <a:gd name="T84" fmla="*/ 0 w 19"/>
                <a:gd name="T85" fmla="*/ 0 h 472"/>
                <a:gd name="T86" fmla="*/ 19 w 19"/>
                <a:gd name="T87" fmla="*/ 0 h 472"/>
                <a:gd name="T88" fmla="*/ 19 w 19"/>
                <a:gd name="T89" fmla="*/ 19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472">
                  <a:moveTo>
                    <a:pt x="19" y="472"/>
                  </a:moveTo>
                  <a:lnTo>
                    <a:pt x="0" y="472"/>
                  </a:lnTo>
                  <a:lnTo>
                    <a:pt x="0" y="453"/>
                  </a:lnTo>
                  <a:lnTo>
                    <a:pt x="19" y="453"/>
                  </a:lnTo>
                  <a:lnTo>
                    <a:pt x="19" y="472"/>
                  </a:lnTo>
                  <a:close/>
                  <a:moveTo>
                    <a:pt x="19" y="416"/>
                  </a:moveTo>
                  <a:lnTo>
                    <a:pt x="0" y="416"/>
                  </a:lnTo>
                  <a:lnTo>
                    <a:pt x="0" y="397"/>
                  </a:lnTo>
                  <a:lnTo>
                    <a:pt x="19" y="397"/>
                  </a:lnTo>
                  <a:lnTo>
                    <a:pt x="19" y="416"/>
                  </a:lnTo>
                  <a:close/>
                  <a:moveTo>
                    <a:pt x="19" y="359"/>
                  </a:moveTo>
                  <a:lnTo>
                    <a:pt x="0" y="359"/>
                  </a:lnTo>
                  <a:lnTo>
                    <a:pt x="0" y="340"/>
                  </a:lnTo>
                  <a:lnTo>
                    <a:pt x="19" y="340"/>
                  </a:lnTo>
                  <a:lnTo>
                    <a:pt x="19" y="359"/>
                  </a:lnTo>
                  <a:close/>
                  <a:moveTo>
                    <a:pt x="19" y="302"/>
                  </a:moveTo>
                  <a:lnTo>
                    <a:pt x="0" y="302"/>
                  </a:lnTo>
                  <a:lnTo>
                    <a:pt x="0" y="283"/>
                  </a:lnTo>
                  <a:lnTo>
                    <a:pt x="19" y="283"/>
                  </a:lnTo>
                  <a:lnTo>
                    <a:pt x="19" y="302"/>
                  </a:lnTo>
                  <a:close/>
                  <a:moveTo>
                    <a:pt x="19" y="246"/>
                  </a:moveTo>
                  <a:lnTo>
                    <a:pt x="0" y="246"/>
                  </a:lnTo>
                  <a:lnTo>
                    <a:pt x="0" y="227"/>
                  </a:lnTo>
                  <a:lnTo>
                    <a:pt x="19" y="227"/>
                  </a:lnTo>
                  <a:lnTo>
                    <a:pt x="19" y="246"/>
                  </a:lnTo>
                  <a:close/>
                  <a:moveTo>
                    <a:pt x="19" y="189"/>
                  </a:moveTo>
                  <a:lnTo>
                    <a:pt x="0" y="189"/>
                  </a:lnTo>
                  <a:lnTo>
                    <a:pt x="0" y="170"/>
                  </a:lnTo>
                  <a:lnTo>
                    <a:pt x="19" y="170"/>
                  </a:lnTo>
                  <a:lnTo>
                    <a:pt x="19" y="189"/>
                  </a:lnTo>
                  <a:close/>
                  <a:moveTo>
                    <a:pt x="19" y="132"/>
                  </a:moveTo>
                  <a:lnTo>
                    <a:pt x="0" y="132"/>
                  </a:lnTo>
                  <a:lnTo>
                    <a:pt x="0" y="113"/>
                  </a:lnTo>
                  <a:lnTo>
                    <a:pt x="19" y="113"/>
                  </a:lnTo>
                  <a:lnTo>
                    <a:pt x="19" y="132"/>
                  </a:lnTo>
                  <a:close/>
                  <a:moveTo>
                    <a:pt x="19" y="76"/>
                  </a:moveTo>
                  <a:lnTo>
                    <a:pt x="0" y="76"/>
                  </a:lnTo>
                  <a:lnTo>
                    <a:pt x="0" y="57"/>
                  </a:lnTo>
                  <a:lnTo>
                    <a:pt x="19" y="57"/>
                  </a:lnTo>
                  <a:lnTo>
                    <a:pt x="19" y="76"/>
                  </a:lnTo>
                  <a:close/>
                  <a:moveTo>
                    <a:pt x="19" y="19"/>
                  </a:moveTo>
                  <a:lnTo>
                    <a:pt x="0" y="19"/>
                  </a:lnTo>
                  <a:lnTo>
                    <a:pt x="0" y="0"/>
                  </a:lnTo>
                  <a:lnTo>
                    <a:pt x="19" y="0"/>
                  </a:lnTo>
                  <a:lnTo>
                    <a:pt x="19" y="19"/>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40" name="Freeform 40"/>
            <p:cNvSpPr>
              <a:spLocks noEditPoints="1"/>
            </p:cNvSpPr>
            <p:nvPr/>
          </p:nvSpPr>
          <p:spPr bwMode="auto">
            <a:xfrm>
              <a:off x="3352099" y="1709549"/>
              <a:ext cx="17869" cy="748502"/>
            </a:xfrm>
            <a:custGeom>
              <a:avLst/>
              <a:gdLst>
                <a:gd name="T0" fmla="*/ 0 w 18"/>
                <a:gd name="T1" fmla="*/ 754 h 754"/>
                <a:gd name="T2" fmla="*/ 18 w 18"/>
                <a:gd name="T3" fmla="*/ 737 h 754"/>
                <a:gd name="T4" fmla="*/ 18 w 18"/>
                <a:gd name="T5" fmla="*/ 699 h 754"/>
                <a:gd name="T6" fmla="*/ 0 w 18"/>
                <a:gd name="T7" fmla="*/ 680 h 754"/>
                <a:gd name="T8" fmla="*/ 18 w 18"/>
                <a:gd name="T9" fmla="*/ 699 h 754"/>
                <a:gd name="T10" fmla="*/ 0 w 18"/>
                <a:gd name="T11" fmla="*/ 643 h 754"/>
                <a:gd name="T12" fmla="*/ 18 w 18"/>
                <a:gd name="T13" fmla="*/ 624 h 754"/>
                <a:gd name="T14" fmla="*/ 18 w 18"/>
                <a:gd name="T15" fmla="*/ 586 h 754"/>
                <a:gd name="T16" fmla="*/ 0 w 18"/>
                <a:gd name="T17" fmla="*/ 567 h 754"/>
                <a:gd name="T18" fmla="*/ 18 w 18"/>
                <a:gd name="T19" fmla="*/ 586 h 754"/>
                <a:gd name="T20" fmla="*/ 0 w 18"/>
                <a:gd name="T21" fmla="*/ 529 h 754"/>
                <a:gd name="T22" fmla="*/ 18 w 18"/>
                <a:gd name="T23" fmla="*/ 510 h 754"/>
                <a:gd name="T24" fmla="*/ 18 w 18"/>
                <a:gd name="T25" fmla="*/ 473 h 754"/>
                <a:gd name="T26" fmla="*/ 0 w 18"/>
                <a:gd name="T27" fmla="*/ 454 h 754"/>
                <a:gd name="T28" fmla="*/ 18 w 18"/>
                <a:gd name="T29" fmla="*/ 473 h 754"/>
                <a:gd name="T30" fmla="*/ 0 w 18"/>
                <a:gd name="T31" fmla="*/ 416 h 754"/>
                <a:gd name="T32" fmla="*/ 18 w 18"/>
                <a:gd name="T33" fmla="*/ 397 h 754"/>
                <a:gd name="T34" fmla="*/ 18 w 18"/>
                <a:gd name="T35" fmla="*/ 359 h 754"/>
                <a:gd name="T36" fmla="*/ 0 w 18"/>
                <a:gd name="T37" fmla="*/ 340 h 754"/>
                <a:gd name="T38" fmla="*/ 18 w 18"/>
                <a:gd name="T39" fmla="*/ 359 h 754"/>
                <a:gd name="T40" fmla="*/ 0 w 18"/>
                <a:gd name="T41" fmla="*/ 303 h 754"/>
                <a:gd name="T42" fmla="*/ 18 w 18"/>
                <a:gd name="T43" fmla="*/ 284 h 754"/>
                <a:gd name="T44" fmla="*/ 18 w 18"/>
                <a:gd name="T45" fmla="*/ 246 h 754"/>
                <a:gd name="T46" fmla="*/ 0 w 18"/>
                <a:gd name="T47" fmla="*/ 227 h 754"/>
                <a:gd name="T48" fmla="*/ 18 w 18"/>
                <a:gd name="T49" fmla="*/ 246 h 754"/>
                <a:gd name="T50" fmla="*/ 0 w 18"/>
                <a:gd name="T51" fmla="*/ 189 h 754"/>
                <a:gd name="T52" fmla="*/ 18 w 18"/>
                <a:gd name="T53" fmla="*/ 170 h 754"/>
                <a:gd name="T54" fmla="*/ 18 w 18"/>
                <a:gd name="T55" fmla="*/ 132 h 754"/>
                <a:gd name="T56" fmla="*/ 0 w 18"/>
                <a:gd name="T57" fmla="*/ 114 h 754"/>
                <a:gd name="T58" fmla="*/ 18 w 18"/>
                <a:gd name="T59" fmla="*/ 132 h 754"/>
                <a:gd name="T60" fmla="*/ 0 w 18"/>
                <a:gd name="T61" fmla="*/ 76 h 754"/>
                <a:gd name="T62" fmla="*/ 18 w 18"/>
                <a:gd name="T63" fmla="*/ 57 h 754"/>
                <a:gd name="T64" fmla="*/ 18 w 18"/>
                <a:gd name="T65" fmla="*/ 19 h 754"/>
                <a:gd name="T66" fmla="*/ 0 w 18"/>
                <a:gd name="T67" fmla="*/ 0 h 754"/>
                <a:gd name="T68" fmla="*/ 18 w 18"/>
                <a:gd name="T69" fmla="*/ 1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754">
                  <a:moveTo>
                    <a:pt x="18" y="754"/>
                  </a:moveTo>
                  <a:lnTo>
                    <a:pt x="0" y="754"/>
                  </a:lnTo>
                  <a:lnTo>
                    <a:pt x="0" y="737"/>
                  </a:lnTo>
                  <a:lnTo>
                    <a:pt x="18" y="737"/>
                  </a:lnTo>
                  <a:lnTo>
                    <a:pt x="18" y="754"/>
                  </a:lnTo>
                  <a:close/>
                  <a:moveTo>
                    <a:pt x="18" y="699"/>
                  </a:moveTo>
                  <a:lnTo>
                    <a:pt x="0" y="699"/>
                  </a:lnTo>
                  <a:lnTo>
                    <a:pt x="0" y="680"/>
                  </a:lnTo>
                  <a:lnTo>
                    <a:pt x="18" y="680"/>
                  </a:lnTo>
                  <a:lnTo>
                    <a:pt x="18" y="699"/>
                  </a:lnTo>
                  <a:close/>
                  <a:moveTo>
                    <a:pt x="18" y="643"/>
                  </a:moveTo>
                  <a:lnTo>
                    <a:pt x="0" y="643"/>
                  </a:lnTo>
                  <a:lnTo>
                    <a:pt x="0" y="624"/>
                  </a:lnTo>
                  <a:lnTo>
                    <a:pt x="18" y="624"/>
                  </a:lnTo>
                  <a:lnTo>
                    <a:pt x="18" y="643"/>
                  </a:lnTo>
                  <a:close/>
                  <a:moveTo>
                    <a:pt x="18" y="586"/>
                  </a:moveTo>
                  <a:lnTo>
                    <a:pt x="0" y="586"/>
                  </a:lnTo>
                  <a:lnTo>
                    <a:pt x="0" y="567"/>
                  </a:lnTo>
                  <a:lnTo>
                    <a:pt x="18" y="567"/>
                  </a:lnTo>
                  <a:lnTo>
                    <a:pt x="18" y="586"/>
                  </a:lnTo>
                  <a:close/>
                  <a:moveTo>
                    <a:pt x="18" y="529"/>
                  </a:moveTo>
                  <a:lnTo>
                    <a:pt x="0" y="529"/>
                  </a:lnTo>
                  <a:lnTo>
                    <a:pt x="0" y="510"/>
                  </a:lnTo>
                  <a:lnTo>
                    <a:pt x="18" y="510"/>
                  </a:lnTo>
                  <a:lnTo>
                    <a:pt x="18" y="529"/>
                  </a:lnTo>
                  <a:close/>
                  <a:moveTo>
                    <a:pt x="18" y="473"/>
                  </a:moveTo>
                  <a:lnTo>
                    <a:pt x="0" y="473"/>
                  </a:lnTo>
                  <a:lnTo>
                    <a:pt x="0" y="454"/>
                  </a:lnTo>
                  <a:lnTo>
                    <a:pt x="18" y="454"/>
                  </a:lnTo>
                  <a:lnTo>
                    <a:pt x="18" y="473"/>
                  </a:lnTo>
                  <a:close/>
                  <a:moveTo>
                    <a:pt x="18" y="416"/>
                  </a:moveTo>
                  <a:lnTo>
                    <a:pt x="0" y="416"/>
                  </a:lnTo>
                  <a:lnTo>
                    <a:pt x="0" y="397"/>
                  </a:lnTo>
                  <a:lnTo>
                    <a:pt x="18" y="397"/>
                  </a:lnTo>
                  <a:lnTo>
                    <a:pt x="18" y="416"/>
                  </a:lnTo>
                  <a:close/>
                  <a:moveTo>
                    <a:pt x="18" y="359"/>
                  </a:moveTo>
                  <a:lnTo>
                    <a:pt x="0" y="359"/>
                  </a:lnTo>
                  <a:lnTo>
                    <a:pt x="0" y="340"/>
                  </a:lnTo>
                  <a:lnTo>
                    <a:pt x="18" y="340"/>
                  </a:lnTo>
                  <a:lnTo>
                    <a:pt x="18" y="359"/>
                  </a:lnTo>
                  <a:close/>
                  <a:moveTo>
                    <a:pt x="18" y="303"/>
                  </a:moveTo>
                  <a:lnTo>
                    <a:pt x="0" y="303"/>
                  </a:lnTo>
                  <a:lnTo>
                    <a:pt x="0" y="284"/>
                  </a:lnTo>
                  <a:lnTo>
                    <a:pt x="18" y="284"/>
                  </a:lnTo>
                  <a:lnTo>
                    <a:pt x="18" y="303"/>
                  </a:lnTo>
                  <a:close/>
                  <a:moveTo>
                    <a:pt x="18" y="246"/>
                  </a:moveTo>
                  <a:lnTo>
                    <a:pt x="0" y="246"/>
                  </a:lnTo>
                  <a:lnTo>
                    <a:pt x="0" y="227"/>
                  </a:lnTo>
                  <a:lnTo>
                    <a:pt x="18" y="227"/>
                  </a:lnTo>
                  <a:lnTo>
                    <a:pt x="18" y="246"/>
                  </a:lnTo>
                  <a:close/>
                  <a:moveTo>
                    <a:pt x="18" y="189"/>
                  </a:moveTo>
                  <a:lnTo>
                    <a:pt x="0" y="189"/>
                  </a:lnTo>
                  <a:lnTo>
                    <a:pt x="0" y="170"/>
                  </a:lnTo>
                  <a:lnTo>
                    <a:pt x="18" y="170"/>
                  </a:lnTo>
                  <a:lnTo>
                    <a:pt x="18" y="189"/>
                  </a:lnTo>
                  <a:close/>
                  <a:moveTo>
                    <a:pt x="18" y="132"/>
                  </a:moveTo>
                  <a:lnTo>
                    <a:pt x="0" y="132"/>
                  </a:lnTo>
                  <a:lnTo>
                    <a:pt x="0" y="114"/>
                  </a:lnTo>
                  <a:lnTo>
                    <a:pt x="18" y="114"/>
                  </a:lnTo>
                  <a:lnTo>
                    <a:pt x="18" y="132"/>
                  </a:lnTo>
                  <a:close/>
                  <a:moveTo>
                    <a:pt x="18" y="76"/>
                  </a:moveTo>
                  <a:lnTo>
                    <a:pt x="0" y="76"/>
                  </a:lnTo>
                  <a:lnTo>
                    <a:pt x="0" y="57"/>
                  </a:lnTo>
                  <a:lnTo>
                    <a:pt x="18" y="57"/>
                  </a:lnTo>
                  <a:lnTo>
                    <a:pt x="18" y="76"/>
                  </a:lnTo>
                  <a:close/>
                  <a:moveTo>
                    <a:pt x="18" y="19"/>
                  </a:moveTo>
                  <a:lnTo>
                    <a:pt x="0" y="19"/>
                  </a:lnTo>
                  <a:lnTo>
                    <a:pt x="0" y="0"/>
                  </a:lnTo>
                  <a:lnTo>
                    <a:pt x="18" y="0"/>
                  </a:lnTo>
                  <a:lnTo>
                    <a:pt x="18" y="19"/>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41" name="Freeform 41"/>
            <p:cNvSpPr>
              <a:spLocks noEditPoints="1"/>
            </p:cNvSpPr>
            <p:nvPr/>
          </p:nvSpPr>
          <p:spPr bwMode="auto">
            <a:xfrm>
              <a:off x="4841161" y="1723446"/>
              <a:ext cx="18862" cy="412966"/>
            </a:xfrm>
            <a:custGeom>
              <a:avLst/>
              <a:gdLst>
                <a:gd name="T0" fmla="*/ 19 w 19"/>
                <a:gd name="T1" fmla="*/ 416 h 416"/>
                <a:gd name="T2" fmla="*/ 0 w 19"/>
                <a:gd name="T3" fmla="*/ 416 h 416"/>
                <a:gd name="T4" fmla="*/ 0 w 19"/>
                <a:gd name="T5" fmla="*/ 397 h 416"/>
                <a:gd name="T6" fmla="*/ 19 w 19"/>
                <a:gd name="T7" fmla="*/ 397 h 416"/>
                <a:gd name="T8" fmla="*/ 19 w 19"/>
                <a:gd name="T9" fmla="*/ 416 h 416"/>
                <a:gd name="T10" fmla="*/ 19 w 19"/>
                <a:gd name="T11" fmla="*/ 359 h 416"/>
                <a:gd name="T12" fmla="*/ 0 w 19"/>
                <a:gd name="T13" fmla="*/ 359 h 416"/>
                <a:gd name="T14" fmla="*/ 0 w 19"/>
                <a:gd name="T15" fmla="*/ 340 h 416"/>
                <a:gd name="T16" fmla="*/ 19 w 19"/>
                <a:gd name="T17" fmla="*/ 340 h 416"/>
                <a:gd name="T18" fmla="*/ 19 w 19"/>
                <a:gd name="T19" fmla="*/ 359 h 416"/>
                <a:gd name="T20" fmla="*/ 19 w 19"/>
                <a:gd name="T21" fmla="*/ 303 h 416"/>
                <a:gd name="T22" fmla="*/ 0 w 19"/>
                <a:gd name="T23" fmla="*/ 303 h 416"/>
                <a:gd name="T24" fmla="*/ 0 w 19"/>
                <a:gd name="T25" fmla="*/ 284 h 416"/>
                <a:gd name="T26" fmla="*/ 19 w 19"/>
                <a:gd name="T27" fmla="*/ 284 h 416"/>
                <a:gd name="T28" fmla="*/ 19 w 19"/>
                <a:gd name="T29" fmla="*/ 303 h 416"/>
                <a:gd name="T30" fmla="*/ 19 w 19"/>
                <a:gd name="T31" fmla="*/ 246 h 416"/>
                <a:gd name="T32" fmla="*/ 0 w 19"/>
                <a:gd name="T33" fmla="*/ 246 h 416"/>
                <a:gd name="T34" fmla="*/ 0 w 19"/>
                <a:gd name="T35" fmla="*/ 227 h 416"/>
                <a:gd name="T36" fmla="*/ 19 w 19"/>
                <a:gd name="T37" fmla="*/ 227 h 416"/>
                <a:gd name="T38" fmla="*/ 19 w 19"/>
                <a:gd name="T39" fmla="*/ 246 h 416"/>
                <a:gd name="T40" fmla="*/ 19 w 19"/>
                <a:gd name="T41" fmla="*/ 189 h 416"/>
                <a:gd name="T42" fmla="*/ 0 w 19"/>
                <a:gd name="T43" fmla="*/ 189 h 416"/>
                <a:gd name="T44" fmla="*/ 0 w 19"/>
                <a:gd name="T45" fmla="*/ 170 h 416"/>
                <a:gd name="T46" fmla="*/ 19 w 19"/>
                <a:gd name="T47" fmla="*/ 170 h 416"/>
                <a:gd name="T48" fmla="*/ 19 w 19"/>
                <a:gd name="T49" fmla="*/ 189 h 416"/>
                <a:gd name="T50" fmla="*/ 19 w 19"/>
                <a:gd name="T51" fmla="*/ 133 h 416"/>
                <a:gd name="T52" fmla="*/ 0 w 19"/>
                <a:gd name="T53" fmla="*/ 133 h 416"/>
                <a:gd name="T54" fmla="*/ 0 w 19"/>
                <a:gd name="T55" fmla="*/ 114 h 416"/>
                <a:gd name="T56" fmla="*/ 19 w 19"/>
                <a:gd name="T57" fmla="*/ 114 h 416"/>
                <a:gd name="T58" fmla="*/ 19 w 19"/>
                <a:gd name="T59" fmla="*/ 133 h 416"/>
                <a:gd name="T60" fmla="*/ 19 w 19"/>
                <a:gd name="T61" fmla="*/ 76 h 416"/>
                <a:gd name="T62" fmla="*/ 0 w 19"/>
                <a:gd name="T63" fmla="*/ 76 h 416"/>
                <a:gd name="T64" fmla="*/ 0 w 19"/>
                <a:gd name="T65" fmla="*/ 57 h 416"/>
                <a:gd name="T66" fmla="*/ 19 w 19"/>
                <a:gd name="T67" fmla="*/ 57 h 416"/>
                <a:gd name="T68" fmla="*/ 19 w 19"/>
                <a:gd name="T69" fmla="*/ 76 h 416"/>
                <a:gd name="T70" fmla="*/ 19 w 19"/>
                <a:gd name="T71" fmla="*/ 19 h 416"/>
                <a:gd name="T72" fmla="*/ 0 w 19"/>
                <a:gd name="T73" fmla="*/ 19 h 416"/>
                <a:gd name="T74" fmla="*/ 0 w 19"/>
                <a:gd name="T75" fmla="*/ 0 h 416"/>
                <a:gd name="T76" fmla="*/ 19 w 19"/>
                <a:gd name="T77" fmla="*/ 0 h 416"/>
                <a:gd name="T78" fmla="*/ 19 w 19"/>
                <a:gd name="T79" fmla="*/ 19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 h="416">
                  <a:moveTo>
                    <a:pt x="19" y="416"/>
                  </a:moveTo>
                  <a:lnTo>
                    <a:pt x="0" y="416"/>
                  </a:lnTo>
                  <a:lnTo>
                    <a:pt x="0" y="397"/>
                  </a:lnTo>
                  <a:lnTo>
                    <a:pt x="19" y="397"/>
                  </a:lnTo>
                  <a:lnTo>
                    <a:pt x="19" y="416"/>
                  </a:lnTo>
                  <a:close/>
                  <a:moveTo>
                    <a:pt x="19" y="359"/>
                  </a:moveTo>
                  <a:lnTo>
                    <a:pt x="0" y="359"/>
                  </a:lnTo>
                  <a:lnTo>
                    <a:pt x="0" y="340"/>
                  </a:lnTo>
                  <a:lnTo>
                    <a:pt x="19" y="340"/>
                  </a:lnTo>
                  <a:lnTo>
                    <a:pt x="19" y="359"/>
                  </a:lnTo>
                  <a:close/>
                  <a:moveTo>
                    <a:pt x="19" y="303"/>
                  </a:moveTo>
                  <a:lnTo>
                    <a:pt x="0" y="303"/>
                  </a:lnTo>
                  <a:lnTo>
                    <a:pt x="0" y="284"/>
                  </a:lnTo>
                  <a:lnTo>
                    <a:pt x="19" y="284"/>
                  </a:lnTo>
                  <a:lnTo>
                    <a:pt x="19" y="303"/>
                  </a:lnTo>
                  <a:close/>
                  <a:moveTo>
                    <a:pt x="19" y="246"/>
                  </a:moveTo>
                  <a:lnTo>
                    <a:pt x="0" y="246"/>
                  </a:lnTo>
                  <a:lnTo>
                    <a:pt x="0" y="227"/>
                  </a:lnTo>
                  <a:lnTo>
                    <a:pt x="19" y="227"/>
                  </a:lnTo>
                  <a:lnTo>
                    <a:pt x="19" y="246"/>
                  </a:lnTo>
                  <a:close/>
                  <a:moveTo>
                    <a:pt x="19" y="189"/>
                  </a:moveTo>
                  <a:lnTo>
                    <a:pt x="0" y="189"/>
                  </a:lnTo>
                  <a:lnTo>
                    <a:pt x="0" y="170"/>
                  </a:lnTo>
                  <a:lnTo>
                    <a:pt x="19" y="170"/>
                  </a:lnTo>
                  <a:lnTo>
                    <a:pt x="19" y="189"/>
                  </a:lnTo>
                  <a:close/>
                  <a:moveTo>
                    <a:pt x="19" y="133"/>
                  </a:moveTo>
                  <a:lnTo>
                    <a:pt x="0" y="133"/>
                  </a:lnTo>
                  <a:lnTo>
                    <a:pt x="0" y="114"/>
                  </a:lnTo>
                  <a:lnTo>
                    <a:pt x="19" y="114"/>
                  </a:lnTo>
                  <a:lnTo>
                    <a:pt x="19" y="133"/>
                  </a:lnTo>
                  <a:close/>
                  <a:moveTo>
                    <a:pt x="19" y="76"/>
                  </a:moveTo>
                  <a:lnTo>
                    <a:pt x="0" y="76"/>
                  </a:lnTo>
                  <a:lnTo>
                    <a:pt x="0" y="57"/>
                  </a:lnTo>
                  <a:lnTo>
                    <a:pt x="19" y="57"/>
                  </a:lnTo>
                  <a:lnTo>
                    <a:pt x="19" y="76"/>
                  </a:lnTo>
                  <a:close/>
                  <a:moveTo>
                    <a:pt x="19" y="19"/>
                  </a:moveTo>
                  <a:lnTo>
                    <a:pt x="0" y="19"/>
                  </a:lnTo>
                  <a:lnTo>
                    <a:pt x="0" y="0"/>
                  </a:lnTo>
                  <a:lnTo>
                    <a:pt x="19" y="0"/>
                  </a:lnTo>
                  <a:lnTo>
                    <a:pt x="19" y="19"/>
                  </a:lnTo>
                  <a:close/>
                </a:path>
              </a:pathLst>
            </a:custGeom>
            <a:solidFill>
              <a:srgbClr val="990099"/>
            </a:solidFill>
            <a:ln>
              <a:noFill/>
            </a:ln>
          </p:spPr>
          <p:txBody>
            <a:bodyPr vert="horz" wrap="square" lIns="91440" tIns="45720" rIns="91440" bIns="45720" numCol="1" anchor="t" anchorCtr="0" compatLnSpc="1"/>
            <a:lstStyle/>
            <a:p>
              <a:endParaRPr lang="zh-CN" altLang="en-US">
                <a:solidFill>
                  <a:srgbClr val="800080"/>
                </a:solidFill>
              </a:endParaRPr>
            </a:p>
          </p:txBody>
        </p:sp>
        <p:sp>
          <p:nvSpPr>
            <p:cNvPr id="4" name="TextBox 3"/>
            <p:cNvSpPr txBox="1"/>
            <p:nvPr/>
          </p:nvSpPr>
          <p:spPr>
            <a:xfrm>
              <a:off x="1700898" y="1430040"/>
              <a:ext cx="1616148" cy="461665"/>
            </a:xfrm>
            <a:prstGeom prst="rect">
              <a:avLst/>
            </a:prstGeom>
            <a:noFill/>
          </p:spPr>
          <p:txBody>
            <a:bodyPr wrap="none" rtlCol="0">
              <a:spAutoFit/>
            </a:bodyPr>
            <a:lstStyle/>
            <a:p>
              <a:pPr algn="ctr"/>
              <a:r>
                <a:rPr lang="en-US" altLang="zh-CN" sz="2400" b="1" dirty="0">
                  <a:solidFill>
                    <a:srgbClr val="800080"/>
                  </a:solidFill>
                </a:rPr>
                <a:t>TEXT  HERE</a:t>
              </a:r>
              <a:endParaRPr lang="zh-CN" altLang="en-US" sz="2400" b="1" dirty="0">
                <a:solidFill>
                  <a:srgbClr val="800080"/>
                </a:solidFill>
              </a:endParaRPr>
            </a:p>
          </p:txBody>
        </p:sp>
        <p:sp>
          <p:nvSpPr>
            <p:cNvPr id="5" name="TextBox 4"/>
            <p:cNvSpPr txBox="1"/>
            <p:nvPr/>
          </p:nvSpPr>
          <p:spPr>
            <a:xfrm>
              <a:off x="4850592" y="1419622"/>
              <a:ext cx="1616148" cy="461665"/>
            </a:xfrm>
            <a:prstGeom prst="rect">
              <a:avLst/>
            </a:prstGeom>
            <a:noFill/>
          </p:spPr>
          <p:txBody>
            <a:bodyPr wrap="none" rtlCol="0">
              <a:spAutoFit/>
            </a:bodyPr>
            <a:lstStyle/>
            <a:p>
              <a:pPr algn="ctr"/>
              <a:r>
                <a:rPr lang="en-US" altLang="zh-CN" sz="2400" b="1" dirty="0">
                  <a:solidFill>
                    <a:srgbClr val="800080"/>
                  </a:solidFill>
                </a:rPr>
                <a:t>TEXT  HERE</a:t>
              </a:r>
              <a:endParaRPr lang="zh-CN" altLang="en-US" sz="2400" b="1" dirty="0">
                <a:solidFill>
                  <a:srgbClr val="800080"/>
                </a:solidFill>
              </a:endParaRPr>
            </a:p>
          </p:txBody>
        </p:sp>
        <p:sp>
          <p:nvSpPr>
            <p:cNvPr id="6" name="TextBox 5"/>
            <p:cNvSpPr txBox="1"/>
            <p:nvPr/>
          </p:nvSpPr>
          <p:spPr>
            <a:xfrm>
              <a:off x="4671903" y="3721875"/>
              <a:ext cx="1616148" cy="461665"/>
            </a:xfrm>
            <a:prstGeom prst="rect">
              <a:avLst/>
            </a:prstGeom>
            <a:noFill/>
          </p:spPr>
          <p:txBody>
            <a:bodyPr wrap="none" rtlCol="0">
              <a:spAutoFit/>
            </a:bodyPr>
            <a:lstStyle/>
            <a:p>
              <a:pPr algn="ctr"/>
              <a:r>
                <a:rPr lang="en-US" altLang="zh-CN" sz="2400" b="1" dirty="0">
                  <a:solidFill>
                    <a:srgbClr val="800080"/>
                  </a:solidFill>
                </a:rPr>
                <a:t>TEXT  HERE</a:t>
              </a:r>
              <a:endParaRPr lang="zh-CN" altLang="en-US" sz="2400" b="1" dirty="0">
                <a:solidFill>
                  <a:srgbClr val="800080"/>
                </a:solidFill>
              </a:endParaRPr>
            </a:p>
          </p:txBody>
        </p:sp>
        <p:sp>
          <p:nvSpPr>
            <p:cNvPr id="7" name="TextBox 6"/>
            <p:cNvSpPr txBox="1"/>
            <p:nvPr/>
          </p:nvSpPr>
          <p:spPr>
            <a:xfrm>
              <a:off x="2749233" y="4112896"/>
              <a:ext cx="1630607" cy="461665"/>
            </a:xfrm>
            <a:prstGeom prst="rect">
              <a:avLst/>
            </a:prstGeom>
            <a:noFill/>
          </p:spPr>
          <p:txBody>
            <a:bodyPr wrap="square" rtlCol="0">
              <a:spAutoFit/>
            </a:bodyPr>
            <a:lstStyle/>
            <a:p>
              <a:pPr algn="ctr"/>
              <a:r>
                <a:rPr lang="en-US" altLang="zh-CN" sz="2400" b="1" dirty="0">
                  <a:solidFill>
                    <a:srgbClr val="800080"/>
                  </a:solidFill>
                </a:rPr>
                <a:t>TEXT  HERE</a:t>
              </a:r>
              <a:endParaRPr lang="zh-CN" altLang="en-US" sz="2400" b="1" dirty="0">
                <a:solidFill>
                  <a:srgbClr val="800080"/>
                </a:solidFill>
              </a:endParaRPr>
            </a:p>
          </p:txBody>
        </p:sp>
        <p:sp>
          <p:nvSpPr>
            <p:cNvPr id="27" name="Oval 27"/>
            <p:cNvSpPr>
              <a:spLocks noChangeArrowheads="1"/>
            </p:cNvSpPr>
            <p:nvPr/>
          </p:nvSpPr>
          <p:spPr bwMode="auto">
            <a:xfrm>
              <a:off x="3564537" y="3594701"/>
              <a:ext cx="87358" cy="87358"/>
            </a:xfrm>
            <a:prstGeom prst="ellipse">
              <a:avLst/>
            </a:prstGeom>
            <a:solidFill>
              <a:srgbClr val="FF0066"/>
            </a:solidFill>
            <a:ln>
              <a:noFill/>
            </a:ln>
          </p:spPr>
          <p:txBody>
            <a:bodyPr vert="horz" wrap="square" lIns="91440" tIns="45720" rIns="91440" bIns="45720" numCol="1" anchor="t" anchorCtr="0" compatLnSpc="1"/>
            <a:lstStyle/>
            <a:p>
              <a:endParaRPr lang="zh-CN" altLang="en-US"/>
            </a:p>
          </p:txBody>
        </p:sp>
        <p:sp>
          <p:nvSpPr>
            <p:cNvPr id="26" name="Oval 26"/>
            <p:cNvSpPr>
              <a:spLocks noChangeArrowheads="1"/>
            </p:cNvSpPr>
            <p:nvPr/>
          </p:nvSpPr>
          <p:spPr bwMode="auto">
            <a:xfrm>
              <a:off x="5073454" y="3226406"/>
              <a:ext cx="84380" cy="84380"/>
            </a:xfrm>
            <a:prstGeom prst="ellipse">
              <a:avLst/>
            </a:prstGeom>
            <a:solidFill>
              <a:srgbClr val="FF0066"/>
            </a:solidFill>
            <a:ln>
              <a:noFill/>
            </a:ln>
          </p:spPr>
          <p:txBody>
            <a:bodyPr vert="horz" wrap="square" lIns="91440" tIns="45720" rIns="91440" bIns="45720" numCol="1" anchor="t" anchorCtr="0" compatLnSpc="1"/>
            <a:lstStyle/>
            <a:p>
              <a:endParaRPr lang="zh-CN" altLang="en-US"/>
            </a:p>
          </p:txBody>
        </p:sp>
        <p:sp>
          <p:nvSpPr>
            <p:cNvPr id="24" name="Oval 24"/>
            <p:cNvSpPr>
              <a:spLocks noChangeArrowheads="1"/>
            </p:cNvSpPr>
            <p:nvPr/>
          </p:nvSpPr>
          <p:spPr bwMode="auto">
            <a:xfrm>
              <a:off x="4803438" y="2108617"/>
              <a:ext cx="86366" cy="84380"/>
            </a:xfrm>
            <a:prstGeom prst="ellipse">
              <a:avLst/>
            </a:prstGeom>
            <a:solidFill>
              <a:srgbClr val="FF0066"/>
            </a:solidFill>
            <a:ln>
              <a:noFill/>
            </a:ln>
          </p:spPr>
          <p:txBody>
            <a:bodyPr vert="horz" wrap="square" lIns="91440" tIns="45720" rIns="91440" bIns="45720" numCol="1" anchor="t" anchorCtr="0" compatLnSpc="1"/>
            <a:lstStyle/>
            <a:p>
              <a:endParaRPr lang="zh-CN" altLang="en-US"/>
            </a:p>
          </p:txBody>
        </p:sp>
        <p:sp>
          <p:nvSpPr>
            <p:cNvPr id="25" name="Oval 25"/>
            <p:cNvSpPr>
              <a:spLocks noChangeArrowheads="1"/>
            </p:cNvSpPr>
            <p:nvPr/>
          </p:nvSpPr>
          <p:spPr bwMode="auto">
            <a:xfrm>
              <a:off x="3316360" y="2408415"/>
              <a:ext cx="84380" cy="84380"/>
            </a:xfrm>
            <a:prstGeom prst="ellipse">
              <a:avLst/>
            </a:prstGeom>
            <a:solidFill>
              <a:srgbClr val="FF0066"/>
            </a:solidFill>
            <a:ln>
              <a:noFill/>
            </a:ln>
          </p:spPr>
          <p:txBody>
            <a:bodyPr vert="horz" wrap="square" lIns="91440" tIns="45720" rIns="91440" bIns="45720" numCol="1" anchor="t" anchorCtr="0" compatLnSpc="1"/>
            <a:lstStyle/>
            <a:p>
              <a:endParaRPr lang="zh-CN" altLang="en-US"/>
            </a:p>
          </p:txBody>
        </p:sp>
        <p:sp>
          <p:nvSpPr>
            <p:cNvPr id="49" name="Freeform 41"/>
            <p:cNvSpPr>
              <a:spLocks noEditPoints="1"/>
            </p:cNvSpPr>
            <p:nvPr/>
          </p:nvSpPr>
          <p:spPr bwMode="auto">
            <a:xfrm>
              <a:off x="5106213" y="3274723"/>
              <a:ext cx="18862" cy="412966"/>
            </a:xfrm>
            <a:custGeom>
              <a:avLst/>
              <a:gdLst>
                <a:gd name="T0" fmla="*/ 19 w 19"/>
                <a:gd name="T1" fmla="*/ 416 h 416"/>
                <a:gd name="T2" fmla="*/ 0 w 19"/>
                <a:gd name="T3" fmla="*/ 416 h 416"/>
                <a:gd name="T4" fmla="*/ 0 w 19"/>
                <a:gd name="T5" fmla="*/ 397 h 416"/>
                <a:gd name="T6" fmla="*/ 19 w 19"/>
                <a:gd name="T7" fmla="*/ 397 h 416"/>
                <a:gd name="T8" fmla="*/ 19 w 19"/>
                <a:gd name="T9" fmla="*/ 416 h 416"/>
                <a:gd name="T10" fmla="*/ 19 w 19"/>
                <a:gd name="T11" fmla="*/ 359 h 416"/>
                <a:gd name="T12" fmla="*/ 0 w 19"/>
                <a:gd name="T13" fmla="*/ 359 h 416"/>
                <a:gd name="T14" fmla="*/ 0 w 19"/>
                <a:gd name="T15" fmla="*/ 340 h 416"/>
                <a:gd name="T16" fmla="*/ 19 w 19"/>
                <a:gd name="T17" fmla="*/ 340 h 416"/>
                <a:gd name="T18" fmla="*/ 19 w 19"/>
                <a:gd name="T19" fmla="*/ 359 h 416"/>
                <a:gd name="T20" fmla="*/ 19 w 19"/>
                <a:gd name="T21" fmla="*/ 303 h 416"/>
                <a:gd name="T22" fmla="*/ 0 w 19"/>
                <a:gd name="T23" fmla="*/ 303 h 416"/>
                <a:gd name="T24" fmla="*/ 0 w 19"/>
                <a:gd name="T25" fmla="*/ 284 h 416"/>
                <a:gd name="T26" fmla="*/ 19 w 19"/>
                <a:gd name="T27" fmla="*/ 284 h 416"/>
                <a:gd name="T28" fmla="*/ 19 w 19"/>
                <a:gd name="T29" fmla="*/ 303 h 416"/>
                <a:gd name="T30" fmla="*/ 19 w 19"/>
                <a:gd name="T31" fmla="*/ 246 h 416"/>
                <a:gd name="T32" fmla="*/ 0 w 19"/>
                <a:gd name="T33" fmla="*/ 246 h 416"/>
                <a:gd name="T34" fmla="*/ 0 w 19"/>
                <a:gd name="T35" fmla="*/ 227 h 416"/>
                <a:gd name="T36" fmla="*/ 19 w 19"/>
                <a:gd name="T37" fmla="*/ 227 h 416"/>
                <a:gd name="T38" fmla="*/ 19 w 19"/>
                <a:gd name="T39" fmla="*/ 246 h 416"/>
                <a:gd name="T40" fmla="*/ 19 w 19"/>
                <a:gd name="T41" fmla="*/ 189 h 416"/>
                <a:gd name="T42" fmla="*/ 0 w 19"/>
                <a:gd name="T43" fmla="*/ 189 h 416"/>
                <a:gd name="T44" fmla="*/ 0 w 19"/>
                <a:gd name="T45" fmla="*/ 170 h 416"/>
                <a:gd name="T46" fmla="*/ 19 w 19"/>
                <a:gd name="T47" fmla="*/ 170 h 416"/>
                <a:gd name="T48" fmla="*/ 19 w 19"/>
                <a:gd name="T49" fmla="*/ 189 h 416"/>
                <a:gd name="T50" fmla="*/ 19 w 19"/>
                <a:gd name="T51" fmla="*/ 133 h 416"/>
                <a:gd name="T52" fmla="*/ 0 w 19"/>
                <a:gd name="T53" fmla="*/ 133 h 416"/>
                <a:gd name="T54" fmla="*/ 0 w 19"/>
                <a:gd name="T55" fmla="*/ 114 h 416"/>
                <a:gd name="T56" fmla="*/ 19 w 19"/>
                <a:gd name="T57" fmla="*/ 114 h 416"/>
                <a:gd name="T58" fmla="*/ 19 w 19"/>
                <a:gd name="T59" fmla="*/ 133 h 416"/>
                <a:gd name="T60" fmla="*/ 19 w 19"/>
                <a:gd name="T61" fmla="*/ 76 h 416"/>
                <a:gd name="T62" fmla="*/ 0 w 19"/>
                <a:gd name="T63" fmla="*/ 76 h 416"/>
                <a:gd name="T64" fmla="*/ 0 w 19"/>
                <a:gd name="T65" fmla="*/ 57 h 416"/>
                <a:gd name="T66" fmla="*/ 19 w 19"/>
                <a:gd name="T67" fmla="*/ 57 h 416"/>
                <a:gd name="T68" fmla="*/ 19 w 19"/>
                <a:gd name="T69" fmla="*/ 76 h 416"/>
                <a:gd name="T70" fmla="*/ 19 w 19"/>
                <a:gd name="T71" fmla="*/ 19 h 416"/>
                <a:gd name="T72" fmla="*/ 0 w 19"/>
                <a:gd name="T73" fmla="*/ 19 h 416"/>
                <a:gd name="T74" fmla="*/ 0 w 19"/>
                <a:gd name="T75" fmla="*/ 0 h 416"/>
                <a:gd name="T76" fmla="*/ 19 w 19"/>
                <a:gd name="T77" fmla="*/ 0 h 416"/>
                <a:gd name="T78" fmla="*/ 19 w 19"/>
                <a:gd name="T79" fmla="*/ 19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 h="416">
                  <a:moveTo>
                    <a:pt x="19" y="416"/>
                  </a:moveTo>
                  <a:lnTo>
                    <a:pt x="0" y="416"/>
                  </a:lnTo>
                  <a:lnTo>
                    <a:pt x="0" y="397"/>
                  </a:lnTo>
                  <a:lnTo>
                    <a:pt x="19" y="397"/>
                  </a:lnTo>
                  <a:lnTo>
                    <a:pt x="19" y="416"/>
                  </a:lnTo>
                  <a:close/>
                  <a:moveTo>
                    <a:pt x="19" y="359"/>
                  </a:moveTo>
                  <a:lnTo>
                    <a:pt x="0" y="359"/>
                  </a:lnTo>
                  <a:lnTo>
                    <a:pt x="0" y="340"/>
                  </a:lnTo>
                  <a:lnTo>
                    <a:pt x="19" y="340"/>
                  </a:lnTo>
                  <a:lnTo>
                    <a:pt x="19" y="359"/>
                  </a:lnTo>
                  <a:close/>
                  <a:moveTo>
                    <a:pt x="19" y="303"/>
                  </a:moveTo>
                  <a:lnTo>
                    <a:pt x="0" y="303"/>
                  </a:lnTo>
                  <a:lnTo>
                    <a:pt x="0" y="284"/>
                  </a:lnTo>
                  <a:lnTo>
                    <a:pt x="19" y="284"/>
                  </a:lnTo>
                  <a:lnTo>
                    <a:pt x="19" y="303"/>
                  </a:lnTo>
                  <a:close/>
                  <a:moveTo>
                    <a:pt x="19" y="246"/>
                  </a:moveTo>
                  <a:lnTo>
                    <a:pt x="0" y="246"/>
                  </a:lnTo>
                  <a:lnTo>
                    <a:pt x="0" y="227"/>
                  </a:lnTo>
                  <a:lnTo>
                    <a:pt x="19" y="227"/>
                  </a:lnTo>
                  <a:lnTo>
                    <a:pt x="19" y="246"/>
                  </a:lnTo>
                  <a:close/>
                  <a:moveTo>
                    <a:pt x="19" y="189"/>
                  </a:moveTo>
                  <a:lnTo>
                    <a:pt x="0" y="189"/>
                  </a:lnTo>
                  <a:lnTo>
                    <a:pt x="0" y="170"/>
                  </a:lnTo>
                  <a:lnTo>
                    <a:pt x="19" y="170"/>
                  </a:lnTo>
                  <a:lnTo>
                    <a:pt x="19" y="189"/>
                  </a:lnTo>
                  <a:close/>
                  <a:moveTo>
                    <a:pt x="19" y="133"/>
                  </a:moveTo>
                  <a:lnTo>
                    <a:pt x="0" y="133"/>
                  </a:lnTo>
                  <a:lnTo>
                    <a:pt x="0" y="114"/>
                  </a:lnTo>
                  <a:lnTo>
                    <a:pt x="19" y="114"/>
                  </a:lnTo>
                  <a:lnTo>
                    <a:pt x="19" y="133"/>
                  </a:lnTo>
                  <a:close/>
                  <a:moveTo>
                    <a:pt x="19" y="76"/>
                  </a:moveTo>
                  <a:lnTo>
                    <a:pt x="0" y="76"/>
                  </a:lnTo>
                  <a:lnTo>
                    <a:pt x="0" y="57"/>
                  </a:lnTo>
                  <a:lnTo>
                    <a:pt x="19" y="57"/>
                  </a:lnTo>
                  <a:lnTo>
                    <a:pt x="19" y="76"/>
                  </a:lnTo>
                  <a:close/>
                  <a:moveTo>
                    <a:pt x="19" y="19"/>
                  </a:moveTo>
                  <a:lnTo>
                    <a:pt x="0" y="19"/>
                  </a:lnTo>
                  <a:lnTo>
                    <a:pt x="0" y="0"/>
                  </a:lnTo>
                  <a:lnTo>
                    <a:pt x="19" y="0"/>
                  </a:lnTo>
                  <a:lnTo>
                    <a:pt x="19" y="19"/>
                  </a:lnTo>
                  <a:close/>
                </a:path>
              </a:pathLst>
            </a:custGeom>
            <a:solidFill>
              <a:srgbClr val="990099"/>
            </a:solidFill>
            <a:ln>
              <a:noFill/>
            </a:ln>
          </p:spPr>
          <p:txBody>
            <a:bodyPr vert="horz" wrap="square" lIns="91440" tIns="45720" rIns="91440" bIns="45720" numCol="1" anchor="t" anchorCtr="0" compatLnSpc="1"/>
            <a:lstStyle/>
            <a:p>
              <a:endParaRPr lang="zh-CN" altLang="en-US">
                <a:solidFill>
                  <a:srgbClr val="800080"/>
                </a:solidFill>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after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500" fill="hold"/>
                                        <p:tgtEl>
                                          <p:spTgt spid="43"/>
                                        </p:tgtEl>
                                        <p:attrNameLst>
                                          <p:attrName>ppt_x</p:attrName>
                                        </p:attrNameLst>
                                      </p:cBhvr>
                                      <p:tavLst>
                                        <p:tav tm="0">
                                          <p:val>
                                            <p:strVal val="0-#ppt_w/2"/>
                                          </p:val>
                                        </p:tav>
                                        <p:tav tm="100000">
                                          <p:val>
                                            <p:strVal val="#ppt_x"/>
                                          </p:val>
                                        </p:tav>
                                      </p:tavLst>
                                    </p:anim>
                                    <p:anim calcmode="lin" valueType="num">
                                      <p:cBhvr additive="base">
                                        <p:cTn id="8" dur="500" fill="hold"/>
                                        <p:tgtEl>
                                          <p:spTgt spid="43"/>
                                        </p:tgtEl>
                                        <p:attrNameLst>
                                          <p:attrName>ppt_y</p:attrName>
                                        </p:attrNameLst>
                                      </p:cBhvr>
                                      <p:tavLst>
                                        <p:tav tm="0">
                                          <p:val>
                                            <p:strVal val="0-#ppt_h/2"/>
                                          </p:val>
                                        </p:tav>
                                        <p:tav tm="100000">
                                          <p:val>
                                            <p:strVal val="#ppt_y"/>
                                          </p:val>
                                        </p:tav>
                                      </p:tavLst>
                                    </p:anim>
                                  </p:childTnLst>
                                </p:cTn>
                              </p:par>
                              <p:par>
                                <p:cTn id="9" presetID="2" presetClass="entr" presetSubtype="9" fill="hold" grpId="0" nodeType="withEffect">
                                  <p:stCondLst>
                                    <p:cond delay="0"/>
                                  </p:stCondLst>
                                  <p:childTnLst>
                                    <p:set>
                                      <p:cBhvr>
                                        <p:cTn id="10" dur="1" fill="hold">
                                          <p:stCondLst>
                                            <p:cond delay="0"/>
                                          </p:stCondLst>
                                        </p:cTn>
                                        <p:tgtEl>
                                          <p:spTgt spid="44"/>
                                        </p:tgtEl>
                                        <p:attrNameLst>
                                          <p:attrName>style.visibility</p:attrName>
                                        </p:attrNameLst>
                                      </p:cBhvr>
                                      <p:to>
                                        <p:strVal val="visible"/>
                                      </p:to>
                                    </p:set>
                                    <p:anim calcmode="lin" valueType="num">
                                      <p:cBhvr additive="base">
                                        <p:cTn id="11" dur="500" fill="hold"/>
                                        <p:tgtEl>
                                          <p:spTgt spid="44"/>
                                        </p:tgtEl>
                                        <p:attrNameLst>
                                          <p:attrName>ppt_x</p:attrName>
                                        </p:attrNameLst>
                                      </p:cBhvr>
                                      <p:tavLst>
                                        <p:tav tm="0">
                                          <p:val>
                                            <p:strVal val="0-#ppt_w/2"/>
                                          </p:val>
                                        </p:tav>
                                        <p:tav tm="100000">
                                          <p:val>
                                            <p:strVal val="#ppt_x"/>
                                          </p:val>
                                        </p:tav>
                                      </p:tavLst>
                                    </p:anim>
                                    <p:anim calcmode="lin" valueType="num">
                                      <p:cBhvr additive="base">
                                        <p:cTn id="12" dur="500" fill="hold"/>
                                        <p:tgtEl>
                                          <p:spTgt spid="44"/>
                                        </p:tgtEl>
                                        <p:attrNameLst>
                                          <p:attrName>ppt_y</p:attrName>
                                        </p:attrNameLst>
                                      </p:cBhvr>
                                      <p:tavLst>
                                        <p:tav tm="0">
                                          <p:val>
                                            <p:strVal val="0-#ppt_h/2"/>
                                          </p:val>
                                        </p:tav>
                                        <p:tav tm="100000">
                                          <p:val>
                                            <p:strVal val="#ppt_y"/>
                                          </p:val>
                                        </p:tav>
                                      </p:tavLst>
                                    </p:anim>
                                  </p:childTnLst>
                                </p:cTn>
                              </p:par>
                            </p:childTnLst>
                          </p:cTn>
                        </p:par>
                        <p:par>
                          <p:cTn id="13" fill="hold">
                            <p:stCondLst>
                              <p:cond delay="500"/>
                            </p:stCondLst>
                            <p:childTnLst>
                              <p:par>
                                <p:cTn id="14" presetID="42" presetClass="entr" presetSubtype="0" fill="hold" nodeType="after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1000"/>
                                        <p:tgtEl>
                                          <p:spTgt spid="2"/>
                                        </p:tgtEl>
                                      </p:cBhvr>
                                    </p:animEffect>
                                    <p:anim calcmode="lin" valueType="num">
                                      <p:cBhvr>
                                        <p:cTn id="17" dur="1000" fill="hold"/>
                                        <p:tgtEl>
                                          <p:spTgt spid="2"/>
                                        </p:tgtEl>
                                        <p:attrNameLst>
                                          <p:attrName>ppt_x</p:attrName>
                                        </p:attrNameLst>
                                      </p:cBhvr>
                                      <p:tavLst>
                                        <p:tav tm="0">
                                          <p:val>
                                            <p:strVal val="#ppt_x"/>
                                          </p:val>
                                        </p:tav>
                                        <p:tav tm="100000">
                                          <p:val>
                                            <p:strVal val="#ppt_x"/>
                                          </p:val>
                                        </p:tav>
                                      </p:tavLst>
                                    </p:anim>
                                    <p:anim calcmode="lin" valueType="num">
                                      <p:cBhvr>
                                        <p:cTn id="18" dur="1000" fill="hold"/>
                                        <p:tgtEl>
                                          <p:spTgt spid="2"/>
                                        </p:tgtEl>
                                        <p:attrNameLst>
                                          <p:attrName>ppt_y</p:attrName>
                                        </p:attrNameLst>
                                      </p:cBhvr>
                                      <p:tavLst>
                                        <p:tav tm="0">
                                          <p:val>
                                            <p:strVal val="#ppt_y+.1"/>
                                          </p:val>
                                        </p:tav>
                                        <p:tav tm="100000">
                                          <p:val>
                                            <p:strVal val="#ppt_y"/>
                                          </p:val>
                                        </p:tav>
                                      </p:tavLst>
                                    </p:anim>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47"/>
                                        </p:tgtEl>
                                        <p:attrNameLst>
                                          <p:attrName>style.visibility</p:attrName>
                                        </p:attrNameLst>
                                      </p:cBhvr>
                                      <p:to>
                                        <p:strVal val="visible"/>
                                      </p:to>
                                    </p:set>
                                    <p:animEffect transition="in" filter="fade">
                                      <p:cBhvr>
                                        <p:cTn id="26" dur="500"/>
                                        <p:tgtEl>
                                          <p:spTgt spid="47"/>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46"/>
                                        </p:tgtEl>
                                        <p:attrNameLst>
                                          <p:attrName>style.visibility</p:attrName>
                                        </p:attrNameLst>
                                      </p:cBhvr>
                                      <p:to>
                                        <p:strVal val="visible"/>
                                      </p:to>
                                    </p:set>
                                    <p:animEffect transition="in" filter="fade">
                                      <p:cBhvr>
                                        <p:cTn id="30" dur="500"/>
                                        <p:tgtEl>
                                          <p:spTgt spid="46"/>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48"/>
                                        </p:tgtEl>
                                        <p:attrNameLst>
                                          <p:attrName>style.visibility</p:attrName>
                                        </p:attrNameLst>
                                      </p:cBhvr>
                                      <p:to>
                                        <p:strVal val="visible"/>
                                      </p:to>
                                    </p:set>
                                    <p:animEffect transition="in" filter="fade">
                                      <p:cBhvr>
                                        <p:cTn id="34"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5" grpId="0"/>
      <p:bldP spid="46" grpId="0"/>
      <p:bldP spid="47" grpId="0"/>
      <p:bldP spid="4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059832" y="267494"/>
            <a:ext cx="2647776" cy="523220"/>
          </a:xfrm>
          <a:prstGeom prst="rect">
            <a:avLst/>
          </a:prstGeom>
          <a:solidFill>
            <a:srgbClr val="800080"/>
          </a:solidFill>
        </p:spPr>
        <p:txBody>
          <a:bodyPr wrap="none" rtlCol="0">
            <a:spAutoFit/>
          </a:bodyPr>
          <a:lstStyle/>
          <a:p>
            <a:pPr algn="ctr"/>
            <a:r>
              <a:rPr lang="en-US" altLang="zh-CN" sz="2800" b="1" dirty="0">
                <a:solidFill>
                  <a:schemeClr val="bg1"/>
                </a:solidFill>
              </a:rPr>
              <a:t>ADD YOUR TITLE</a:t>
            </a:r>
            <a:endParaRPr lang="zh-CN" altLang="en-US" sz="2800" b="1" dirty="0">
              <a:solidFill>
                <a:schemeClr val="bg1"/>
              </a:solidFill>
            </a:endParaRPr>
          </a:p>
        </p:txBody>
      </p:sp>
      <p:cxnSp>
        <p:nvCxnSpPr>
          <p:cNvPr id="3" name="直接连接符 2"/>
          <p:cNvCxnSpPr>
            <a:stCxn id="2" idx="3"/>
          </p:cNvCxnSpPr>
          <p:nvPr/>
        </p:nvCxnSpPr>
        <p:spPr>
          <a:xfrm>
            <a:off x="5707608" y="529104"/>
            <a:ext cx="3544912" cy="0"/>
          </a:xfrm>
          <a:prstGeom prst="line">
            <a:avLst/>
          </a:prstGeom>
          <a:ln>
            <a:solidFill>
              <a:srgbClr val="CC009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 name="直接连接符 3"/>
          <p:cNvCxnSpPr>
            <a:stCxn id="2" idx="1"/>
          </p:cNvCxnSpPr>
          <p:nvPr/>
        </p:nvCxnSpPr>
        <p:spPr>
          <a:xfrm flipH="1">
            <a:off x="-108520" y="529104"/>
            <a:ext cx="3168352" cy="0"/>
          </a:xfrm>
          <a:prstGeom prst="line">
            <a:avLst/>
          </a:prstGeom>
          <a:ln>
            <a:solidFill>
              <a:srgbClr val="CC009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5" name="组合 4"/>
          <p:cNvGrpSpPr/>
          <p:nvPr/>
        </p:nvGrpSpPr>
        <p:grpSpPr>
          <a:xfrm>
            <a:off x="967190" y="1347614"/>
            <a:ext cx="1439180" cy="1278500"/>
            <a:chOff x="967190" y="1347614"/>
            <a:chExt cx="1439180" cy="1278500"/>
          </a:xfrm>
        </p:grpSpPr>
        <p:sp>
          <p:nvSpPr>
            <p:cNvPr id="10" name="椭圆 9"/>
            <p:cNvSpPr/>
            <p:nvPr/>
          </p:nvSpPr>
          <p:spPr>
            <a:xfrm>
              <a:off x="1127870" y="1347614"/>
              <a:ext cx="1278500" cy="1278500"/>
            </a:xfrm>
            <a:prstGeom prst="ellipse">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p:cNvSpPr/>
            <p:nvPr/>
          </p:nvSpPr>
          <p:spPr>
            <a:xfrm>
              <a:off x="967190" y="1347614"/>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A</a:t>
              </a:r>
              <a:endParaRPr lang="zh-CN" altLang="en-US" dirty="0"/>
            </a:p>
          </p:txBody>
        </p:sp>
        <p:grpSp>
          <p:nvGrpSpPr>
            <p:cNvPr id="12" name="组合 11"/>
            <p:cNvGrpSpPr/>
            <p:nvPr/>
          </p:nvGrpSpPr>
          <p:grpSpPr>
            <a:xfrm>
              <a:off x="1519470" y="1713814"/>
              <a:ext cx="495300" cy="546100"/>
              <a:chOff x="1917700" y="530225"/>
              <a:chExt cx="495300" cy="546100"/>
            </a:xfrm>
          </p:grpSpPr>
          <p:sp>
            <p:nvSpPr>
              <p:cNvPr id="13" name="Freeform 23"/>
              <p:cNvSpPr>
                <a:spLocks noEditPoints="1"/>
              </p:cNvSpPr>
              <p:nvPr/>
            </p:nvSpPr>
            <p:spPr bwMode="auto">
              <a:xfrm>
                <a:off x="1917700" y="530225"/>
                <a:ext cx="495300" cy="546100"/>
              </a:xfrm>
              <a:custGeom>
                <a:avLst/>
                <a:gdLst>
                  <a:gd name="T0" fmla="*/ 160 w 176"/>
                  <a:gd name="T1" fmla="*/ 130 h 194"/>
                  <a:gd name="T2" fmla="*/ 176 w 176"/>
                  <a:gd name="T3" fmla="*/ 114 h 194"/>
                  <a:gd name="T4" fmla="*/ 160 w 176"/>
                  <a:gd name="T5" fmla="*/ 98 h 194"/>
                  <a:gd name="T6" fmla="*/ 152 w 176"/>
                  <a:gd name="T7" fmla="*/ 100 h 194"/>
                  <a:gd name="T8" fmla="*/ 90 w 176"/>
                  <a:gd name="T9" fmla="*/ 34 h 194"/>
                  <a:gd name="T10" fmla="*/ 91 w 176"/>
                  <a:gd name="T11" fmla="*/ 32 h 194"/>
                  <a:gd name="T12" fmla="*/ 91 w 176"/>
                  <a:gd name="T13" fmla="*/ 7 h 194"/>
                  <a:gd name="T14" fmla="*/ 66 w 176"/>
                  <a:gd name="T15" fmla="*/ 7 h 194"/>
                  <a:gd name="T16" fmla="*/ 51 w 176"/>
                  <a:gd name="T17" fmla="*/ 21 h 194"/>
                  <a:gd name="T18" fmla="*/ 34 w 176"/>
                  <a:gd name="T19" fmla="*/ 18 h 194"/>
                  <a:gd name="T20" fmla="*/ 1 w 176"/>
                  <a:gd name="T21" fmla="*/ 31 h 194"/>
                  <a:gd name="T22" fmla="*/ 1 w 176"/>
                  <a:gd name="T23" fmla="*/ 37 h 194"/>
                  <a:gd name="T24" fmla="*/ 61 w 176"/>
                  <a:gd name="T25" fmla="*/ 97 h 194"/>
                  <a:gd name="T26" fmla="*/ 64 w 176"/>
                  <a:gd name="T27" fmla="*/ 98 h 194"/>
                  <a:gd name="T28" fmla="*/ 67 w 176"/>
                  <a:gd name="T29" fmla="*/ 97 h 194"/>
                  <a:gd name="T30" fmla="*/ 77 w 176"/>
                  <a:gd name="T31" fmla="*/ 47 h 194"/>
                  <a:gd name="T32" fmla="*/ 84 w 176"/>
                  <a:gd name="T33" fmla="*/ 39 h 194"/>
                  <a:gd name="T34" fmla="*/ 146 w 176"/>
                  <a:gd name="T35" fmla="*/ 106 h 194"/>
                  <a:gd name="T36" fmla="*/ 144 w 176"/>
                  <a:gd name="T37" fmla="*/ 114 h 194"/>
                  <a:gd name="T38" fmla="*/ 146 w 176"/>
                  <a:gd name="T39" fmla="*/ 122 h 194"/>
                  <a:gd name="T40" fmla="*/ 126 w 176"/>
                  <a:gd name="T41" fmla="*/ 142 h 194"/>
                  <a:gd name="T42" fmla="*/ 112 w 176"/>
                  <a:gd name="T43" fmla="*/ 138 h 194"/>
                  <a:gd name="T44" fmla="*/ 88 w 176"/>
                  <a:gd name="T45" fmla="*/ 162 h 194"/>
                  <a:gd name="T46" fmla="*/ 52 w 176"/>
                  <a:gd name="T47" fmla="*/ 162 h 194"/>
                  <a:gd name="T48" fmla="*/ 32 w 176"/>
                  <a:gd name="T49" fmla="*/ 182 h 194"/>
                  <a:gd name="T50" fmla="*/ 32 w 176"/>
                  <a:gd name="T51" fmla="*/ 190 h 194"/>
                  <a:gd name="T52" fmla="*/ 36 w 176"/>
                  <a:gd name="T53" fmla="*/ 194 h 194"/>
                  <a:gd name="T54" fmla="*/ 156 w 176"/>
                  <a:gd name="T55" fmla="*/ 194 h 194"/>
                  <a:gd name="T56" fmla="*/ 160 w 176"/>
                  <a:gd name="T57" fmla="*/ 190 h 194"/>
                  <a:gd name="T58" fmla="*/ 160 w 176"/>
                  <a:gd name="T59" fmla="*/ 182 h 194"/>
                  <a:gd name="T60" fmla="*/ 140 w 176"/>
                  <a:gd name="T61" fmla="*/ 162 h 194"/>
                  <a:gd name="T62" fmla="*/ 136 w 176"/>
                  <a:gd name="T63" fmla="*/ 162 h 194"/>
                  <a:gd name="T64" fmla="*/ 132 w 176"/>
                  <a:gd name="T65" fmla="*/ 148 h 194"/>
                  <a:gd name="T66" fmla="*/ 152 w 176"/>
                  <a:gd name="T67" fmla="*/ 128 h 194"/>
                  <a:gd name="T68" fmla="*/ 160 w 176"/>
                  <a:gd name="T69" fmla="*/ 130 h 194"/>
                  <a:gd name="T70" fmla="*/ 55 w 176"/>
                  <a:gd name="T71" fmla="*/ 48 h 194"/>
                  <a:gd name="T72" fmla="*/ 52 w 176"/>
                  <a:gd name="T73" fmla="*/ 50 h 194"/>
                  <a:gd name="T74" fmla="*/ 50 w 176"/>
                  <a:gd name="T75" fmla="*/ 48 h 194"/>
                  <a:gd name="T76" fmla="*/ 31 w 176"/>
                  <a:gd name="T77" fmla="*/ 42 h 194"/>
                  <a:gd name="T78" fmla="*/ 27 w 176"/>
                  <a:gd name="T79" fmla="*/ 39 h 194"/>
                  <a:gd name="T80" fmla="*/ 30 w 176"/>
                  <a:gd name="T81" fmla="*/ 34 h 194"/>
                  <a:gd name="T82" fmla="*/ 34 w 176"/>
                  <a:gd name="T83" fmla="*/ 34 h 194"/>
                  <a:gd name="T84" fmla="*/ 55 w 176"/>
                  <a:gd name="T85" fmla="*/ 43 h 194"/>
                  <a:gd name="T86" fmla="*/ 55 w 176"/>
                  <a:gd name="T87" fmla="*/ 4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6" h="194">
                    <a:moveTo>
                      <a:pt x="160" y="130"/>
                    </a:moveTo>
                    <a:cubicBezTo>
                      <a:pt x="169" y="130"/>
                      <a:pt x="176" y="123"/>
                      <a:pt x="176" y="114"/>
                    </a:cubicBezTo>
                    <a:cubicBezTo>
                      <a:pt x="176" y="105"/>
                      <a:pt x="169" y="98"/>
                      <a:pt x="160" y="98"/>
                    </a:cubicBezTo>
                    <a:cubicBezTo>
                      <a:pt x="157" y="98"/>
                      <a:pt x="155" y="99"/>
                      <a:pt x="152" y="100"/>
                    </a:cubicBezTo>
                    <a:cubicBezTo>
                      <a:pt x="90" y="34"/>
                      <a:pt x="90" y="34"/>
                      <a:pt x="90" y="34"/>
                    </a:cubicBezTo>
                    <a:cubicBezTo>
                      <a:pt x="91" y="32"/>
                      <a:pt x="91" y="32"/>
                      <a:pt x="91" y="32"/>
                    </a:cubicBezTo>
                    <a:cubicBezTo>
                      <a:pt x="98" y="25"/>
                      <a:pt x="98" y="14"/>
                      <a:pt x="91" y="7"/>
                    </a:cubicBezTo>
                    <a:cubicBezTo>
                      <a:pt x="84" y="0"/>
                      <a:pt x="73" y="0"/>
                      <a:pt x="66" y="7"/>
                    </a:cubicBezTo>
                    <a:cubicBezTo>
                      <a:pt x="51" y="21"/>
                      <a:pt x="51" y="21"/>
                      <a:pt x="51" y="21"/>
                    </a:cubicBezTo>
                    <a:cubicBezTo>
                      <a:pt x="46" y="19"/>
                      <a:pt x="40" y="18"/>
                      <a:pt x="34" y="18"/>
                    </a:cubicBezTo>
                    <a:cubicBezTo>
                      <a:pt x="22" y="18"/>
                      <a:pt x="10" y="23"/>
                      <a:pt x="1" y="31"/>
                    </a:cubicBezTo>
                    <a:cubicBezTo>
                      <a:pt x="0" y="33"/>
                      <a:pt x="0" y="35"/>
                      <a:pt x="1" y="37"/>
                    </a:cubicBezTo>
                    <a:cubicBezTo>
                      <a:pt x="61" y="97"/>
                      <a:pt x="61" y="97"/>
                      <a:pt x="61" y="97"/>
                    </a:cubicBezTo>
                    <a:cubicBezTo>
                      <a:pt x="62" y="97"/>
                      <a:pt x="63" y="98"/>
                      <a:pt x="64" y="98"/>
                    </a:cubicBezTo>
                    <a:cubicBezTo>
                      <a:pt x="65" y="98"/>
                      <a:pt x="66" y="97"/>
                      <a:pt x="67" y="97"/>
                    </a:cubicBezTo>
                    <a:cubicBezTo>
                      <a:pt x="80" y="83"/>
                      <a:pt x="84" y="63"/>
                      <a:pt x="77" y="47"/>
                    </a:cubicBezTo>
                    <a:cubicBezTo>
                      <a:pt x="84" y="39"/>
                      <a:pt x="84" y="39"/>
                      <a:pt x="84" y="39"/>
                    </a:cubicBezTo>
                    <a:cubicBezTo>
                      <a:pt x="146" y="106"/>
                      <a:pt x="146" y="106"/>
                      <a:pt x="146" y="106"/>
                    </a:cubicBezTo>
                    <a:cubicBezTo>
                      <a:pt x="145" y="108"/>
                      <a:pt x="144" y="111"/>
                      <a:pt x="144" y="114"/>
                    </a:cubicBezTo>
                    <a:cubicBezTo>
                      <a:pt x="144" y="117"/>
                      <a:pt x="145" y="120"/>
                      <a:pt x="146" y="122"/>
                    </a:cubicBezTo>
                    <a:cubicBezTo>
                      <a:pt x="126" y="142"/>
                      <a:pt x="126" y="142"/>
                      <a:pt x="126" y="142"/>
                    </a:cubicBezTo>
                    <a:cubicBezTo>
                      <a:pt x="122" y="140"/>
                      <a:pt x="117" y="138"/>
                      <a:pt x="112" y="138"/>
                    </a:cubicBezTo>
                    <a:cubicBezTo>
                      <a:pt x="99" y="138"/>
                      <a:pt x="88" y="149"/>
                      <a:pt x="88" y="162"/>
                    </a:cubicBezTo>
                    <a:cubicBezTo>
                      <a:pt x="52" y="162"/>
                      <a:pt x="52" y="162"/>
                      <a:pt x="52" y="162"/>
                    </a:cubicBezTo>
                    <a:cubicBezTo>
                      <a:pt x="41" y="162"/>
                      <a:pt x="32" y="171"/>
                      <a:pt x="32" y="182"/>
                    </a:cubicBezTo>
                    <a:cubicBezTo>
                      <a:pt x="32" y="190"/>
                      <a:pt x="32" y="190"/>
                      <a:pt x="32" y="190"/>
                    </a:cubicBezTo>
                    <a:cubicBezTo>
                      <a:pt x="32" y="192"/>
                      <a:pt x="34" y="194"/>
                      <a:pt x="36" y="194"/>
                    </a:cubicBezTo>
                    <a:cubicBezTo>
                      <a:pt x="156" y="194"/>
                      <a:pt x="156" y="194"/>
                      <a:pt x="156" y="194"/>
                    </a:cubicBezTo>
                    <a:cubicBezTo>
                      <a:pt x="158" y="194"/>
                      <a:pt x="160" y="192"/>
                      <a:pt x="160" y="190"/>
                    </a:cubicBezTo>
                    <a:cubicBezTo>
                      <a:pt x="160" y="182"/>
                      <a:pt x="160" y="182"/>
                      <a:pt x="160" y="182"/>
                    </a:cubicBezTo>
                    <a:cubicBezTo>
                      <a:pt x="160" y="171"/>
                      <a:pt x="151" y="162"/>
                      <a:pt x="140" y="162"/>
                    </a:cubicBezTo>
                    <a:cubicBezTo>
                      <a:pt x="136" y="162"/>
                      <a:pt x="136" y="162"/>
                      <a:pt x="136" y="162"/>
                    </a:cubicBezTo>
                    <a:cubicBezTo>
                      <a:pt x="136" y="157"/>
                      <a:pt x="134" y="152"/>
                      <a:pt x="132" y="148"/>
                    </a:cubicBezTo>
                    <a:cubicBezTo>
                      <a:pt x="152" y="128"/>
                      <a:pt x="152" y="128"/>
                      <a:pt x="152" y="128"/>
                    </a:cubicBezTo>
                    <a:cubicBezTo>
                      <a:pt x="154" y="129"/>
                      <a:pt x="157" y="130"/>
                      <a:pt x="160" y="130"/>
                    </a:cubicBezTo>
                    <a:close/>
                    <a:moveTo>
                      <a:pt x="55" y="48"/>
                    </a:moveTo>
                    <a:cubicBezTo>
                      <a:pt x="55" y="49"/>
                      <a:pt x="53" y="50"/>
                      <a:pt x="52" y="50"/>
                    </a:cubicBezTo>
                    <a:cubicBezTo>
                      <a:pt x="51" y="50"/>
                      <a:pt x="50" y="49"/>
                      <a:pt x="50" y="48"/>
                    </a:cubicBezTo>
                    <a:cubicBezTo>
                      <a:pt x="45" y="43"/>
                      <a:pt x="38" y="41"/>
                      <a:pt x="31" y="42"/>
                    </a:cubicBezTo>
                    <a:cubicBezTo>
                      <a:pt x="29" y="42"/>
                      <a:pt x="27" y="41"/>
                      <a:pt x="27" y="39"/>
                    </a:cubicBezTo>
                    <a:cubicBezTo>
                      <a:pt x="26" y="36"/>
                      <a:pt x="28" y="34"/>
                      <a:pt x="30" y="34"/>
                    </a:cubicBezTo>
                    <a:cubicBezTo>
                      <a:pt x="31" y="34"/>
                      <a:pt x="33" y="34"/>
                      <a:pt x="34" y="34"/>
                    </a:cubicBezTo>
                    <a:cubicBezTo>
                      <a:pt x="42" y="34"/>
                      <a:pt x="50" y="37"/>
                      <a:pt x="55" y="43"/>
                    </a:cubicBezTo>
                    <a:cubicBezTo>
                      <a:pt x="57" y="44"/>
                      <a:pt x="57" y="47"/>
                      <a:pt x="55" y="4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 name="Freeform 24"/>
              <p:cNvSpPr/>
              <p:nvPr/>
            </p:nvSpPr>
            <p:spPr bwMode="auto">
              <a:xfrm>
                <a:off x="1935163" y="690563"/>
                <a:ext cx="98425" cy="93663"/>
              </a:xfrm>
              <a:custGeom>
                <a:avLst/>
                <a:gdLst>
                  <a:gd name="T0" fmla="*/ 4 w 35"/>
                  <a:gd name="T1" fmla="*/ 0 h 33"/>
                  <a:gd name="T2" fmla="*/ 9 w 35"/>
                  <a:gd name="T3" fmla="*/ 26 h 33"/>
                  <a:gd name="T4" fmla="*/ 25 w 35"/>
                  <a:gd name="T5" fmla="*/ 33 h 33"/>
                  <a:gd name="T6" fmla="*/ 35 w 35"/>
                  <a:gd name="T7" fmla="*/ 31 h 33"/>
                  <a:gd name="T8" fmla="*/ 4 w 35"/>
                  <a:gd name="T9" fmla="*/ 0 h 33"/>
                </a:gdLst>
                <a:ahLst/>
                <a:cxnLst>
                  <a:cxn ang="0">
                    <a:pos x="T0" y="T1"/>
                  </a:cxn>
                  <a:cxn ang="0">
                    <a:pos x="T2" y="T3"/>
                  </a:cxn>
                  <a:cxn ang="0">
                    <a:pos x="T4" y="T5"/>
                  </a:cxn>
                  <a:cxn ang="0">
                    <a:pos x="T6" y="T7"/>
                  </a:cxn>
                  <a:cxn ang="0">
                    <a:pos x="T8" y="T9"/>
                  </a:cxn>
                </a:cxnLst>
                <a:rect l="0" t="0" r="r" b="b"/>
                <a:pathLst>
                  <a:path w="35" h="33">
                    <a:moveTo>
                      <a:pt x="4" y="0"/>
                    </a:moveTo>
                    <a:cubicBezTo>
                      <a:pt x="0" y="9"/>
                      <a:pt x="2" y="19"/>
                      <a:pt x="9" y="26"/>
                    </a:cubicBezTo>
                    <a:cubicBezTo>
                      <a:pt x="13" y="31"/>
                      <a:pt x="19" y="33"/>
                      <a:pt x="25" y="33"/>
                    </a:cubicBezTo>
                    <a:cubicBezTo>
                      <a:pt x="28" y="33"/>
                      <a:pt x="32" y="32"/>
                      <a:pt x="35" y="31"/>
                    </a:cubicBez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7" name="组合 6"/>
          <p:cNvGrpSpPr/>
          <p:nvPr/>
        </p:nvGrpSpPr>
        <p:grpSpPr>
          <a:xfrm>
            <a:off x="2983414" y="1347614"/>
            <a:ext cx="1439180" cy="1278500"/>
            <a:chOff x="2983414" y="1347614"/>
            <a:chExt cx="1439180" cy="1278500"/>
          </a:xfrm>
        </p:grpSpPr>
        <p:sp>
          <p:nvSpPr>
            <p:cNvPr id="15" name="椭圆 14"/>
            <p:cNvSpPr/>
            <p:nvPr/>
          </p:nvSpPr>
          <p:spPr>
            <a:xfrm>
              <a:off x="3144094" y="1347614"/>
              <a:ext cx="1278500" cy="1278500"/>
            </a:xfrm>
            <a:prstGeom prst="ellipse">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 name="组合 5"/>
            <p:cNvGrpSpPr/>
            <p:nvPr/>
          </p:nvGrpSpPr>
          <p:grpSpPr>
            <a:xfrm>
              <a:off x="2983414" y="1347614"/>
              <a:ext cx="1048122" cy="891663"/>
              <a:chOff x="2983414" y="1347614"/>
              <a:chExt cx="1048122" cy="891663"/>
            </a:xfrm>
          </p:grpSpPr>
          <p:sp>
            <p:nvSpPr>
              <p:cNvPr id="16" name="椭圆 15"/>
              <p:cNvSpPr/>
              <p:nvPr/>
            </p:nvSpPr>
            <p:spPr>
              <a:xfrm>
                <a:off x="2983414" y="1347614"/>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B</a:t>
                </a:r>
                <a:endParaRPr lang="zh-CN" altLang="en-US" dirty="0"/>
              </a:p>
            </p:txBody>
          </p:sp>
          <p:grpSp>
            <p:nvGrpSpPr>
              <p:cNvPr id="30" name="组合 29"/>
              <p:cNvGrpSpPr/>
              <p:nvPr/>
            </p:nvGrpSpPr>
            <p:grpSpPr>
              <a:xfrm>
                <a:off x="3604498" y="1696352"/>
                <a:ext cx="427038" cy="542925"/>
                <a:chOff x="3290888" y="533400"/>
                <a:chExt cx="427038" cy="542925"/>
              </a:xfrm>
            </p:grpSpPr>
            <p:sp>
              <p:nvSpPr>
                <p:cNvPr id="31" name="Freeform 25"/>
                <p:cNvSpPr/>
                <p:nvPr/>
              </p:nvSpPr>
              <p:spPr bwMode="auto">
                <a:xfrm>
                  <a:off x="3290888" y="533400"/>
                  <a:ext cx="427038" cy="542925"/>
                </a:xfrm>
                <a:custGeom>
                  <a:avLst/>
                  <a:gdLst>
                    <a:gd name="T0" fmla="*/ 108 w 152"/>
                    <a:gd name="T1" fmla="*/ 161 h 193"/>
                    <a:gd name="T2" fmla="*/ 68 w 152"/>
                    <a:gd name="T3" fmla="*/ 161 h 193"/>
                    <a:gd name="T4" fmla="*/ 68 w 152"/>
                    <a:gd name="T5" fmla="*/ 145 h 193"/>
                    <a:gd name="T6" fmla="*/ 121 w 152"/>
                    <a:gd name="T7" fmla="*/ 122 h 193"/>
                    <a:gd name="T8" fmla="*/ 130 w 152"/>
                    <a:gd name="T9" fmla="*/ 19 h 193"/>
                    <a:gd name="T10" fmla="*/ 130 w 152"/>
                    <a:gd name="T11" fmla="*/ 18 h 193"/>
                    <a:gd name="T12" fmla="*/ 130 w 152"/>
                    <a:gd name="T13" fmla="*/ 18 h 193"/>
                    <a:gd name="T14" fmla="*/ 128 w 152"/>
                    <a:gd name="T15" fmla="*/ 14 h 193"/>
                    <a:gd name="T16" fmla="*/ 130 w 152"/>
                    <a:gd name="T17" fmla="*/ 10 h 193"/>
                    <a:gd name="T18" fmla="*/ 137 w 152"/>
                    <a:gd name="T19" fmla="*/ 10 h 193"/>
                    <a:gd name="T20" fmla="*/ 143 w 152"/>
                    <a:gd name="T21" fmla="*/ 10 h 193"/>
                    <a:gd name="T22" fmla="*/ 143 w 152"/>
                    <a:gd name="T23" fmla="*/ 5 h 193"/>
                    <a:gd name="T24" fmla="*/ 124 w 152"/>
                    <a:gd name="T25" fmla="*/ 5 h 193"/>
                    <a:gd name="T26" fmla="*/ 120 w 152"/>
                    <a:gd name="T27" fmla="*/ 14 h 193"/>
                    <a:gd name="T28" fmla="*/ 124 w 152"/>
                    <a:gd name="T29" fmla="*/ 23 h 193"/>
                    <a:gd name="T30" fmla="*/ 124 w 152"/>
                    <a:gd name="T31" fmla="*/ 23 h 193"/>
                    <a:gd name="T32" fmla="*/ 115 w 152"/>
                    <a:gd name="T33" fmla="*/ 116 h 193"/>
                    <a:gd name="T34" fmla="*/ 23 w 152"/>
                    <a:gd name="T35" fmla="*/ 124 h 193"/>
                    <a:gd name="T36" fmla="*/ 23 w 152"/>
                    <a:gd name="T37" fmla="*/ 124 h 193"/>
                    <a:gd name="T38" fmla="*/ 4 w 152"/>
                    <a:gd name="T39" fmla="*/ 125 h 193"/>
                    <a:gd name="T40" fmla="*/ 0 w 152"/>
                    <a:gd name="T41" fmla="*/ 134 h 193"/>
                    <a:gd name="T42" fmla="*/ 4 w 152"/>
                    <a:gd name="T43" fmla="*/ 144 h 193"/>
                    <a:gd name="T44" fmla="*/ 7 w 152"/>
                    <a:gd name="T45" fmla="*/ 145 h 193"/>
                    <a:gd name="T46" fmla="*/ 10 w 152"/>
                    <a:gd name="T47" fmla="*/ 144 h 193"/>
                    <a:gd name="T48" fmla="*/ 10 w 152"/>
                    <a:gd name="T49" fmla="*/ 138 h 193"/>
                    <a:gd name="T50" fmla="*/ 8 w 152"/>
                    <a:gd name="T51" fmla="*/ 134 h 193"/>
                    <a:gd name="T52" fmla="*/ 10 w 152"/>
                    <a:gd name="T53" fmla="*/ 130 h 193"/>
                    <a:gd name="T54" fmla="*/ 18 w 152"/>
                    <a:gd name="T55" fmla="*/ 130 h 193"/>
                    <a:gd name="T56" fmla="*/ 18 w 152"/>
                    <a:gd name="T57" fmla="*/ 131 h 193"/>
                    <a:gd name="T58" fmla="*/ 18 w 152"/>
                    <a:gd name="T59" fmla="*/ 131 h 193"/>
                    <a:gd name="T60" fmla="*/ 60 w 152"/>
                    <a:gd name="T61" fmla="*/ 145 h 193"/>
                    <a:gd name="T62" fmla="*/ 60 w 152"/>
                    <a:gd name="T63" fmla="*/ 161 h 193"/>
                    <a:gd name="T64" fmla="*/ 20 w 152"/>
                    <a:gd name="T65" fmla="*/ 161 h 193"/>
                    <a:gd name="T66" fmla="*/ 0 w 152"/>
                    <a:gd name="T67" fmla="*/ 181 h 193"/>
                    <a:gd name="T68" fmla="*/ 0 w 152"/>
                    <a:gd name="T69" fmla="*/ 189 h 193"/>
                    <a:gd name="T70" fmla="*/ 4 w 152"/>
                    <a:gd name="T71" fmla="*/ 193 h 193"/>
                    <a:gd name="T72" fmla="*/ 124 w 152"/>
                    <a:gd name="T73" fmla="*/ 193 h 193"/>
                    <a:gd name="T74" fmla="*/ 128 w 152"/>
                    <a:gd name="T75" fmla="*/ 189 h 193"/>
                    <a:gd name="T76" fmla="*/ 128 w 152"/>
                    <a:gd name="T77" fmla="*/ 181 h 193"/>
                    <a:gd name="T78" fmla="*/ 108 w 152"/>
                    <a:gd name="T79" fmla="*/ 16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2" h="193">
                      <a:moveTo>
                        <a:pt x="108" y="161"/>
                      </a:moveTo>
                      <a:cubicBezTo>
                        <a:pt x="68" y="161"/>
                        <a:pt x="68" y="161"/>
                        <a:pt x="68" y="161"/>
                      </a:cubicBezTo>
                      <a:cubicBezTo>
                        <a:pt x="68" y="145"/>
                        <a:pt x="68" y="145"/>
                        <a:pt x="68" y="145"/>
                      </a:cubicBezTo>
                      <a:cubicBezTo>
                        <a:pt x="88" y="144"/>
                        <a:pt x="107" y="136"/>
                        <a:pt x="121" y="122"/>
                      </a:cubicBezTo>
                      <a:cubicBezTo>
                        <a:pt x="148" y="94"/>
                        <a:pt x="152" y="50"/>
                        <a:pt x="130" y="19"/>
                      </a:cubicBezTo>
                      <a:cubicBezTo>
                        <a:pt x="130" y="18"/>
                        <a:pt x="130" y="18"/>
                        <a:pt x="130" y="18"/>
                      </a:cubicBezTo>
                      <a:cubicBezTo>
                        <a:pt x="130" y="18"/>
                        <a:pt x="130" y="18"/>
                        <a:pt x="130" y="18"/>
                      </a:cubicBezTo>
                      <a:cubicBezTo>
                        <a:pt x="129" y="17"/>
                        <a:pt x="128" y="16"/>
                        <a:pt x="128" y="14"/>
                      </a:cubicBezTo>
                      <a:cubicBezTo>
                        <a:pt x="128" y="13"/>
                        <a:pt x="129" y="11"/>
                        <a:pt x="130" y="10"/>
                      </a:cubicBezTo>
                      <a:cubicBezTo>
                        <a:pt x="132" y="8"/>
                        <a:pt x="135" y="8"/>
                        <a:pt x="137" y="10"/>
                      </a:cubicBezTo>
                      <a:cubicBezTo>
                        <a:pt x="139" y="12"/>
                        <a:pt x="141" y="12"/>
                        <a:pt x="143" y="10"/>
                      </a:cubicBezTo>
                      <a:cubicBezTo>
                        <a:pt x="144" y="9"/>
                        <a:pt x="144" y="6"/>
                        <a:pt x="143" y="5"/>
                      </a:cubicBezTo>
                      <a:cubicBezTo>
                        <a:pt x="138" y="0"/>
                        <a:pt x="129" y="0"/>
                        <a:pt x="124" y="5"/>
                      </a:cubicBezTo>
                      <a:cubicBezTo>
                        <a:pt x="121" y="7"/>
                        <a:pt x="120" y="11"/>
                        <a:pt x="120" y="14"/>
                      </a:cubicBezTo>
                      <a:cubicBezTo>
                        <a:pt x="120" y="18"/>
                        <a:pt x="121" y="21"/>
                        <a:pt x="124" y="23"/>
                      </a:cubicBezTo>
                      <a:cubicBezTo>
                        <a:pt x="124" y="23"/>
                        <a:pt x="124" y="23"/>
                        <a:pt x="124" y="23"/>
                      </a:cubicBezTo>
                      <a:cubicBezTo>
                        <a:pt x="143" y="52"/>
                        <a:pt x="140" y="92"/>
                        <a:pt x="115" y="116"/>
                      </a:cubicBezTo>
                      <a:cubicBezTo>
                        <a:pt x="91" y="140"/>
                        <a:pt x="51" y="144"/>
                        <a:pt x="23" y="124"/>
                      </a:cubicBezTo>
                      <a:cubicBezTo>
                        <a:pt x="23" y="124"/>
                        <a:pt x="23" y="124"/>
                        <a:pt x="23" y="124"/>
                      </a:cubicBezTo>
                      <a:cubicBezTo>
                        <a:pt x="17" y="120"/>
                        <a:pt x="9" y="120"/>
                        <a:pt x="4" y="125"/>
                      </a:cubicBezTo>
                      <a:cubicBezTo>
                        <a:pt x="2" y="127"/>
                        <a:pt x="0" y="131"/>
                        <a:pt x="0" y="134"/>
                      </a:cubicBezTo>
                      <a:cubicBezTo>
                        <a:pt x="0" y="138"/>
                        <a:pt x="2" y="141"/>
                        <a:pt x="4" y="144"/>
                      </a:cubicBezTo>
                      <a:cubicBezTo>
                        <a:pt x="5" y="144"/>
                        <a:pt x="6" y="145"/>
                        <a:pt x="7" y="145"/>
                      </a:cubicBezTo>
                      <a:cubicBezTo>
                        <a:pt x="8" y="145"/>
                        <a:pt x="9" y="144"/>
                        <a:pt x="10" y="144"/>
                      </a:cubicBezTo>
                      <a:cubicBezTo>
                        <a:pt x="11" y="142"/>
                        <a:pt x="11" y="140"/>
                        <a:pt x="10" y="138"/>
                      </a:cubicBezTo>
                      <a:cubicBezTo>
                        <a:pt x="9" y="137"/>
                        <a:pt x="8" y="136"/>
                        <a:pt x="8" y="134"/>
                      </a:cubicBezTo>
                      <a:cubicBezTo>
                        <a:pt x="8" y="133"/>
                        <a:pt x="9" y="131"/>
                        <a:pt x="10" y="130"/>
                      </a:cubicBezTo>
                      <a:cubicBezTo>
                        <a:pt x="12" y="128"/>
                        <a:pt x="15" y="128"/>
                        <a:pt x="18" y="130"/>
                      </a:cubicBezTo>
                      <a:cubicBezTo>
                        <a:pt x="18" y="131"/>
                        <a:pt x="18" y="131"/>
                        <a:pt x="18" y="131"/>
                      </a:cubicBezTo>
                      <a:cubicBezTo>
                        <a:pt x="18" y="131"/>
                        <a:pt x="18" y="131"/>
                        <a:pt x="18" y="131"/>
                      </a:cubicBezTo>
                      <a:cubicBezTo>
                        <a:pt x="31" y="140"/>
                        <a:pt x="45" y="144"/>
                        <a:pt x="60" y="145"/>
                      </a:cubicBezTo>
                      <a:cubicBezTo>
                        <a:pt x="60" y="161"/>
                        <a:pt x="60" y="161"/>
                        <a:pt x="60" y="161"/>
                      </a:cubicBezTo>
                      <a:cubicBezTo>
                        <a:pt x="20" y="161"/>
                        <a:pt x="20" y="161"/>
                        <a:pt x="20" y="161"/>
                      </a:cubicBezTo>
                      <a:cubicBezTo>
                        <a:pt x="9" y="161"/>
                        <a:pt x="0" y="170"/>
                        <a:pt x="0" y="181"/>
                      </a:cubicBezTo>
                      <a:cubicBezTo>
                        <a:pt x="0" y="189"/>
                        <a:pt x="0" y="189"/>
                        <a:pt x="0" y="189"/>
                      </a:cubicBezTo>
                      <a:cubicBezTo>
                        <a:pt x="0" y="191"/>
                        <a:pt x="2" y="193"/>
                        <a:pt x="4" y="193"/>
                      </a:cubicBezTo>
                      <a:cubicBezTo>
                        <a:pt x="124" y="193"/>
                        <a:pt x="124" y="193"/>
                        <a:pt x="124" y="193"/>
                      </a:cubicBezTo>
                      <a:cubicBezTo>
                        <a:pt x="127" y="193"/>
                        <a:pt x="128" y="191"/>
                        <a:pt x="128" y="189"/>
                      </a:cubicBezTo>
                      <a:cubicBezTo>
                        <a:pt x="128" y="181"/>
                        <a:pt x="128" y="181"/>
                        <a:pt x="128" y="181"/>
                      </a:cubicBezTo>
                      <a:cubicBezTo>
                        <a:pt x="128" y="170"/>
                        <a:pt x="119" y="161"/>
                        <a:pt x="108" y="16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 name="Freeform 26"/>
                <p:cNvSpPr>
                  <a:spLocks noEditPoints="1"/>
                </p:cNvSpPr>
                <p:nvPr/>
              </p:nvSpPr>
              <p:spPr bwMode="auto">
                <a:xfrm>
                  <a:off x="3290888" y="536575"/>
                  <a:ext cx="358775" cy="357188"/>
                </a:xfrm>
                <a:custGeom>
                  <a:avLst/>
                  <a:gdLst>
                    <a:gd name="T0" fmla="*/ 64 w 128"/>
                    <a:gd name="T1" fmla="*/ 127 h 127"/>
                    <a:gd name="T2" fmla="*/ 128 w 128"/>
                    <a:gd name="T3" fmla="*/ 64 h 127"/>
                    <a:gd name="T4" fmla="*/ 64 w 128"/>
                    <a:gd name="T5" fmla="*/ 0 h 127"/>
                    <a:gd name="T6" fmla="*/ 0 w 128"/>
                    <a:gd name="T7" fmla="*/ 64 h 127"/>
                    <a:gd name="T8" fmla="*/ 64 w 128"/>
                    <a:gd name="T9" fmla="*/ 127 h 127"/>
                    <a:gd name="T10" fmla="*/ 64 w 128"/>
                    <a:gd name="T11" fmla="*/ 24 h 127"/>
                    <a:gd name="T12" fmla="*/ 68 w 128"/>
                    <a:gd name="T13" fmla="*/ 28 h 127"/>
                    <a:gd name="T14" fmla="*/ 64 w 128"/>
                    <a:gd name="T15" fmla="*/ 32 h 127"/>
                    <a:gd name="T16" fmla="*/ 28 w 128"/>
                    <a:gd name="T17" fmla="*/ 68 h 127"/>
                    <a:gd name="T18" fmla="*/ 24 w 128"/>
                    <a:gd name="T19" fmla="*/ 72 h 127"/>
                    <a:gd name="T20" fmla="*/ 20 w 128"/>
                    <a:gd name="T21" fmla="*/ 68 h 127"/>
                    <a:gd name="T22" fmla="*/ 64 w 128"/>
                    <a:gd name="T23" fmla="*/ 2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 h="127">
                      <a:moveTo>
                        <a:pt x="64" y="127"/>
                      </a:moveTo>
                      <a:cubicBezTo>
                        <a:pt x="99" y="127"/>
                        <a:pt x="128" y="99"/>
                        <a:pt x="128" y="64"/>
                      </a:cubicBezTo>
                      <a:cubicBezTo>
                        <a:pt x="128" y="29"/>
                        <a:pt x="99" y="0"/>
                        <a:pt x="64" y="0"/>
                      </a:cubicBezTo>
                      <a:cubicBezTo>
                        <a:pt x="29" y="0"/>
                        <a:pt x="0" y="29"/>
                        <a:pt x="0" y="64"/>
                      </a:cubicBezTo>
                      <a:cubicBezTo>
                        <a:pt x="0" y="99"/>
                        <a:pt x="29" y="127"/>
                        <a:pt x="64" y="127"/>
                      </a:cubicBezTo>
                      <a:close/>
                      <a:moveTo>
                        <a:pt x="64" y="24"/>
                      </a:moveTo>
                      <a:cubicBezTo>
                        <a:pt x="66" y="24"/>
                        <a:pt x="68" y="26"/>
                        <a:pt x="68" y="28"/>
                      </a:cubicBezTo>
                      <a:cubicBezTo>
                        <a:pt x="68" y="30"/>
                        <a:pt x="66" y="32"/>
                        <a:pt x="64" y="32"/>
                      </a:cubicBezTo>
                      <a:cubicBezTo>
                        <a:pt x="44" y="32"/>
                        <a:pt x="28" y="48"/>
                        <a:pt x="28" y="68"/>
                      </a:cubicBezTo>
                      <a:cubicBezTo>
                        <a:pt x="28" y="70"/>
                        <a:pt x="27" y="72"/>
                        <a:pt x="24" y="72"/>
                      </a:cubicBezTo>
                      <a:cubicBezTo>
                        <a:pt x="22" y="72"/>
                        <a:pt x="20" y="70"/>
                        <a:pt x="20" y="68"/>
                      </a:cubicBezTo>
                      <a:cubicBezTo>
                        <a:pt x="20" y="44"/>
                        <a:pt x="40" y="24"/>
                        <a:pt x="64"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grpSp>
        <p:nvGrpSpPr>
          <p:cNvPr id="8" name="组合 7"/>
          <p:cNvGrpSpPr/>
          <p:nvPr/>
        </p:nvGrpSpPr>
        <p:grpSpPr>
          <a:xfrm>
            <a:off x="4775916" y="1347614"/>
            <a:ext cx="1439180" cy="1278500"/>
            <a:chOff x="4775916" y="1347614"/>
            <a:chExt cx="1439180" cy="1278500"/>
          </a:xfrm>
        </p:grpSpPr>
        <p:sp>
          <p:nvSpPr>
            <p:cNvPr id="20" name="椭圆 19"/>
            <p:cNvSpPr/>
            <p:nvPr/>
          </p:nvSpPr>
          <p:spPr>
            <a:xfrm>
              <a:off x="4936596" y="1347614"/>
              <a:ext cx="1278500" cy="1278500"/>
            </a:xfrm>
            <a:prstGeom prst="ellipse">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4775916" y="1347614"/>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C</a:t>
              </a:r>
              <a:endParaRPr lang="zh-CN" altLang="en-US" dirty="0"/>
            </a:p>
          </p:txBody>
        </p:sp>
        <p:sp>
          <p:nvSpPr>
            <p:cNvPr id="33" name="Freeform 97"/>
            <p:cNvSpPr/>
            <p:nvPr/>
          </p:nvSpPr>
          <p:spPr bwMode="auto">
            <a:xfrm>
              <a:off x="5278454" y="1721031"/>
              <a:ext cx="634975" cy="528835"/>
            </a:xfrm>
            <a:custGeom>
              <a:avLst/>
              <a:gdLst>
                <a:gd name="T0" fmla="*/ 188 w 192"/>
                <a:gd name="T1" fmla="*/ 80 h 160"/>
                <a:gd name="T2" fmla="*/ 164 w 192"/>
                <a:gd name="T3" fmla="*/ 80 h 160"/>
                <a:gd name="T4" fmla="*/ 161 w 192"/>
                <a:gd name="T5" fmla="*/ 82 h 160"/>
                <a:gd name="T6" fmla="*/ 157 w 192"/>
                <a:gd name="T7" fmla="*/ 88 h 160"/>
                <a:gd name="T8" fmla="*/ 152 w 192"/>
                <a:gd name="T9" fmla="*/ 67 h 160"/>
                <a:gd name="T10" fmla="*/ 148 w 192"/>
                <a:gd name="T11" fmla="*/ 64 h 160"/>
                <a:gd name="T12" fmla="*/ 144 w 192"/>
                <a:gd name="T13" fmla="*/ 67 h 160"/>
                <a:gd name="T14" fmla="*/ 134 w 192"/>
                <a:gd name="T15" fmla="*/ 98 h 160"/>
                <a:gd name="T16" fmla="*/ 128 w 192"/>
                <a:gd name="T17" fmla="*/ 51 h 160"/>
                <a:gd name="T18" fmla="*/ 124 w 192"/>
                <a:gd name="T19" fmla="*/ 48 h 160"/>
                <a:gd name="T20" fmla="*/ 120 w 192"/>
                <a:gd name="T21" fmla="*/ 51 h 160"/>
                <a:gd name="T22" fmla="*/ 103 w 192"/>
                <a:gd name="T23" fmla="*/ 127 h 160"/>
                <a:gd name="T24" fmla="*/ 96 w 192"/>
                <a:gd name="T25" fmla="*/ 4 h 160"/>
                <a:gd name="T26" fmla="*/ 92 w 192"/>
                <a:gd name="T27" fmla="*/ 0 h 160"/>
                <a:gd name="T28" fmla="*/ 88 w 192"/>
                <a:gd name="T29" fmla="*/ 3 h 160"/>
                <a:gd name="T30" fmla="*/ 69 w 192"/>
                <a:gd name="T31" fmla="*/ 85 h 160"/>
                <a:gd name="T32" fmla="*/ 64 w 192"/>
                <a:gd name="T33" fmla="*/ 43 h 160"/>
                <a:gd name="T34" fmla="*/ 61 w 192"/>
                <a:gd name="T35" fmla="*/ 40 h 160"/>
                <a:gd name="T36" fmla="*/ 56 w 192"/>
                <a:gd name="T37" fmla="*/ 43 h 160"/>
                <a:gd name="T38" fmla="*/ 45 w 192"/>
                <a:gd name="T39" fmla="*/ 78 h 160"/>
                <a:gd name="T40" fmla="*/ 40 w 192"/>
                <a:gd name="T41" fmla="*/ 59 h 160"/>
                <a:gd name="T42" fmla="*/ 37 w 192"/>
                <a:gd name="T43" fmla="*/ 56 h 160"/>
                <a:gd name="T44" fmla="*/ 33 w 192"/>
                <a:gd name="T45" fmla="*/ 58 h 160"/>
                <a:gd name="T46" fmla="*/ 26 w 192"/>
                <a:gd name="T47" fmla="*/ 72 h 160"/>
                <a:gd name="T48" fmla="*/ 4 w 192"/>
                <a:gd name="T49" fmla="*/ 72 h 160"/>
                <a:gd name="T50" fmla="*/ 0 w 192"/>
                <a:gd name="T51" fmla="*/ 76 h 160"/>
                <a:gd name="T52" fmla="*/ 4 w 192"/>
                <a:gd name="T53" fmla="*/ 80 h 160"/>
                <a:gd name="T54" fmla="*/ 28 w 192"/>
                <a:gd name="T55" fmla="*/ 80 h 160"/>
                <a:gd name="T56" fmla="*/ 32 w 192"/>
                <a:gd name="T57" fmla="*/ 78 h 160"/>
                <a:gd name="T58" fmla="*/ 35 w 192"/>
                <a:gd name="T59" fmla="*/ 71 h 160"/>
                <a:gd name="T60" fmla="*/ 40 w 192"/>
                <a:gd name="T61" fmla="*/ 93 h 160"/>
                <a:gd name="T62" fmla="*/ 44 w 192"/>
                <a:gd name="T63" fmla="*/ 96 h 160"/>
                <a:gd name="T64" fmla="*/ 48 w 192"/>
                <a:gd name="T65" fmla="*/ 93 h 160"/>
                <a:gd name="T66" fmla="*/ 58 w 192"/>
                <a:gd name="T67" fmla="*/ 62 h 160"/>
                <a:gd name="T68" fmla="*/ 64 w 192"/>
                <a:gd name="T69" fmla="*/ 108 h 160"/>
                <a:gd name="T70" fmla="*/ 68 w 192"/>
                <a:gd name="T71" fmla="*/ 112 h 160"/>
                <a:gd name="T72" fmla="*/ 72 w 192"/>
                <a:gd name="T73" fmla="*/ 109 h 160"/>
                <a:gd name="T74" fmla="*/ 90 w 192"/>
                <a:gd name="T75" fmla="*/ 32 h 160"/>
                <a:gd name="T76" fmla="*/ 96 w 192"/>
                <a:gd name="T77" fmla="*/ 156 h 160"/>
                <a:gd name="T78" fmla="*/ 100 w 192"/>
                <a:gd name="T79" fmla="*/ 160 h 160"/>
                <a:gd name="T80" fmla="*/ 100 w 192"/>
                <a:gd name="T81" fmla="*/ 160 h 160"/>
                <a:gd name="T82" fmla="*/ 104 w 192"/>
                <a:gd name="T83" fmla="*/ 157 h 160"/>
                <a:gd name="T84" fmla="*/ 123 w 192"/>
                <a:gd name="T85" fmla="*/ 75 h 160"/>
                <a:gd name="T86" fmla="*/ 128 w 192"/>
                <a:gd name="T87" fmla="*/ 116 h 160"/>
                <a:gd name="T88" fmla="*/ 132 w 192"/>
                <a:gd name="T89" fmla="*/ 120 h 160"/>
                <a:gd name="T90" fmla="*/ 136 w 192"/>
                <a:gd name="T91" fmla="*/ 117 h 160"/>
                <a:gd name="T92" fmla="*/ 148 w 192"/>
                <a:gd name="T93" fmla="*/ 82 h 160"/>
                <a:gd name="T94" fmla="*/ 152 w 192"/>
                <a:gd name="T95" fmla="*/ 101 h 160"/>
                <a:gd name="T96" fmla="*/ 156 w 192"/>
                <a:gd name="T97" fmla="*/ 104 h 160"/>
                <a:gd name="T98" fmla="*/ 160 w 192"/>
                <a:gd name="T99" fmla="*/ 102 h 160"/>
                <a:gd name="T100" fmla="*/ 167 w 192"/>
                <a:gd name="T101" fmla="*/ 88 h 160"/>
                <a:gd name="T102" fmla="*/ 188 w 192"/>
                <a:gd name="T103" fmla="*/ 88 h 160"/>
                <a:gd name="T104" fmla="*/ 192 w 192"/>
                <a:gd name="T105" fmla="*/ 84 h 160"/>
                <a:gd name="T106" fmla="*/ 188 w 192"/>
                <a:gd name="T107"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2" h="160">
                  <a:moveTo>
                    <a:pt x="188" y="80"/>
                  </a:moveTo>
                  <a:cubicBezTo>
                    <a:pt x="164" y="80"/>
                    <a:pt x="164" y="80"/>
                    <a:pt x="164" y="80"/>
                  </a:cubicBezTo>
                  <a:cubicBezTo>
                    <a:pt x="163" y="80"/>
                    <a:pt x="161" y="81"/>
                    <a:pt x="161" y="82"/>
                  </a:cubicBezTo>
                  <a:cubicBezTo>
                    <a:pt x="157" y="88"/>
                    <a:pt x="157" y="88"/>
                    <a:pt x="157" y="88"/>
                  </a:cubicBezTo>
                  <a:cubicBezTo>
                    <a:pt x="152" y="67"/>
                    <a:pt x="152" y="67"/>
                    <a:pt x="152" y="67"/>
                  </a:cubicBezTo>
                  <a:cubicBezTo>
                    <a:pt x="152" y="65"/>
                    <a:pt x="150" y="64"/>
                    <a:pt x="148" y="64"/>
                  </a:cubicBezTo>
                  <a:cubicBezTo>
                    <a:pt x="147" y="64"/>
                    <a:pt x="145" y="65"/>
                    <a:pt x="144" y="67"/>
                  </a:cubicBezTo>
                  <a:cubicBezTo>
                    <a:pt x="134" y="98"/>
                    <a:pt x="134" y="98"/>
                    <a:pt x="134" y="98"/>
                  </a:cubicBezTo>
                  <a:cubicBezTo>
                    <a:pt x="128" y="51"/>
                    <a:pt x="128" y="51"/>
                    <a:pt x="128" y="51"/>
                  </a:cubicBezTo>
                  <a:cubicBezTo>
                    <a:pt x="128" y="49"/>
                    <a:pt x="126" y="48"/>
                    <a:pt x="124" y="48"/>
                  </a:cubicBezTo>
                  <a:cubicBezTo>
                    <a:pt x="123" y="48"/>
                    <a:pt x="121" y="49"/>
                    <a:pt x="120" y="51"/>
                  </a:cubicBezTo>
                  <a:cubicBezTo>
                    <a:pt x="103" y="127"/>
                    <a:pt x="103" y="127"/>
                    <a:pt x="103" y="127"/>
                  </a:cubicBezTo>
                  <a:cubicBezTo>
                    <a:pt x="96" y="4"/>
                    <a:pt x="96" y="4"/>
                    <a:pt x="96" y="4"/>
                  </a:cubicBezTo>
                  <a:cubicBezTo>
                    <a:pt x="96" y="2"/>
                    <a:pt x="94" y="0"/>
                    <a:pt x="92" y="0"/>
                  </a:cubicBezTo>
                  <a:cubicBezTo>
                    <a:pt x="91" y="0"/>
                    <a:pt x="89" y="1"/>
                    <a:pt x="88" y="3"/>
                  </a:cubicBezTo>
                  <a:cubicBezTo>
                    <a:pt x="69" y="85"/>
                    <a:pt x="69" y="85"/>
                    <a:pt x="69" y="85"/>
                  </a:cubicBezTo>
                  <a:cubicBezTo>
                    <a:pt x="64" y="43"/>
                    <a:pt x="64" y="43"/>
                    <a:pt x="64" y="43"/>
                  </a:cubicBezTo>
                  <a:cubicBezTo>
                    <a:pt x="64" y="42"/>
                    <a:pt x="62" y="40"/>
                    <a:pt x="61" y="40"/>
                  </a:cubicBezTo>
                  <a:cubicBezTo>
                    <a:pt x="59" y="40"/>
                    <a:pt x="57" y="41"/>
                    <a:pt x="56" y="43"/>
                  </a:cubicBezTo>
                  <a:cubicBezTo>
                    <a:pt x="45" y="78"/>
                    <a:pt x="45" y="78"/>
                    <a:pt x="45" y="78"/>
                  </a:cubicBezTo>
                  <a:cubicBezTo>
                    <a:pt x="40" y="59"/>
                    <a:pt x="40" y="59"/>
                    <a:pt x="40" y="59"/>
                  </a:cubicBezTo>
                  <a:cubicBezTo>
                    <a:pt x="40" y="57"/>
                    <a:pt x="38" y="56"/>
                    <a:pt x="37" y="56"/>
                  </a:cubicBezTo>
                  <a:cubicBezTo>
                    <a:pt x="35" y="56"/>
                    <a:pt x="33" y="57"/>
                    <a:pt x="33" y="58"/>
                  </a:cubicBezTo>
                  <a:cubicBezTo>
                    <a:pt x="26" y="72"/>
                    <a:pt x="26" y="72"/>
                    <a:pt x="26" y="72"/>
                  </a:cubicBezTo>
                  <a:cubicBezTo>
                    <a:pt x="4" y="72"/>
                    <a:pt x="4" y="72"/>
                    <a:pt x="4" y="72"/>
                  </a:cubicBezTo>
                  <a:cubicBezTo>
                    <a:pt x="2" y="72"/>
                    <a:pt x="0" y="74"/>
                    <a:pt x="0" y="76"/>
                  </a:cubicBezTo>
                  <a:cubicBezTo>
                    <a:pt x="0" y="78"/>
                    <a:pt x="2" y="80"/>
                    <a:pt x="4" y="80"/>
                  </a:cubicBezTo>
                  <a:cubicBezTo>
                    <a:pt x="28" y="80"/>
                    <a:pt x="28" y="80"/>
                    <a:pt x="28" y="80"/>
                  </a:cubicBezTo>
                  <a:cubicBezTo>
                    <a:pt x="30" y="80"/>
                    <a:pt x="31" y="79"/>
                    <a:pt x="32" y="78"/>
                  </a:cubicBezTo>
                  <a:cubicBezTo>
                    <a:pt x="35" y="71"/>
                    <a:pt x="35" y="71"/>
                    <a:pt x="35" y="71"/>
                  </a:cubicBezTo>
                  <a:cubicBezTo>
                    <a:pt x="40" y="93"/>
                    <a:pt x="40" y="93"/>
                    <a:pt x="40" y="93"/>
                  </a:cubicBezTo>
                  <a:cubicBezTo>
                    <a:pt x="41" y="95"/>
                    <a:pt x="42" y="96"/>
                    <a:pt x="44" y="96"/>
                  </a:cubicBezTo>
                  <a:cubicBezTo>
                    <a:pt x="46" y="96"/>
                    <a:pt x="47" y="95"/>
                    <a:pt x="48" y="93"/>
                  </a:cubicBezTo>
                  <a:cubicBezTo>
                    <a:pt x="58" y="62"/>
                    <a:pt x="58" y="62"/>
                    <a:pt x="58" y="62"/>
                  </a:cubicBezTo>
                  <a:cubicBezTo>
                    <a:pt x="64" y="108"/>
                    <a:pt x="64" y="108"/>
                    <a:pt x="64" y="108"/>
                  </a:cubicBezTo>
                  <a:cubicBezTo>
                    <a:pt x="64" y="110"/>
                    <a:pt x="66" y="112"/>
                    <a:pt x="68" y="112"/>
                  </a:cubicBezTo>
                  <a:cubicBezTo>
                    <a:pt x="70" y="112"/>
                    <a:pt x="72" y="111"/>
                    <a:pt x="72" y="109"/>
                  </a:cubicBezTo>
                  <a:cubicBezTo>
                    <a:pt x="90" y="32"/>
                    <a:pt x="90" y="32"/>
                    <a:pt x="90" y="32"/>
                  </a:cubicBezTo>
                  <a:cubicBezTo>
                    <a:pt x="96" y="156"/>
                    <a:pt x="96" y="156"/>
                    <a:pt x="96" y="156"/>
                  </a:cubicBezTo>
                  <a:cubicBezTo>
                    <a:pt x="96" y="158"/>
                    <a:pt x="98" y="160"/>
                    <a:pt x="100" y="160"/>
                  </a:cubicBezTo>
                  <a:cubicBezTo>
                    <a:pt x="100" y="160"/>
                    <a:pt x="100" y="160"/>
                    <a:pt x="100" y="160"/>
                  </a:cubicBezTo>
                  <a:cubicBezTo>
                    <a:pt x="102" y="160"/>
                    <a:pt x="104" y="159"/>
                    <a:pt x="104" y="157"/>
                  </a:cubicBezTo>
                  <a:cubicBezTo>
                    <a:pt x="123" y="75"/>
                    <a:pt x="123" y="75"/>
                    <a:pt x="123" y="75"/>
                  </a:cubicBezTo>
                  <a:cubicBezTo>
                    <a:pt x="128" y="116"/>
                    <a:pt x="128" y="116"/>
                    <a:pt x="128" y="116"/>
                  </a:cubicBezTo>
                  <a:cubicBezTo>
                    <a:pt x="128" y="118"/>
                    <a:pt x="130" y="120"/>
                    <a:pt x="132" y="120"/>
                  </a:cubicBezTo>
                  <a:cubicBezTo>
                    <a:pt x="134" y="120"/>
                    <a:pt x="135" y="119"/>
                    <a:pt x="136" y="117"/>
                  </a:cubicBezTo>
                  <a:cubicBezTo>
                    <a:pt x="148" y="82"/>
                    <a:pt x="148" y="82"/>
                    <a:pt x="148" y="82"/>
                  </a:cubicBezTo>
                  <a:cubicBezTo>
                    <a:pt x="152" y="101"/>
                    <a:pt x="152" y="101"/>
                    <a:pt x="152" y="101"/>
                  </a:cubicBezTo>
                  <a:cubicBezTo>
                    <a:pt x="153" y="102"/>
                    <a:pt x="154" y="104"/>
                    <a:pt x="156" y="104"/>
                  </a:cubicBezTo>
                  <a:cubicBezTo>
                    <a:pt x="157" y="104"/>
                    <a:pt x="159" y="103"/>
                    <a:pt x="160" y="102"/>
                  </a:cubicBezTo>
                  <a:cubicBezTo>
                    <a:pt x="167" y="88"/>
                    <a:pt x="167" y="88"/>
                    <a:pt x="167" y="88"/>
                  </a:cubicBezTo>
                  <a:cubicBezTo>
                    <a:pt x="188" y="88"/>
                    <a:pt x="188" y="88"/>
                    <a:pt x="188" y="88"/>
                  </a:cubicBezTo>
                  <a:cubicBezTo>
                    <a:pt x="190" y="88"/>
                    <a:pt x="192" y="86"/>
                    <a:pt x="192" y="84"/>
                  </a:cubicBezTo>
                  <a:cubicBezTo>
                    <a:pt x="192" y="82"/>
                    <a:pt x="190" y="80"/>
                    <a:pt x="188" y="8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9" name="组合 8"/>
          <p:cNvGrpSpPr/>
          <p:nvPr/>
        </p:nvGrpSpPr>
        <p:grpSpPr>
          <a:xfrm>
            <a:off x="6548372" y="1347614"/>
            <a:ext cx="1439180" cy="1278500"/>
            <a:chOff x="6548372" y="1347614"/>
            <a:chExt cx="1439180" cy="1278500"/>
          </a:xfrm>
        </p:grpSpPr>
        <p:sp>
          <p:nvSpPr>
            <p:cNvPr id="25" name="椭圆 24"/>
            <p:cNvSpPr/>
            <p:nvPr/>
          </p:nvSpPr>
          <p:spPr>
            <a:xfrm>
              <a:off x="6709052" y="1347614"/>
              <a:ext cx="1278500" cy="1278500"/>
            </a:xfrm>
            <a:prstGeom prst="ellipse">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p:cNvSpPr/>
            <p:nvPr/>
          </p:nvSpPr>
          <p:spPr>
            <a:xfrm>
              <a:off x="6548372" y="1347614"/>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D</a:t>
              </a:r>
              <a:endParaRPr lang="zh-CN" altLang="en-US" dirty="0"/>
            </a:p>
          </p:txBody>
        </p:sp>
        <p:sp>
          <p:nvSpPr>
            <p:cNvPr id="34" name="Freeform 154"/>
            <p:cNvSpPr>
              <a:spLocks noEditPoints="1"/>
            </p:cNvSpPr>
            <p:nvPr/>
          </p:nvSpPr>
          <p:spPr bwMode="auto">
            <a:xfrm>
              <a:off x="7094774" y="1718552"/>
              <a:ext cx="507055" cy="519991"/>
            </a:xfrm>
            <a:custGeom>
              <a:avLst/>
              <a:gdLst>
                <a:gd name="T0" fmla="*/ 80 w 91"/>
                <a:gd name="T1" fmla="*/ 44 h 93"/>
                <a:gd name="T2" fmla="*/ 87 w 91"/>
                <a:gd name="T3" fmla="*/ 37 h 93"/>
                <a:gd name="T4" fmla="*/ 87 w 91"/>
                <a:gd name="T5" fmla="*/ 23 h 93"/>
                <a:gd name="T6" fmla="*/ 68 w 91"/>
                <a:gd name="T7" fmla="*/ 4 h 93"/>
                <a:gd name="T8" fmla="*/ 54 w 91"/>
                <a:gd name="T9" fmla="*/ 4 h 93"/>
                <a:gd name="T10" fmla="*/ 47 w 91"/>
                <a:gd name="T11" fmla="*/ 11 h 93"/>
                <a:gd name="T12" fmla="*/ 80 w 91"/>
                <a:gd name="T13" fmla="*/ 44 h 93"/>
                <a:gd name="T14" fmla="*/ 52 w 91"/>
                <a:gd name="T15" fmla="*/ 23 h 93"/>
                <a:gd name="T16" fmla="*/ 68 w 91"/>
                <a:gd name="T17" fmla="*/ 39 h 93"/>
                <a:gd name="T18" fmla="*/ 77 w 91"/>
                <a:gd name="T19" fmla="*/ 48 h 93"/>
                <a:gd name="T20" fmla="*/ 43 w 91"/>
                <a:gd name="T21" fmla="*/ 81 h 93"/>
                <a:gd name="T22" fmla="*/ 34 w 91"/>
                <a:gd name="T23" fmla="*/ 73 h 93"/>
                <a:gd name="T24" fmla="*/ 19 w 91"/>
                <a:gd name="T25" fmla="*/ 59 h 93"/>
                <a:gd name="T26" fmla="*/ 41 w 91"/>
                <a:gd name="T27" fmla="*/ 37 h 93"/>
                <a:gd name="T28" fmla="*/ 39 w 91"/>
                <a:gd name="T29" fmla="*/ 34 h 93"/>
                <a:gd name="T30" fmla="*/ 16 w 91"/>
                <a:gd name="T31" fmla="*/ 57 h 93"/>
                <a:gd name="T32" fmla="*/ 10 w 91"/>
                <a:gd name="T33" fmla="*/ 48 h 93"/>
                <a:gd name="T34" fmla="*/ 43 w 91"/>
                <a:gd name="T35" fmla="*/ 14 h 93"/>
                <a:gd name="T36" fmla="*/ 52 w 91"/>
                <a:gd name="T37" fmla="*/ 23 h 93"/>
                <a:gd name="T38" fmla="*/ 4 w 91"/>
                <a:gd name="T39" fmla="*/ 69 h 93"/>
                <a:gd name="T40" fmla="*/ 0 w 91"/>
                <a:gd name="T41" fmla="*/ 86 h 93"/>
                <a:gd name="T42" fmla="*/ 6 w 91"/>
                <a:gd name="T43" fmla="*/ 93 h 93"/>
                <a:gd name="T44" fmla="*/ 24 w 91"/>
                <a:gd name="T45" fmla="*/ 89 h 93"/>
                <a:gd name="T46" fmla="*/ 4 w 91"/>
                <a:gd name="T47" fmla="*/ 6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1" h="93">
                  <a:moveTo>
                    <a:pt x="80" y="44"/>
                  </a:moveTo>
                  <a:cubicBezTo>
                    <a:pt x="87" y="37"/>
                    <a:pt x="87" y="37"/>
                    <a:pt x="87" y="37"/>
                  </a:cubicBezTo>
                  <a:cubicBezTo>
                    <a:pt x="91" y="33"/>
                    <a:pt x="91" y="27"/>
                    <a:pt x="87" y="23"/>
                  </a:cubicBezTo>
                  <a:cubicBezTo>
                    <a:pt x="68" y="4"/>
                    <a:pt x="68" y="4"/>
                    <a:pt x="68" y="4"/>
                  </a:cubicBezTo>
                  <a:cubicBezTo>
                    <a:pt x="64" y="0"/>
                    <a:pt x="58" y="0"/>
                    <a:pt x="54" y="4"/>
                  </a:cubicBezTo>
                  <a:cubicBezTo>
                    <a:pt x="47" y="11"/>
                    <a:pt x="47" y="11"/>
                    <a:pt x="47" y="11"/>
                  </a:cubicBezTo>
                  <a:cubicBezTo>
                    <a:pt x="80" y="44"/>
                    <a:pt x="80" y="44"/>
                    <a:pt x="80" y="44"/>
                  </a:cubicBezTo>
                  <a:close/>
                  <a:moveTo>
                    <a:pt x="52" y="23"/>
                  </a:moveTo>
                  <a:cubicBezTo>
                    <a:pt x="68" y="39"/>
                    <a:pt x="68" y="39"/>
                    <a:pt x="68" y="39"/>
                  </a:cubicBezTo>
                  <a:cubicBezTo>
                    <a:pt x="77" y="48"/>
                    <a:pt x="77" y="48"/>
                    <a:pt x="77" y="48"/>
                  </a:cubicBezTo>
                  <a:cubicBezTo>
                    <a:pt x="43" y="81"/>
                    <a:pt x="43" y="81"/>
                    <a:pt x="43" y="81"/>
                  </a:cubicBezTo>
                  <a:cubicBezTo>
                    <a:pt x="35" y="83"/>
                    <a:pt x="33" y="79"/>
                    <a:pt x="34" y="73"/>
                  </a:cubicBezTo>
                  <a:cubicBezTo>
                    <a:pt x="26" y="72"/>
                    <a:pt x="20" y="68"/>
                    <a:pt x="19" y="59"/>
                  </a:cubicBezTo>
                  <a:cubicBezTo>
                    <a:pt x="41" y="37"/>
                    <a:pt x="41" y="37"/>
                    <a:pt x="41" y="37"/>
                  </a:cubicBezTo>
                  <a:cubicBezTo>
                    <a:pt x="39" y="34"/>
                    <a:pt x="39" y="34"/>
                    <a:pt x="39" y="34"/>
                  </a:cubicBezTo>
                  <a:cubicBezTo>
                    <a:pt x="16" y="57"/>
                    <a:pt x="16" y="57"/>
                    <a:pt x="16" y="57"/>
                  </a:cubicBezTo>
                  <a:cubicBezTo>
                    <a:pt x="10" y="58"/>
                    <a:pt x="9" y="54"/>
                    <a:pt x="10" y="48"/>
                  </a:cubicBezTo>
                  <a:cubicBezTo>
                    <a:pt x="21" y="37"/>
                    <a:pt x="32" y="26"/>
                    <a:pt x="43" y="14"/>
                  </a:cubicBezTo>
                  <a:cubicBezTo>
                    <a:pt x="52" y="23"/>
                    <a:pt x="52" y="23"/>
                    <a:pt x="52" y="23"/>
                  </a:cubicBezTo>
                  <a:close/>
                  <a:moveTo>
                    <a:pt x="4" y="69"/>
                  </a:moveTo>
                  <a:cubicBezTo>
                    <a:pt x="0" y="86"/>
                    <a:pt x="0" y="86"/>
                    <a:pt x="0" y="86"/>
                  </a:cubicBezTo>
                  <a:cubicBezTo>
                    <a:pt x="6" y="93"/>
                    <a:pt x="6" y="93"/>
                    <a:pt x="6" y="93"/>
                  </a:cubicBezTo>
                  <a:cubicBezTo>
                    <a:pt x="24" y="89"/>
                    <a:pt x="24" y="89"/>
                    <a:pt x="24" y="89"/>
                  </a:cubicBezTo>
                  <a:lnTo>
                    <a:pt x="4" y="69"/>
                  </a:lnTo>
                  <a:close/>
                </a:path>
              </a:pathLst>
            </a:custGeom>
            <a:solidFill>
              <a:schemeClr val="bg1"/>
            </a:solidFill>
            <a:ln>
              <a:noFill/>
            </a:ln>
          </p:spPr>
          <p:txBody>
            <a:bodyPr vert="horz" wrap="square" lIns="91440" tIns="45720" rIns="91440" bIns="45720" numCol="1" anchor="t" anchorCtr="0" compatLnSpc="1"/>
            <a:lstStyle/>
            <a:p>
              <a:endParaRPr lang="zh-CN" altLang="en-US"/>
            </a:p>
          </p:txBody>
        </p:sp>
      </p:grpSp>
      <p:grpSp>
        <p:nvGrpSpPr>
          <p:cNvPr id="17" name="组合 16"/>
          <p:cNvGrpSpPr/>
          <p:nvPr/>
        </p:nvGrpSpPr>
        <p:grpSpPr>
          <a:xfrm>
            <a:off x="855400" y="2778246"/>
            <a:ext cx="1823439" cy="1305555"/>
            <a:chOff x="855400" y="2778246"/>
            <a:chExt cx="1823439" cy="1305555"/>
          </a:xfrm>
        </p:grpSpPr>
        <p:sp>
          <p:nvSpPr>
            <p:cNvPr id="35" name="TextBox 34"/>
            <p:cNvSpPr txBox="1"/>
            <p:nvPr/>
          </p:nvSpPr>
          <p:spPr>
            <a:xfrm>
              <a:off x="891437" y="2778246"/>
              <a:ext cx="1751366" cy="369332"/>
            </a:xfrm>
            <a:prstGeom prst="rect">
              <a:avLst/>
            </a:prstGeom>
            <a:noFill/>
          </p:spPr>
          <p:txBody>
            <a:bodyPr wrap="square" rtlCol="0">
              <a:spAutoFit/>
            </a:bodyPr>
            <a:lstStyle/>
            <a:p>
              <a:pPr algn="ctr"/>
              <a:r>
                <a:rPr lang="en-US" altLang="zh-CN" b="1" dirty="0">
                  <a:solidFill>
                    <a:srgbClr val="800080"/>
                  </a:solidFill>
                </a:rPr>
                <a:t>TEXT  HERE</a:t>
              </a:r>
              <a:endParaRPr lang="zh-CN" altLang="en-US" b="1" dirty="0">
                <a:solidFill>
                  <a:srgbClr val="800080"/>
                </a:solidFill>
              </a:endParaRPr>
            </a:p>
          </p:txBody>
        </p:sp>
        <p:sp>
          <p:nvSpPr>
            <p:cNvPr id="36" name="TextBox 35"/>
            <p:cNvSpPr txBox="1"/>
            <p:nvPr/>
          </p:nvSpPr>
          <p:spPr>
            <a:xfrm>
              <a:off x="855400" y="3160471"/>
              <a:ext cx="1823439"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a:t>
              </a:r>
              <a:endParaRPr lang="zh-CN" altLang="en-US" sz="1200" dirty="0">
                <a:solidFill>
                  <a:schemeClr val="tx1">
                    <a:lumMod val="75000"/>
                    <a:lumOff val="25000"/>
                  </a:schemeClr>
                </a:solidFill>
              </a:endParaRPr>
            </a:p>
          </p:txBody>
        </p:sp>
      </p:grpSp>
      <p:grpSp>
        <p:nvGrpSpPr>
          <p:cNvPr id="18" name="组合 17"/>
          <p:cNvGrpSpPr/>
          <p:nvPr/>
        </p:nvGrpSpPr>
        <p:grpSpPr>
          <a:xfrm>
            <a:off x="2871624" y="2778246"/>
            <a:ext cx="1823439" cy="1305555"/>
            <a:chOff x="2871624" y="2778246"/>
            <a:chExt cx="1823439" cy="1305555"/>
          </a:xfrm>
        </p:grpSpPr>
        <p:sp>
          <p:nvSpPr>
            <p:cNvPr id="37" name="TextBox 36"/>
            <p:cNvSpPr txBox="1"/>
            <p:nvPr/>
          </p:nvSpPr>
          <p:spPr>
            <a:xfrm>
              <a:off x="2907661" y="2778246"/>
              <a:ext cx="1751366" cy="369332"/>
            </a:xfrm>
            <a:prstGeom prst="rect">
              <a:avLst/>
            </a:prstGeom>
            <a:noFill/>
          </p:spPr>
          <p:txBody>
            <a:bodyPr wrap="square" rtlCol="0">
              <a:spAutoFit/>
            </a:bodyPr>
            <a:lstStyle/>
            <a:p>
              <a:pPr algn="ctr"/>
              <a:r>
                <a:rPr lang="en-US" altLang="zh-CN" b="1" dirty="0">
                  <a:solidFill>
                    <a:srgbClr val="800080"/>
                  </a:solidFill>
                </a:rPr>
                <a:t>TEXT  HERE</a:t>
              </a:r>
              <a:endParaRPr lang="zh-CN" altLang="en-US" b="1" dirty="0">
                <a:solidFill>
                  <a:srgbClr val="800080"/>
                </a:solidFill>
              </a:endParaRPr>
            </a:p>
          </p:txBody>
        </p:sp>
        <p:sp>
          <p:nvSpPr>
            <p:cNvPr id="38" name="TextBox 37"/>
            <p:cNvSpPr txBox="1"/>
            <p:nvPr/>
          </p:nvSpPr>
          <p:spPr>
            <a:xfrm>
              <a:off x="2871624" y="3160471"/>
              <a:ext cx="1823439"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a:t>
              </a:r>
              <a:endParaRPr lang="zh-CN" altLang="en-US" sz="1200" dirty="0">
                <a:solidFill>
                  <a:schemeClr val="tx1">
                    <a:lumMod val="75000"/>
                    <a:lumOff val="25000"/>
                  </a:schemeClr>
                </a:solidFill>
              </a:endParaRPr>
            </a:p>
          </p:txBody>
        </p:sp>
      </p:grpSp>
      <p:grpSp>
        <p:nvGrpSpPr>
          <p:cNvPr id="19" name="组合 18"/>
          <p:cNvGrpSpPr/>
          <p:nvPr/>
        </p:nvGrpSpPr>
        <p:grpSpPr>
          <a:xfrm>
            <a:off x="4706537" y="2778246"/>
            <a:ext cx="1823439" cy="1305555"/>
            <a:chOff x="4706537" y="2778246"/>
            <a:chExt cx="1823439" cy="1305555"/>
          </a:xfrm>
        </p:grpSpPr>
        <p:sp>
          <p:nvSpPr>
            <p:cNvPr id="39" name="TextBox 38"/>
            <p:cNvSpPr txBox="1"/>
            <p:nvPr/>
          </p:nvSpPr>
          <p:spPr>
            <a:xfrm>
              <a:off x="4742574" y="2778246"/>
              <a:ext cx="1751366" cy="369332"/>
            </a:xfrm>
            <a:prstGeom prst="rect">
              <a:avLst/>
            </a:prstGeom>
            <a:noFill/>
          </p:spPr>
          <p:txBody>
            <a:bodyPr wrap="square" rtlCol="0">
              <a:spAutoFit/>
            </a:bodyPr>
            <a:lstStyle/>
            <a:p>
              <a:pPr algn="ctr"/>
              <a:r>
                <a:rPr lang="en-US" altLang="zh-CN" b="1" dirty="0">
                  <a:solidFill>
                    <a:srgbClr val="800080"/>
                  </a:solidFill>
                </a:rPr>
                <a:t>TEXT  HERE</a:t>
              </a:r>
              <a:endParaRPr lang="zh-CN" altLang="en-US" b="1" dirty="0">
                <a:solidFill>
                  <a:srgbClr val="800080"/>
                </a:solidFill>
              </a:endParaRPr>
            </a:p>
          </p:txBody>
        </p:sp>
        <p:sp>
          <p:nvSpPr>
            <p:cNvPr id="40" name="TextBox 39"/>
            <p:cNvSpPr txBox="1"/>
            <p:nvPr/>
          </p:nvSpPr>
          <p:spPr>
            <a:xfrm>
              <a:off x="4706537" y="3160471"/>
              <a:ext cx="1823439"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a:t>
              </a:r>
              <a:endParaRPr lang="zh-CN" altLang="en-US" sz="1200" dirty="0">
                <a:solidFill>
                  <a:schemeClr val="tx1">
                    <a:lumMod val="75000"/>
                    <a:lumOff val="25000"/>
                  </a:schemeClr>
                </a:solidFill>
              </a:endParaRPr>
            </a:p>
          </p:txBody>
        </p:sp>
      </p:grpSp>
      <p:grpSp>
        <p:nvGrpSpPr>
          <p:cNvPr id="22" name="组合 21"/>
          <p:cNvGrpSpPr/>
          <p:nvPr/>
        </p:nvGrpSpPr>
        <p:grpSpPr>
          <a:xfrm>
            <a:off x="6529976" y="2778246"/>
            <a:ext cx="1823439" cy="1305555"/>
            <a:chOff x="6529976" y="2778246"/>
            <a:chExt cx="1823439" cy="1305555"/>
          </a:xfrm>
        </p:grpSpPr>
        <p:sp>
          <p:nvSpPr>
            <p:cNvPr id="41" name="TextBox 40"/>
            <p:cNvSpPr txBox="1"/>
            <p:nvPr/>
          </p:nvSpPr>
          <p:spPr>
            <a:xfrm>
              <a:off x="6566013" y="2778246"/>
              <a:ext cx="1751366" cy="369332"/>
            </a:xfrm>
            <a:prstGeom prst="rect">
              <a:avLst/>
            </a:prstGeom>
            <a:noFill/>
          </p:spPr>
          <p:txBody>
            <a:bodyPr wrap="square" rtlCol="0">
              <a:spAutoFit/>
            </a:bodyPr>
            <a:lstStyle/>
            <a:p>
              <a:pPr algn="ctr"/>
              <a:r>
                <a:rPr lang="en-US" altLang="zh-CN" b="1" dirty="0">
                  <a:solidFill>
                    <a:srgbClr val="800080"/>
                  </a:solidFill>
                </a:rPr>
                <a:t>TEXT  HERE</a:t>
              </a:r>
              <a:endParaRPr lang="zh-CN" altLang="en-US" b="1" dirty="0">
                <a:solidFill>
                  <a:srgbClr val="800080"/>
                </a:solidFill>
              </a:endParaRPr>
            </a:p>
          </p:txBody>
        </p:sp>
        <p:sp>
          <p:nvSpPr>
            <p:cNvPr id="42" name="TextBox 41"/>
            <p:cNvSpPr txBox="1"/>
            <p:nvPr/>
          </p:nvSpPr>
          <p:spPr>
            <a:xfrm>
              <a:off x="6529976" y="3160471"/>
              <a:ext cx="1823439"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a:t>
              </a:r>
              <a:endParaRPr lang="zh-CN" altLang="en-US" sz="1200" dirty="0">
                <a:solidFill>
                  <a:schemeClr val="tx1">
                    <a:lumMod val="75000"/>
                    <a:lumOff val="25000"/>
                  </a:schemeClr>
                </a:solidFill>
              </a:endParaRPr>
            </a:p>
          </p:txBody>
        </p:sp>
      </p:grpSp>
      <p:grpSp>
        <p:nvGrpSpPr>
          <p:cNvPr id="23" name="组合 22"/>
          <p:cNvGrpSpPr/>
          <p:nvPr/>
        </p:nvGrpSpPr>
        <p:grpSpPr>
          <a:xfrm>
            <a:off x="-495967" y="4653671"/>
            <a:ext cx="10251602" cy="639957"/>
            <a:chOff x="-495967" y="4653671"/>
            <a:chExt cx="10251602" cy="639957"/>
          </a:xfrm>
        </p:grpSpPr>
        <p:pic>
          <p:nvPicPr>
            <p:cNvPr id="46"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0527" t="19203" r="11894" b="58771"/>
            <a:stretch>
              <a:fillRect/>
            </a:stretch>
          </p:blipFill>
          <p:spPr bwMode="auto">
            <a:xfrm>
              <a:off x="-495967" y="4781957"/>
              <a:ext cx="5498593" cy="443012"/>
            </a:xfrm>
            <a:prstGeom prst="triangle">
              <a:avLst/>
            </a:prstGeom>
            <a:noFill/>
            <a:extLst>
              <a:ext uri="{909E8E84-426E-40DD-AFC4-6F175D3DCCD1}">
                <a14:hiddenFill xmlns:a14="http://schemas.microsoft.com/office/drawing/2010/main">
                  <a:solidFill>
                    <a:srgbClr val="FFFFFF"/>
                  </a:solidFill>
                </a14:hiddenFill>
              </a:ext>
            </a:extLst>
          </p:spPr>
        </p:pic>
        <p:pic>
          <p:nvPicPr>
            <p:cNvPr id="43"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0527" t="19203" r="11894" b="58771"/>
            <a:stretch>
              <a:fillRect/>
            </a:stretch>
          </p:blipFill>
          <p:spPr bwMode="auto">
            <a:xfrm>
              <a:off x="4257042" y="4781957"/>
              <a:ext cx="5498593" cy="443012"/>
            </a:xfrm>
            <a:prstGeom prst="triangle">
              <a:avLst/>
            </a:prstGeom>
            <a:noFill/>
            <a:extLst>
              <a:ext uri="{909E8E84-426E-40DD-AFC4-6F175D3DCCD1}">
                <a14:hiddenFill xmlns:a14="http://schemas.microsoft.com/office/drawing/2010/main">
                  <a:solidFill>
                    <a:srgbClr val="FFFFFF"/>
                  </a:solidFill>
                </a14:hiddenFill>
              </a:ext>
            </a:extLst>
          </p:spPr>
        </p:pic>
        <p:pic>
          <p:nvPicPr>
            <p:cNvPr id="44"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527" t="19203" r="11894" b="58771"/>
            <a:stretch>
              <a:fillRect/>
            </a:stretch>
          </p:blipFill>
          <p:spPr bwMode="auto">
            <a:xfrm>
              <a:off x="1153972" y="4653671"/>
              <a:ext cx="6206140" cy="639957"/>
            </a:xfrm>
            <a:prstGeom prst="triangle">
              <a:avLst/>
            </a:prstGeom>
            <a:noFill/>
            <a:extLst>
              <a:ext uri="{909E8E84-426E-40DD-AFC4-6F175D3DCCD1}">
                <a14:hiddenFill xmlns:a14="http://schemas.microsoft.com/office/drawing/2010/main">
                  <a:solidFill>
                    <a:srgbClr val="FFFFFF"/>
                  </a:solidFill>
                </a14:hiddenFill>
              </a:ext>
            </a:extLst>
          </p:spPr>
        </p:pic>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500"/>
                                        <p:tgtEl>
                                          <p:spTgt spid="2"/>
                                        </p:tgtEl>
                                      </p:cBhvr>
                                    </p:animEffect>
                                  </p:childTnLst>
                                </p:cTn>
                              </p:par>
                              <p:par>
                                <p:cTn id="8" presetID="42"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1000"/>
                                        <p:tgtEl>
                                          <p:spTgt spid="23"/>
                                        </p:tgtEl>
                                      </p:cBhvr>
                                    </p:animEffect>
                                    <p:anim calcmode="lin" valueType="num">
                                      <p:cBhvr>
                                        <p:cTn id="11" dur="1000" fill="hold"/>
                                        <p:tgtEl>
                                          <p:spTgt spid="23"/>
                                        </p:tgtEl>
                                        <p:attrNameLst>
                                          <p:attrName>ppt_x</p:attrName>
                                        </p:attrNameLst>
                                      </p:cBhvr>
                                      <p:tavLst>
                                        <p:tav tm="0">
                                          <p:val>
                                            <p:strVal val="#ppt_x"/>
                                          </p:val>
                                        </p:tav>
                                        <p:tav tm="100000">
                                          <p:val>
                                            <p:strVal val="#ppt_x"/>
                                          </p:val>
                                        </p:tav>
                                      </p:tavLst>
                                    </p:anim>
                                    <p:anim calcmode="lin" valueType="num">
                                      <p:cBhvr>
                                        <p:cTn id="12" dur="1000" fill="hold"/>
                                        <p:tgtEl>
                                          <p:spTgt spid="23"/>
                                        </p:tgtEl>
                                        <p:attrNameLst>
                                          <p:attrName>ppt_y</p:attrName>
                                        </p:attrNameLst>
                                      </p:cBhvr>
                                      <p:tavLst>
                                        <p:tav tm="0">
                                          <p:val>
                                            <p:strVal val="#ppt_y+.1"/>
                                          </p:val>
                                        </p:tav>
                                        <p:tav tm="100000">
                                          <p:val>
                                            <p:strVal val="#ppt_y"/>
                                          </p:val>
                                        </p:tav>
                                      </p:tavLst>
                                    </p:anim>
                                  </p:childTnLst>
                                </p:cTn>
                              </p:par>
                            </p:childTnLst>
                          </p:cTn>
                        </p:par>
                        <p:par>
                          <p:cTn id="13" fill="hold">
                            <p:stCondLst>
                              <p:cond delay="500"/>
                            </p:stCondLst>
                            <p:childTnLst>
                              <p:par>
                                <p:cTn id="14" presetID="22" presetClass="entr" presetSubtype="2"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right)">
                                      <p:cBhvr>
                                        <p:cTn id="16" dur="500"/>
                                        <p:tgtEl>
                                          <p:spTgt spid="4"/>
                                        </p:tgtEl>
                                      </p:cBhvr>
                                    </p:animEffect>
                                  </p:childTnLst>
                                </p:cTn>
                              </p:par>
                              <p:par>
                                <p:cTn id="17" presetID="22" presetClass="entr" presetSubtype="8" fill="hold"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wipe(left)">
                                      <p:cBhvr>
                                        <p:cTn id="19" dur="500"/>
                                        <p:tgtEl>
                                          <p:spTgt spid="3"/>
                                        </p:tgtEl>
                                      </p:cBhvr>
                                    </p:animEffect>
                                  </p:childTnLst>
                                </p:cTn>
                              </p:par>
                            </p:childTnLst>
                          </p:cTn>
                        </p:par>
                        <p:par>
                          <p:cTn id="20" fill="hold">
                            <p:stCondLst>
                              <p:cond delay="1000"/>
                            </p:stCondLst>
                            <p:childTnLst>
                              <p:par>
                                <p:cTn id="21" presetID="42" presetClass="entr" presetSubtype="0"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anim calcmode="lin" valueType="num">
                                      <p:cBhvr>
                                        <p:cTn id="24" dur="500" fill="hold"/>
                                        <p:tgtEl>
                                          <p:spTgt spid="5"/>
                                        </p:tgtEl>
                                        <p:attrNameLst>
                                          <p:attrName>ppt_x</p:attrName>
                                        </p:attrNameLst>
                                      </p:cBhvr>
                                      <p:tavLst>
                                        <p:tav tm="0">
                                          <p:val>
                                            <p:strVal val="#ppt_x"/>
                                          </p:val>
                                        </p:tav>
                                        <p:tav tm="100000">
                                          <p:val>
                                            <p:strVal val="#ppt_x"/>
                                          </p:val>
                                        </p:tav>
                                      </p:tavLst>
                                    </p:anim>
                                    <p:anim calcmode="lin" valueType="num">
                                      <p:cBhvr>
                                        <p:cTn id="25" dur="500" fill="hold"/>
                                        <p:tgtEl>
                                          <p:spTgt spid="5"/>
                                        </p:tgtEl>
                                        <p:attrNameLst>
                                          <p:attrName>ppt_y</p:attrName>
                                        </p:attrNameLst>
                                      </p:cBhvr>
                                      <p:tavLst>
                                        <p:tav tm="0">
                                          <p:val>
                                            <p:strVal val="#ppt_y+.1"/>
                                          </p:val>
                                        </p:tav>
                                        <p:tav tm="100000">
                                          <p:val>
                                            <p:strVal val="#ppt_y"/>
                                          </p:val>
                                        </p:tav>
                                      </p:tavLst>
                                    </p:anim>
                                  </p:childTnLst>
                                </p:cTn>
                              </p:par>
                              <p:par>
                                <p:cTn id="26" presetID="42" presetClass="entr" presetSubtype="0"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anim calcmode="lin" valueType="num">
                                      <p:cBhvr>
                                        <p:cTn id="29" dur="500" fill="hold"/>
                                        <p:tgtEl>
                                          <p:spTgt spid="7"/>
                                        </p:tgtEl>
                                        <p:attrNameLst>
                                          <p:attrName>ppt_x</p:attrName>
                                        </p:attrNameLst>
                                      </p:cBhvr>
                                      <p:tavLst>
                                        <p:tav tm="0">
                                          <p:val>
                                            <p:strVal val="#ppt_x"/>
                                          </p:val>
                                        </p:tav>
                                        <p:tav tm="100000">
                                          <p:val>
                                            <p:strVal val="#ppt_x"/>
                                          </p:val>
                                        </p:tav>
                                      </p:tavLst>
                                    </p:anim>
                                    <p:anim calcmode="lin" valueType="num">
                                      <p:cBhvr>
                                        <p:cTn id="30" dur="500" fill="hold"/>
                                        <p:tgtEl>
                                          <p:spTgt spid="7"/>
                                        </p:tgtEl>
                                        <p:attrNameLst>
                                          <p:attrName>ppt_y</p:attrName>
                                        </p:attrNameLst>
                                      </p:cBhvr>
                                      <p:tavLst>
                                        <p:tav tm="0">
                                          <p:val>
                                            <p:strVal val="#ppt_y+.1"/>
                                          </p:val>
                                        </p:tav>
                                        <p:tav tm="100000">
                                          <p:val>
                                            <p:strVal val="#ppt_y"/>
                                          </p:val>
                                        </p:tav>
                                      </p:tavLst>
                                    </p:anim>
                                  </p:childTnLst>
                                </p:cTn>
                              </p:par>
                              <p:par>
                                <p:cTn id="31" presetID="47" presetClass="entr" presetSubtype="0" fill="hold" nodeType="with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anim calcmode="lin" valueType="num">
                                      <p:cBhvr>
                                        <p:cTn id="34" dur="500" fill="hold"/>
                                        <p:tgtEl>
                                          <p:spTgt spid="8"/>
                                        </p:tgtEl>
                                        <p:attrNameLst>
                                          <p:attrName>ppt_x</p:attrName>
                                        </p:attrNameLst>
                                      </p:cBhvr>
                                      <p:tavLst>
                                        <p:tav tm="0">
                                          <p:val>
                                            <p:strVal val="#ppt_x"/>
                                          </p:val>
                                        </p:tav>
                                        <p:tav tm="100000">
                                          <p:val>
                                            <p:strVal val="#ppt_x"/>
                                          </p:val>
                                        </p:tav>
                                      </p:tavLst>
                                    </p:anim>
                                    <p:anim calcmode="lin" valueType="num">
                                      <p:cBhvr>
                                        <p:cTn id="35" dur="500" fill="hold"/>
                                        <p:tgtEl>
                                          <p:spTgt spid="8"/>
                                        </p:tgtEl>
                                        <p:attrNameLst>
                                          <p:attrName>ppt_y</p:attrName>
                                        </p:attrNameLst>
                                      </p:cBhvr>
                                      <p:tavLst>
                                        <p:tav tm="0">
                                          <p:val>
                                            <p:strVal val="#ppt_y-.1"/>
                                          </p:val>
                                        </p:tav>
                                        <p:tav tm="100000">
                                          <p:val>
                                            <p:strVal val="#ppt_y"/>
                                          </p:val>
                                        </p:tav>
                                      </p:tavLst>
                                    </p:anim>
                                  </p:childTnLst>
                                </p:cTn>
                              </p:par>
                              <p:par>
                                <p:cTn id="36" presetID="47" presetClass="entr" presetSubtype="0" fill="hold" nodeType="with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anim calcmode="lin" valueType="num">
                                      <p:cBhvr>
                                        <p:cTn id="39" dur="500" fill="hold"/>
                                        <p:tgtEl>
                                          <p:spTgt spid="9"/>
                                        </p:tgtEl>
                                        <p:attrNameLst>
                                          <p:attrName>ppt_x</p:attrName>
                                        </p:attrNameLst>
                                      </p:cBhvr>
                                      <p:tavLst>
                                        <p:tav tm="0">
                                          <p:val>
                                            <p:strVal val="#ppt_x"/>
                                          </p:val>
                                        </p:tav>
                                        <p:tav tm="100000">
                                          <p:val>
                                            <p:strVal val="#ppt_x"/>
                                          </p:val>
                                        </p:tav>
                                      </p:tavLst>
                                    </p:anim>
                                    <p:anim calcmode="lin" valueType="num">
                                      <p:cBhvr>
                                        <p:cTn id="40" dur="500" fill="hold"/>
                                        <p:tgtEl>
                                          <p:spTgt spid="9"/>
                                        </p:tgtEl>
                                        <p:attrNameLst>
                                          <p:attrName>ppt_y</p:attrName>
                                        </p:attrNameLst>
                                      </p:cBhvr>
                                      <p:tavLst>
                                        <p:tav tm="0">
                                          <p:val>
                                            <p:strVal val="#ppt_y-.1"/>
                                          </p:val>
                                        </p:tav>
                                        <p:tav tm="100000">
                                          <p:val>
                                            <p:strVal val="#ppt_y"/>
                                          </p:val>
                                        </p:tav>
                                      </p:tavLst>
                                    </p:anim>
                                  </p:childTnLst>
                                </p:cTn>
                              </p:par>
                            </p:childTnLst>
                          </p:cTn>
                        </p:par>
                        <p:par>
                          <p:cTn id="41" fill="hold">
                            <p:stCondLst>
                              <p:cond delay="1500"/>
                            </p:stCondLst>
                            <p:childTnLst>
                              <p:par>
                                <p:cTn id="42" presetID="10" presetClass="entr" presetSubtype="0" fill="hold" nodeType="after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childTnLst>
                          </p:cTn>
                        </p:par>
                        <p:par>
                          <p:cTn id="45" fill="hold">
                            <p:stCondLst>
                              <p:cond delay="2000"/>
                            </p:stCondLst>
                            <p:childTnLst>
                              <p:par>
                                <p:cTn id="46" presetID="10" presetClass="entr" presetSubtype="0" fill="hold" nodeType="afterEffect">
                                  <p:stCondLst>
                                    <p:cond delay="0"/>
                                  </p:stCondLst>
                                  <p:childTnLst>
                                    <p:set>
                                      <p:cBhvr>
                                        <p:cTn id="47" dur="1" fill="hold">
                                          <p:stCondLst>
                                            <p:cond delay="0"/>
                                          </p:stCondLst>
                                        </p:cTn>
                                        <p:tgtEl>
                                          <p:spTgt spid="18"/>
                                        </p:tgtEl>
                                        <p:attrNameLst>
                                          <p:attrName>style.visibility</p:attrName>
                                        </p:attrNameLst>
                                      </p:cBhvr>
                                      <p:to>
                                        <p:strVal val="visible"/>
                                      </p:to>
                                    </p:set>
                                    <p:animEffect transition="in" filter="fade">
                                      <p:cBhvr>
                                        <p:cTn id="48" dur="500"/>
                                        <p:tgtEl>
                                          <p:spTgt spid="18"/>
                                        </p:tgtEl>
                                      </p:cBhvr>
                                    </p:animEffect>
                                  </p:childTnLst>
                                </p:cTn>
                              </p:par>
                            </p:childTnLst>
                          </p:cTn>
                        </p:par>
                        <p:par>
                          <p:cTn id="49" fill="hold">
                            <p:stCondLst>
                              <p:cond delay="2500"/>
                            </p:stCondLst>
                            <p:childTnLst>
                              <p:par>
                                <p:cTn id="50" presetID="10" presetClass="entr" presetSubtype="0" fill="hold" nodeType="after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childTnLst>
                          </p:cTn>
                        </p:par>
                        <p:par>
                          <p:cTn id="53" fill="hold">
                            <p:stCondLst>
                              <p:cond delay="3000"/>
                            </p:stCondLst>
                            <p:childTnLst>
                              <p:par>
                                <p:cTn id="54" presetID="10" presetClass="entr" presetSubtype="0" fill="hold" nodeType="afterEffect">
                                  <p:stCondLst>
                                    <p:cond delay="0"/>
                                  </p:stCondLst>
                                  <p:childTnLst>
                                    <p:set>
                                      <p:cBhvr>
                                        <p:cTn id="55" dur="1" fill="hold">
                                          <p:stCondLst>
                                            <p:cond delay="0"/>
                                          </p:stCondLst>
                                        </p:cTn>
                                        <p:tgtEl>
                                          <p:spTgt spid="22"/>
                                        </p:tgtEl>
                                        <p:attrNameLst>
                                          <p:attrName>style.visibility</p:attrName>
                                        </p:attrNameLst>
                                      </p:cBhvr>
                                      <p:to>
                                        <p:strVal val="visible"/>
                                      </p:to>
                                    </p:set>
                                    <p:animEffect transition="in" filter="fade">
                                      <p:cBhvr>
                                        <p:cTn id="56"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5967" b="-308"/>
          <a:stretch>
            <a:fillRect/>
          </a:stretch>
        </p:blipFill>
        <p:spPr bwMode="auto">
          <a:xfrm>
            <a:off x="3119729" y="1218518"/>
            <a:ext cx="2808312" cy="2355007"/>
          </a:xfrm>
          <a:prstGeom prst="triangle">
            <a:avLst/>
          </a:prstGeom>
          <a:noFill/>
          <a:extLst>
            <a:ext uri="{909E8E84-426E-40DD-AFC4-6F175D3DCCD1}">
              <a14:hiddenFill xmlns:a14="http://schemas.microsoft.com/office/drawing/2010/main">
                <a:solidFill>
                  <a:srgbClr val="FFFFFF"/>
                </a:solidFill>
              </a14:hiddenFill>
            </a:ext>
          </a:extLst>
        </p:spPr>
      </p:pic>
      <p:sp>
        <p:nvSpPr>
          <p:cNvPr id="58" name="等腰三角形 57"/>
          <p:cNvSpPr/>
          <p:nvPr/>
        </p:nvSpPr>
        <p:spPr>
          <a:xfrm>
            <a:off x="2880462" y="858478"/>
            <a:ext cx="3286845" cy="2833487"/>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TextBox 58"/>
          <p:cNvSpPr txBox="1"/>
          <p:nvPr/>
        </p:nvSpPr>
        <p:spPr>
          <a:xfrm>
            <a:off x="4006660" y="2010606"/>
            <a:ext cx="1034450" cy="1323439"/>
          </a:xfrm>
          <a:prstGeom prst="rect">
            <a:avLst/>
          </a:prstGeom>
          <a:noFill/>
        </p:spPr>
        <p:txBody>
          <a:bodyPr wrap="none" rtlCol="0">
            <a:spAutoFit/>
          </a:bodyPr>
          <a:lstStyle/>
          <a:p>
            <a:pPr algn="ctr"/>
            <a:r>
              <a:rPr lang="en-US" altLang="zh-CN" sz="4000" dirty="0">
                <a:solidFill>
                  <a:schemeClr val="bg1"/>
                </a:solidFill>
              </a:rPr>
              <a:t>Part</a:t>
            </a:r>
          </a:p>
          <a:p>
            <a:pPr algn="ctr"/>
            <a:r>
              <a:rPr lang="en-US" altLang="zh-CN" sz="4000" b="1" dirty="0">
                <a:solidFill>
                  <a:schemeClr val="bg1"/>
                </a:solidFill>
              </a:rPr>
              <a:t>03</a:t>
            </a:r>
            <a:endParaRPr lang="zh-CN" altLang="en-US" sz="4000" b="1" dirty="0">
              <a:solidFill>
                <a:schemeClr val="bg1"/>
              </a:solidFill>
            </a:endParaRPr>
          </a:p>
        </p:txBody>
      </p:sp>
      <p:sp>
        <p:nvSpPr>
          <p:cNvPr id="62" name="TextBox 61"/>
          <p:cNvSpPr txBox="1"/>
          <p:nvPr/>
        </p:nvSpPr>
        <p:spPr>
          <a:xfrm>
            <a:off x="2709083" y="3667362"/>
            <a:ext cx="3699987" cy="707886"/>
          </a:xfrm>
          <a:prstGeom prst="rect">
            <a:avLst/>
          </a:prstGeom>
          <a:noFill/>
        </p:spPr>
        <p:txBody>
          <a:bodyPr wrap="none" rtlCol="0">
            <a:spAutoFit/>
          </a:bodyPr>
          <a:lstStyle/>
          <a:p>
            <a:pPr algn="ctr"/>
            <a:r>
              <a:rPr lang="en-US" altLang="zh-CN" sz="4000" b="1" dirty="0">
                <a:gradFill flip="none" rotWithShape="1">
                  <a:gsLst>
                    <a:gs pos="417">
                      <a:srgbClr val="00B0F0"/>
                    </a:gs>
                    <a:gs pos="99167">
                      <a:srgbClr val="FFFF00"/>
                    </a:gs>
                    <a:gs pos="37000">
                      <a:srgbClr val="71158D"/>
                    </a:gs>
                    <a:gs pos="64000">
                      <a:srgbClr val="800080"/>
                    </a:gs>
                  </a:gsLst>
                  <a:lin ang="0" scaled="1"/>
                  <a:tileRect/>
                </a:gradFill>
              </a:rPr>
              <a:t>ADD YOUR TITLE</a:t>
            </a:r>
            <a:endParaRPr lang="zh-CN" altLang="en-US" sz="4000" b="1" dirty="0">
              <a:gradFill flip="none" rotWithShape="1">
                <a:gsLst>
                  <a:gs pos="417">
                    <a:srgbClr val="00B0F0"/>
                  </a:gs>
                  <a:gs pos="99167">
                    <a:srgbClr val="FFFF00"/>
                  </a:gs>
                  <a:gs pos="37000">
                    <a:srgbClr val="71158D"/>
                  </a:gs>
                  <a:gs pos="64000">
                    <a:srgbClr val="800080"/>
                  </a:gs>
                </a:gsLst>
                <a:lin ang="0" scaled="1"/>
                <a:tileRect/>
              </a:gradFill>
            </a:endParaRPr>
          </a:p>
        </p:txBody>
      </p:sp>
      <p:grpSp>
        <p:nvGrpSpPr>
          <p:cNvPr id="63" name="组合 62"/>
          <p:cNvGrpSpPr/>
          <p:nvPr/>
        </p:nvGrpSpPr>
        <p:grpSpPr>
          <a:xfrm>
            <a:off x="6187103" y="3363301"/>
            <a:ext cx="519515" cy="457509"/>
            <a:chOff x="7004888" y="2091225"/>
            <a:chExt cx="519515" cy="457509"/>
          </a:xfrm>
        </p:grpSpPr>
        <p:sp>
          <p:nvSpPr>
            <p:cNvPr id="64" name="等腰三角形 6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等腰三角形 64"/>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等腰三角形 65"/>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等腰三角形 6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3" name="组合 72"/>
          <p:cNvGrpSpPr/>
          <p:nvPr/>
        </p:nvGrpSpPr>
        <p:grpSpPr>
          <a:xfrm flipH="1">
            <a:off x="2350714" y="3363301"/>
            <a:ext cx="519515" cy="457509"/>
            <a:chOff x="7004888" y="2091225"/>
            <a:chExt cx="519515" cy="457509"/>
          </a:xfrm>
        </p:grpSpPr>
        <p:sp>
          <p:nvSpPr>
            <p:cNvPr id="74" name="等腰三角形 7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等腰三角形 74"/>
            <p:cNvSpPr/>
            <p:nvPr/>
          </p:nvSpPr>
          <p:spPr>
            <a:xfrm rot="8122854" flipH="1">
              <a:off x="7303361" y="209122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等腰三角形 75"/>
            <p:cNvSpPr/>
            <p:nvPr/>
          </p:nvSpPr>
          <p:spPr>
            <a:xfrm rot="8122854" flipH="1">
              <a:off x="7004888" y="209661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等腰三角形 7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p:cTn id="7" dur="500" fill="hold"/>
                                        <p:tgtEl>
                                          <p:spTgt spid="57"/>
                                        </p:tgtEl>
                                        <p:attrNameLst>
                                          <p:attrName>ppt_w</p:attrName>
                                        </p:attrNameLst>
                                      </p:cBhvr>
                                      <p:tavLst>
                                        <p:tav tm="0">
                                          <p:val>
                                            <p:fltVal val="0"/>
                                          </p:val>
                                        </p:tav>
                                        <p:tav tm="100000">
                                          <p:val>
                                            <p:strVal val="#ppt_w"/>
                                          </p:val>
                                        </p:tav>
                                      </p:tavLst>
                                    </p:anim>
                                    <p:anim calcmode="lin" valueType="num">
                                      <p:cBhvr>
                                        <p:cTn id="8" dur="500" fill="hold"/>
                                        <p:tgtEl>
                                          <p:spTgt spid="57"/>
                                        </p:tgtEl>
                                        <p:attrNameLst>
                                          <p:attrName>ppt_h</p:attrName>
                                        </p:attrNameLst>
                                      </p:cBhvr>
                                      <p:tavLst>
                                        <p:tav tm="0">
                                          <p:val>
                                            <p:fltVal val="0"/>
                                          </p:val>
                                        </p:tav>
                                        <p:tav tm="100000">
                                          <p:val>
                                            <p:strVal val="#ppt_h"/>
                                          </p:val>
                                        </p:tav>
                                      </p:tavLst>
                                    </p:anim>
                                    <p:animEffect transition="in" filter="fade">
                                      <p:cBhvr>
                                        <p:cTn id="9" dur="500"/>
                                        <p:tgtEl>
                                          <p:spTgt spid="57"/>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58"/>
                                        </p:tgtEl>
                                        <p:attrNameLst>
                                          <p:attrName>style.visibility</p:attrName>
                                        </p:attrNameLst>
                                      </p:cBhvr>
                                      <p:to>
                                        <p:strVal val="visible"/>
                                      </p:to>
                                    </p:set>
                                    <p:anim calcmode="lin" valueType="num">
                                      <p:cBhvr>
                                        <p:cTn id="12" dur="500" fill="hold"/>
                                        <p:tgtEl>
                                          <p:spTgt spid="58"/>
                                        </p:tgtEl>
                                        <p:attrNameLst>
                                          <p:attrName>ppt_w</p:attrName>
                                        </p:attrNameLst>
                                      </p:cBhvr>
                                      <p:tavLst>
                                        <p:tav tm="0">
                                          <p:val>
                                            <p:fltVal val="0"/>
                                          </p:val>
                                        </p:tav>
                                        <p:tav tm="100000">
                                          <p:val>
                                            <p:strVal val="#ppt_w"/>
                                          </p:val>
                                        </p:tav>
                                      </p:tavLst>
                                    </p:anim>
                                    <p:anim calcmode="lin" valueType="num">
                                      <p:cBhvr>
                                        <p:cTn id="13" dur="500" fill="hold"/>
                                        <p:tgtEl>
                                          <p:spTgt spid="58"/>
                                        </p:tgtEl>
                                        <p:attrNameLst>
                                          <p:attrName>ppt_h</p:attrName>
                                        </p:attrNameLst>
                                      </p:cBhvr>
                                      <p:tavLst>
                                        <p:tav tm="0">
                                          <p:val>
                                            <p:fltVal val="0"/>
                                          </p:val>
                                        </p:tav>
                                        <p:tav tm="100000">
                                          <p:val>
                                            <p:strVal val="#ppt_h"/>
                                          </p:val>
                                        </p:tav>
                                      </p:tavLst>
                                    </p:anim>
                                    <p:animEffect transition="in" filter="fade">
                                      <p:cBhvr>
                                        <p:cTn id="14" dur="500"/>
                                        <p:tgtEl>
                                          <p:spTgt spid="58"/>
                                        </p:tgtEl>
                                      </p:cBhvr>
                                    </p:animEffec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59"/>
                                        </p:tgtEl>
                                        <p:attrNameLst>
                                          <p:attrName>style.visibility</p:attrName>
                                        </p:attrNameLst>
                                      </p:cBhvr>
                                      <p:to>
                                        <p:strVal val="visible"/>
                                      </p:to>
                                    </p:set>
                                    <p:animEffect transition="in" filter="fade">
                                      <p:cBhvr>
                                        <p:cTn id="18" dur="500"/>
                                        <p:tgtEl>
                                          <p:spTgt spid="59"/>
                                        </p:tgtEl>
                                      </p:cBhvr>
                                    </p:animEffect>
                                  </p:childTnLst>
                                </p:cTn>
                              </p:par>
                            </p:childTnLst>
                          </p:cTn>
                        </p:par>
                        <p:par>
                          <p:cTn id="19" fill="hold">
                            <p:stCondLst>
                              <p:cond delay="1000"/>
                            </p:stCondLst>
                            <p:childTnLst>
                              <p:par>
                                <p:cTn id="20" presetID="31" presetClass="entr" presetSubtype="0" fill="hold" nodeType="afterEffect">
                                  <p:stCondLst>
                                    <p:cond delay="0"/>
                                  </p:stCondLst>
                                  <p:childTnLst>
                                    <p:set>
                                      <p:cBhvr>
                                        <p:cTn id="21" dur="1" fill="hold">
                                          <p:stCondLst>
                                            <p:cond delay="0"/>
                                          </p:stCondLst>
                                        </p:cTn>
                                        <p:tgtEl>
                                          <p:spTgt spid="63"/>
                                        </p:tgtEl>
                                        <p:attrNameLst>
                                          <p:attrName>style.visibility</p:attrName>
                                        </p:attrNameLst>
                                      </p:cBhvr>
                                      <p:to>
                                        <p:strVal val="visible"/>
                                      </p:to>
                                    </p:set>
                                    <p:anim calcmode="lin" valueType="num">
                                      <p:cBhvr>
                                        <p:cTn id="22" dur="750" fill="hold"/>
                                        <p:tgtEl>
                                          <p:spTgt spid="63"/>
                                        </p:tgtEl>
                                        <p:attrNameLst>
                                          <p:attrName>ppt_w</p:attrName>
                                        </p:attrNameLst>
                                      </p:cBhvr>
                                      <p:tavLst>
                                        <p:tav tm="0">
                                          <p:val>
                                            <p:fltVal val="0"/>
                                          </p:val>
                                        </p:tav>
                                        <p:tav tm="100000">
                                          <p:val>
                                            <p:strVal val="#ppt_w"/>
                                          </p:val>
                                        </p:tav>
                                      </p:tavLst>
                                    </p:anim>
                                    <p:anim calcmode="lin" valueType="num">
                                      <p:cBhvr>
                                        <p:cTn id="23" dur="750" fill="hold"/>
                                        <p:tgtEl>
                                          <p:spTgt spid="63"/>
                                        </p:tgtEl>
                                        <p:attrNameLst>
                                          <p:attrName>ppt_h</p:attrName>
                                        </p:attrNameLst>
                                      </p:cBhvr>
                                      <p:tavLst>
                                        <p:tav tm="0">
                                          <p:val>
                                            <p:fltVal val="0"/>
                                          </p:val>
                                        </p:tav>
                                        <p:tav tm="100000">
                                          <p:val>
                                            <p:strVal val="#ppt_h"/>
                                          </p:val>
                                        </p:tav>
                                      </p:tavLst>
                                    </p:anim>
                                    <p:anim calcmode="lin" valueType="num">
                                      <p:cBhvr>
                                        <p:cTn id="24" dur="750" fill="hold"/>
                                        <p:tgtEl>
                                          <p:spTgt spid="63"/>
                                        </p:tgtEl>
                                        <p:attrNameLst>
                                          <p:attrName>style.rotation</p:attrName>
                                        </p:attrNameLst>
                                      </p:cBhvr>
                                      <p:tavLst>
                                        <p:tav tm="0">
                                          <p:val>
                                            <p:fltVal val="90"/>
                                          </p:val>
                                        </p:tav>
                                        <p:tav tm="100000">
                                          <p:val>
                                            <p:fltVal val="0"/>
                                          </p:val>
                                        </p:tav>
                                      </p:tavLst>
                                    </p:anim>
                                    <p:animEffect transition="in" filter="fade">
                                      <p:cBhvr>
                                        <p:cTn id="25" dur="750"/>
                                        <p:tgtEl>
                                          <p:spTgt spid="63"/>
                                        </p:tgtEl>
                                      </p:cBhvr>
                                    </p:animEffect>
                                  </p:childTnLst>
                                </p:cTn>
                              </p:par>
                              <p:par>
                                <p:cTn id="26" presetID="31" presetClass="entr" presetSubtype="0" fill="hold" nodeType="withEffect">
                                  <p:stCondLst>
                                    <p:cond delay="0"/>
                                  </p:stCondLst>
                                  <p:childTnLst>
                                    <p:set>
                                      <p:cBhvr>
                                        <p:cTn id="27" dur="1" fill="hold">
                                          <p:stCondLst>
                                            <p:cond delay="0"/>
                                          </p:stCondLst>
                                        </p:cTn>
                                        <p:tgtEl>
                                          <p:spTgt spid="73"/>
                                        </p:tgtEl>
                                        <p:attrNameLst>
                                          <p:attrName>style.visibility</p:attrName>
                                        </p:attrNameLst>
                                      </p:cBhvr>
                                      <p:to>
                                        <p:strVal val="visible"/>
                                      </p:to>
                                    </p:set>
                                    <p:anim calcmode="lin" valueType="num">
                                      <p:cBhvr>
                                        <p:cTn id="28" dur="750" fill="hold"/>
                                        <p:tgtEl>
                                          <p:spTgt spid="73"/>
                                        </p:tgtEl>
                                        <p:attrNameLst>
                                          <p:attrName>ppt_w</p:attrName>
                                        </p:attrNameLst>
                                      </p:cBhvr>
                                      <p:tavLst>
                                        <p:tav tm="0">
                                          <p:val>
                                            <p:fltVal val="0"/>
                                          </p:val>
                                        </p:tav>
                                        <p:tav tm="100000">
                                          <p:val>
                                            <p:strVal val="#ppt_w"/>
                                          </p:val>
                                        </p:tav>
                                      </p:tavLst>
                                    </p:anim>
                                    <p:anim calcmode="lin" valueType="num">
                                      <p:cBhvr>
                                        <p:cTn id="29" dur="750" fill="hold"/>
                                        <p:tgtEl>
                                          <p:spTgt spid="73"/>
                                        </p:tgtEl>
                                        <p:attrNameLst>
                                          <p:attrName>ppt_h</p:attrName>
                                        </p:attrNameLst>
                                      </p:cBhvr>
                                      <p:tavLst>
                                        <p:tav tm="0">
                                          <p:val>
                                            <p:fltVal val="0"/>
                                          </p:val>
                                        </p:tav>
                                        <p:tav tm="100000">
                                          <p:val>
                                            <p:strVal val="#ppt_h"/>
                                          </p:val>
                                        </p:tav>
                                      </p:tavLst>
                                    </p:anim>
                                    <p:anim calcmode="lin" valueType="num">
                                      <p:cBhvr>
                                        <p:cTn id="30" dur="750" fill="hold"/>
                                        <p:tgtEl>
                                          <p:spTgt spid="73"/>
                                        </p:tgtEl>
                                        <p:attrNameLst>
                                          <p:attrName>style.rotation</p:attrName>
                                        </p:attrNameLst>
                                      </p:cBhvr>
                                      <p:tavLst>
                                        <p:tav tm="0">
                                          <p:val>
                                            <p:fltVal val="90"/>
                                          </p:val>
                                        </p:tav>
                                        <p:tav tm="100000">
                                          <p:val>
                                            <p:fltVal val="0"/>
                                          </p:val>
                                        </p:tav>
                                      </p:tavLst>
                                    </p:anim>
                                    <p:animEffect transition="in" filter="fade">
                                      <p:cBhvr>
                                        <p:cTn id="31" dur="750"/>
                                        <p:tgtEl>
                                          <p:spTgt spid="73"/>
                                        </p:tgtEl>
                                      </p:cBhvr>
                                    </p:animEffect>
                                  </p:childTnLst>
                                </p:cTn>
                              </p:par>
                            </p:childTnLst>
                          </p:cTn>
                        </p:par>
                        <p:par>
                          <p:cTn id="32" fill="hold">
                            <p:stCondLst>
                              <p:cond delay="2000"/>
                            </p:stCondLst>
                            <p:childTnLst>
                              <p:par>
                                <p:cTn id="33" presetID="12" presetClass="entr" presetSubtype="4" fill="hold" grpId="0" nodeType="afterEffect">
                                  <p:stCondLst>
                                    <p:cond delay="0"/>
                                  </p:stCondLst>
                                  <p:childTnLst>
                                    <p:set>
                                      <p:cBhvr>
                                        <p:cTn id="34" dur="1" fill="hold">
                                          <p:stCondLst>
                                            <p:cond delay="0"/>
                                          </p:stCondLst>
                                        </p:cTn>
                                        <p:tgtEl>
                                          <p:spTgt spid="62"/>
                                        </p:tgtEl>
                                        <p:attrNameLst>
                                          <p:attrName>style.visibility</p:attrName>
                                        </p:attrNameLst>
                                      </p:cBhvr>
                                      <p:to>
                                        <p:strVal val="visible"/>
                                      </p:to>
                                    </p:set>
                                    <p:anim calcmode="lin" valueType="num">
                                      <p:cBhvr additive="base">
                                        <p:cTn id="35" dur="500"/>
                                        <p:tgtEl>
                                          <p:spTgt spid="62"/>
                                        </p:tgtEl>
                                        <p:attrNameLst>
                                          <p:attrName>ppt_y</p:attrName>
                                        </p:attrNameLst>
                                      </p:cBhvr>
                                      <p:tavLst>
                                        <p:tav tm="0">
                                          <p:val>
                                            <p:strVal val="#ppt_y+#ppt_h*1.125000"/>
                                          </p:val>
                                        </p:tav>
                                        <p:tav tm="100000">
                                          <p:val>
                                            <p:strVal val="#ppt_y"/>
                                          </p:val>
                                        </p:tav>
                                      </p:tavLst>
                                    </p:anim>
                                    <p:animEffect transition="in" filter="wipe(up)">
                                      <p:cBhvr>
                                        <p:cTn id="36"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9" grpId="0"/>
      <p:bldP spid="6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p:cNvGrpSpPr/>
          <p:nvPr/>
        </p:nvGrpSpPr>
        <p:grpSpPr>
          <a:xfrm>
            <a:off x="-21425" y="-92546"/>
            <a:ext cx="772687" cy="5337954"/>
            <a:chOff x="-21425" y="-92546"/>
            <a:chExt cx="772687" cy="5337954"/>
          </a:xfrm>
        </p:grpSpPr>
        <p:pic>
          <p:nvPicPr>
            <p:cNvPr id="3" name="Picture 2" descr="I:\PPT素材\图片素材\百张low poly 高清背景图\6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0527" t="19203" r="11894" b="58771"/>
            <a:stretch>
              <a:fillRect/>
            </a:stretch>
          </p:blipFill>
          <p:spPr bwMode="auto">
            <a:xfrm rot="5400000">
              <a:off x="-1007914" y="3486231"/>
              <a:ext cx="2745666" cy="772687"/>
            </a:xfrm>
            <a:prstGeom prst="triangle">
              <a:avLst/>
            </a:prstGeom>
            <a:noFill/>
            <a:extLst>
              <a:ext uri="{909E8E84-426E-40DD-AFC4-6F175D3DCCD1}">
                <a14:hiddenFill xmlns:a14="http://schemas.microsoft.com/office/drawing/2010/main">
                  <a:solidFill>
                    <a:srgbClr val="FFFFFF"/>
                  </a:solidFill>
                </a14:hiddenFill>
              </a:ext>
            </a:extLst>
          </p:spPr>
        </p:pic>
        <p:pic>
          <p:nvPicPr>
            <p:cNvPr id="2" name="Picture 2" descr="I:\PPT素材\图片素材\百张low poly 高清背景图\62.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0527" t="19203" r="11894" b="58771"/>
            <a:stretch>
              <a:fillRect/>
            </a:stretch>
          </p:blipFill>
          <p:spPr bwMode="auto">
            <a:xfrm rot="16200000" flipV="1">
              <a:off x="-1768254" y="1675708"/>
              <a:ext cx="4176466" cy="639957"/>
            </a:xfrm>
            <a:prstGeom prst="triangle">
              <a:avLst/>
            </a:prstGeom>
            <a:noFill/>
            <a:extLst>
              <a:ext uri="{909E8E84-426E-40DD-AFC4-6F175D3DCCD1}">
                <a14:hiddenFill xmlns:a14="http://schemas.microsoft.com/office/drawing/2010/main">
                  <a:solidFill>
                    <a:srgbClr val="FFFFFF"/>
                  </a:solidFill>
                </a14:hiddenFill>
              </a:ext>
            </a:extLst>
          </p:spPr>
        </p:pic>
      </p:grpSp>
      <p:grpSp>
        <p:nvGrpSpPr>
          <p:cNvPr id="6" name="组合 5"/>
          <p:cNvGrpSpPr/>
          <p:nvPr/>
        </p:nvGrpSpPr>
        <p:grpSpPr>
          <a:xfrm flipH="1">
            <a:off x="8407825" y="195486"/>
            <a:ext cx="772687" cy="4464499"/>
            <a:chOff x="8222981" y="9363"/>
            <a:chExt cx="772687" cy="4464499"/>
          </a:xfrm>
        </p:grpSpPr>
        <p:pic>
          <p:nvPicPr>
            <p:cNvPr id="4" name="Picture 2" descr="I:\PPT素材\图片素材\百张low poly 高清背景图\6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0527" t="19203" r="11894" b="58771"/>
            <a:stretch>
              <a:fillRect/>
            </a:stretch>
          </p:blipFill>
          <p:spPr bwMode="auto">
            <a:xfrm rot="5400000">
              <a:off x="7236492" y="995852"/>
              <a:ext cx="2745666" cy="772687"/>
            </a:xfrm>
            <a:prstGeom prst="triangle">
              <a:avLst/>
            </a:prstGeom>
            <a:noFill/>
            <a:extLst>
              <a:ext uri="{909E8E84-426E-40DD-AFC4-6F175D3DCCD1}">
                <a14:hiddenFill xmlns:a14="http://schemas.microsoft.com/office/drawing/2010/main">
                  <a:solidFill>
                    <a:srgbClr val="FFFFFF"/>
                  </a:solidFill>
                </a14:hiddenFill>
              </a:ext>
            </a:extLst>
          </p:spPr>
        </p:pic>
        <p:pic>
          <p:nvPicPr>
            <p:cNvPr id="5" name="Picture 2" descr="I:\PPT素材\图片素材\百张low poly 高清背景图\62.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0527" t="19203" r="11894" b="58771"/>
            <a:stretch>
              <a:fillRect/>
            </a:stretch>
          </p:blipFill>
          <p:spPr bwMode="auto">
            <a:xfrm rot="16200000" flipV="1">
              <a:off x="6476153" y="2065650"/>
              <a:ext cx="4176466" cy="639957"/>
            </a:xfrm>
            <a:prstGeom prst="triangle">
              <a:avLst/>
            </a:prstGeom>
            <a:noFill/>
            <a:extLst>
              <a:ext uri="{909E8E84-426E-40DD-AFC4-6F175D3DCCD1}">
                <a14:hiddenFill xmlns:a14="http://schemas.microsoft.com/office/drawing/2010/main">
                  <a:solidFill>
                    <a:srgbClr val="FFFFFF"/>
                  </a:solidFill>
                </a14:hiddenFill>
              </a:ext>
            </a:extLst>
          </p:spPr>
        </p:pic>
      </p:grpSp>
      <p:grpSp>
        <p:nvGrpSpPr>
          <p:cNvPr id="21" name="组合 20"/>
          <p:cNvGrpSpPr/>
          <p:nvPr/>
        </p:nvGrpSpPr>
        <p:grpSpPr>
          <a:xfrm>
            <a:off x="815236" y="1059582"/>
            <a:ext cx="2092022" cy="1656184"/>
            <a:chOff x="815236" y="1059582"/>
            <a:chExt cx="2092022" cy="1656184"/>
          </a:xfrm>
        </p:grpSpPr>
        <p:graphicFrame>
          <p:nvGraphicFramePr>
            <p:cNvPr id="8" name="Chart Placeholder 8"/>
            <p:cNvGraphicFramePr/>
            <p:nvPr>
              <p:custDataLst>
                <p:tags r:id="rId3"/>
              </p:custDataLst>
            </p:nvPr>
          </p:nvGraphicFramePr>
          <p:xfrm>
            <a:off x="815236" y="1059582"/>
            <a:ext cx="2092022" cy="1656184"/>
          </p:xfrm>
          <a:graphic>
            <a:graphicData uri="http://schemas.openxmlformats.org/drawingml/2006/chart">
              <c:chart xmlns:c="http://schemas.openxmlformats.org/drawingml/2006/chart" xmlns:r="http://schemas.openxmlformats.org/officeDocument/2006/relationships" r:id="rId7"/>
            </a:graphicData>
          </a:graphic>
        </p:graphicFrame>
        <p:sp>
          <p:nvSpPr>
            <p:cNvPr id="9" name="矩形 8"/>
            <p:cNvSpPr/>
            <p:nvPr/>
          </p:nvSpPr>
          <p:spPr>
            <a:xfrm>
              <a:off x="1493997" y="1599474"/>
              <a:ext cx="901208" cy="584775"/>
            </a:xfrm>
            <a:prstGeom prst="rect">
              <a:avLst/>
            </a:prstGeom>
          </p:spPr>
          <p:txBody>
            <a:bodyPr wrap="none">
              <a:spAutoFit/>
            </a:bodyPr>
            <a:lstStyle/>
            <a:p>
              <a:pPr algn="ctr"/>
              <a:r>
                <a:rPr lang="en-US" altLang="zh-CN" sz="3200" b="1" dirty="0">
                  <a:solidFill>
                    <a:srgbClr val="800080"/>
                  </a:solidFill>
                </a:rPr>
                <a:t>40%</a:t>
              </a:r>
              <a:endParaRPr lang="zh-CN" altLang="en-US" sz="3200" b="1" dirty="0">
                <a:solidFill>
                  <a:srgbClr val="800080"/>
                </a:solidFill>
              </a:endParaRPr>
            </a:p>
          </p:txBody>
        </p:sp>
      </p:grpSp>
      <p:grpSp>
        <p:nvGrpSpPr>
          <p:cNvPr id="22" name="组合 21"/>
          <p:cNvGrpSpPr/>
          <p:nvPr/>
        </p:nvGrpSpPr>
        <p:grpSpPr>
          <a:xfrm>
            <a:off x="3447279" y="1059582"/>
            <a:ext cx="2092022" cy="1656184"/>
            <a:chOff x="3447279" y="1059582"/>
            <a:chExt cx="2092022" cy="1656184"/>
          </a:xfrm>
        </p:grpSpPr>
        <p:graphicFrame>
          <p:nvGraphicFramePr>
            <p:cNvPr id="10" name="Chart Placeholder 8"/>
            <p:cNvGraphicFramePr/>
            <p:nvPr>
              <p:custDataLst>
                <p:tags r:id="rId2"/>
              </p:custDataLst>
            </p:nvPr>
          </p:nvGraphicFramePr>
          <p:xfrm>
            <a:off x="3447279" y="1059582"/>
            <a:ext cx="2092022" cy="1656184"/>
          </p:xfrm>
          <a:graphic>
            <a:graphicData uri="http://schemas.openxmlformats.org/drawingml/2006/chart">
              <c:chart xmlns:c="http://schemas.openxmlformats.org/drawingml/2006/chart" xmlns:r="http://schemas.openxmlformats.org/officeDocument/2006/relationships" r:id="rId8"/>
            </a:graphicData>
          </a:graphic>
        </p:graphicFrame>
        <p:sp>
          <p:nvSpPr>
            <p:cNvPr id="11" name="矩形 10"/>
            <p:cNvSpPr/>
            <p:nvPr/>
          </p:nvSpPr>
          <p:spPr>
            <a:xfrm>
              <a:off x="4114092" y="1599472"/>
              <a:ext cx="901209" cy="584775"/>
            </a:xfrm>
            <a:prstGeom prst="rect">
              <a:avLst/>
            </a:prstGeom>
          </p:spPr>
          <p:txBody>
            <a:bodyPr wrap="none">
              <a:spAutoFit/>
            </a:bodyPr>
            <a:lstStyle/>
            <a:p>
              <a:pPr algn="ctr"/>
              <a:r>
                <a:rPr lang="en-US" altLang="zh-CN" sz="3200" b="1" dirty="0">
                  <a:solidFill>
                    <a:srgbClr val="800080"/>
                  </a:solidFill>
                </a:rPr>
                <a:t>60%</a:t>
              </a:r>
              <a:endParaRPr lang="zh-CN" altLang="en-US" sz="3200" b="1" dirty="0">
                <a:solidFill>
                  <a:srgbClr val="800080"/>
                </a:solidFill>
              </a:endParaRPr>
            </a:p>
          </p:txBody>
        </p:sp>
      </p:grpSp>
      <p:grpSp>
        <p:nvGrpSpPr>
          <p:cNvPr id="23" name="组合 22"/>
          <p:cNvGrpSpPr/>
          <p:nvPr/>
        </p:nvGrpSpPr>
        <p:grpSpPr>
          <a:xfrm>
            <a:off x="6019033" y="1059582"/>
            <a:ext cx="2092022" cy="1656184"/>
            <a:chOff x="6019033" y="1059582"/>
            <a:chExt cx="2092022" cy="1656184"/>
          </a:xfrm>
        </p:grpSpPr>
        <p:graphicFrame>
          <p:nvGraphicFramePr>
            <p:cNvPr id="12" name="Chart Placeholder 8"/>
            <p:cNvGraphicFramePr/>
            <p:nvPr>
              <p:custDataLst>
                <p:tags r:id="rId1"/>
              </p:custDataLst>
            </p:nvPr>
          </p:nvGraphicFramePr>
          <p:xfrm>
            <a:off x="6019033" y="1059582"/>
            <a:ext cx="2092022" cy="1656184"/>
          </p:xfrm>
          <a:graphic>
            <a:graphicData uri="http://schemas.openxmlformats.org/drawingml/2006/chart">
              <c:chart xmlns:c="http://schemas.openxmlformats.org/drawingml/2006/chart" xmlns:r="http://schemas.openxmlformats.org/officeDocument/2006/relationships" r:id="rId9"/>
            </a:graphicData>
          </a:graphic>
        </p:graphicFrame>
        <p:sp>
          <p:nvSpPr>
            <p:cNvPr id="13" name="矩形 12"/>
            <p:cNvSpPr/>
            <p:nvPr/>
          </p:nvSpPr>
          <p:spPr>
            <a:xfrm>
              <a:off x="6707842" y="1599473"/>
              <a:ext cx="901209" cy="584775"/>
            </a:xfrm>
            <a:prstGeom prst="rect">
              <a:avLst/>
            </a:prstGeom>
          </p:spPr>
          <p:txBody>
            <a:bodyPr wrap="none">
              <a:spAutoFit/>
            </a:bodyPr>
            <a:lstStyle/>
            <a:p>
              <a:pPr algn="ctr"/>
              <a:r>
                <a:rPr lang="en-US" altLang="zh-CN" sz="3200" b="1" dirty="0">
                  <a:solidFill>
                    <a:srgbClr val="800080"/>
                  </a:solidFill>
                </a:rPr>
                <a:t>80%</a:t>
              </a:r>
              <a:endParaRPr lang="zh-CN" altLang="en-US" sz="3200" b="1" dirty="0">
                <a:solidFill>
                  <a:srgbClr val="800080"/>
                </a:solidFill>
              </a:endParaRPr>
            </a:p>
          </p:txBody>
        </p:sp>
      </p:grpSp>
      <p:sp>
        <p:nvSpPr>
          <p:cNvPr id="14" name="TextBox 13"/>
          <p:cNvSpPr txBox="1"/>
          <p:nvPr/>
        </p:nvSpPr>
        <p:spPr>
          <a:xfrm>
            <a:off x="1050481" y="3166105"/>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sp>
        <p:nvSpPr>
          <p:cNvPr id="15" name="矩形 14"/>
          <p:cNvSpPr/>
          <p:nvPr/>
        </p:nvSpPr>
        <p:spPr>
          <a:xfrm>
            <a:off x="1122489" y="2787835"/>
            <a:ext cx="1800200" cy="338554"/>
          </a:xfrm>
          <a:prstGeom prst="rect">
            <a:avLst/>
          </a:prstGeom>
          <a:solidFill>
            <a:srgbClr val="800080"/>
          </a:solidFill>
        </p:spPr>
        <p:txBody>
          <a:bodyPr wrap="square">
            <a:spAutoFit/>
          </a:bodyPr>
          <a:lstStyle/>
          <a:p>
            <a:pPr algn="ctr"/>
            <a:r>
              <a:rPr lang="en-US" altLang="zh-CN" sz="1600" b="1" dirty="0">
                <a:solidFill>
                  <a:schemeClr val="bg1"/>
                </a:solidFill>
              </a:rPr>
              <a:t>TEXT  HERE</a:t>
            </a:r>
            <a:endParaRPr lang="zh-CN" altLang="en-US" sz="1600" b="1" dirty="0">
              <a:solidFill>
                <a:schemeClr val="bg1"/>
              </a:solidFill>
            </a:endParaRPr>
          </a:p>
        </p:txBody>
      </p:sp>
      <p:sp>
        <p:nvSpPr>
          <p:cNvPr id="16" name="TextBox 15"/>
          <p:cNvSpPr txBox="1"/>
          <p:nvPr/>
        </p:nvSpPr>
        <p:spPr>
          <a:xfrm>
            <a:off x="3592588" y="3166105"/>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sp>
        <p:nvSpPr>
          <p:cNvPr id="17" name="矩形 16"/>
          <p:cNvSpPr/>
          <p:nvPr/>
        </p:nvSpPr>
        <p:spPr>
          <a:xfrm>
            <a:off x="3664596" y="2787835"/>
            <a:ext cx="1800200" cy="338554"/>
          </a:xfrm>
          <a:prstGeom prst="rect">
            <a:avLst/>
          </a:prstGeom>
          <a:solidFill>
            <a:srgbClr val="800080"/>
          </a:solidFill>
        </p:spPr>
        <p:txBody>
          <a:bodyPr wrap="square">
            <a:spAutoFit/>
          </a:bodyPr>
          <a:lstStyle/>
          <a:p>
            <a:pPr algn="ctr"/>
            <a:r>
              <a:rPr lang="en-US" altLang="zh-CN" sz="1600" b="1" dirty="0">
                <a:solidFill>
                  <a:schemeClr val="bg1"/>
                </a:solidFill>
              </a:rPr>
              <a:t>TEXT  HERE</a:t>
            </a:r>
            <a:endParaRPr lang="zh-CN" altLang="en-US" sz="1600" b="1" dirty="0">
              <a:solidFill>
                <a:schemeClr val="bg1"/>
              </a:solidFill>
            </a:endParaRPr>
          </a:p>
        </p:txBody>
      </p:sp>
      <p:sp>
        <p:nvSpPr>
          <p:cNvPr id="18" name="TextBox 17"/>
          <p:cNvSpPr txBox="1"/>
          <p:nvPr/>
        </p:nvSpPr>
        <p:spPr>
          <a:xfrm>
            <a:off x="6068183" y="3166105"/>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sp>
        <p:nvSpPr>
          <p:cNvPr id="19" name="矩形 18"/>
          <p:cNvSpPr/>
          <p:nvPr/>
        </p:nvSpPr>
        <p:spPr>
          <a:xfrm>
            <a:off x="6140191" y="2787835"/>
            <a:ext cx="1800200" cy="338554"/>
          </a:xfrm>
          <a:prstGeom prst="rect">
            <a:avLst/>
          </a:prstGeom>
          <a:solidFill>
            <a:srgbClr val="800080"/>
          </a:solidFill>
        </p:spPr>
        <p:txBody>
          <a:bodyPr wrap="square">
            <a:spAutoFit/>
          </a:bodyPr>
          <a:lstStyle/>
          <a:p>
            <a:pPr algn="ctr"/>
            <a:r>
              <a:rPr lang="en-US" altLang="zh-CN" sz="1600" b="1" dirty="0">
                <a:solidFill>
                  <a:schemeClr val="bg1"/>
                </a:solidFill>
              </a:rPr>
              <a:t>TEXT  HERE</a:t>
            </a:r>
            <a:endParaRPr lang="zh-CN" altLang="en-US" sz="1600" b="1" dirty="0">
              <a:solidFill>
                <a:schemeClr val="bg1"/>
              </a:solidFill>
            </a:endParaRPr>
          </a:p>
        </p:txBody>
      </p:sp>
      <p:sp>
        <p:nvSpPr>
          <p:cNvPr id="20" name="TextBox 19"/>
          <p:cNvSpPr txBox="1"/>
          <p:nvPr/>
        </p:nvSpPr>
        <p:spPr>
          <a:xfrm>
            <a:off x="3266455" y="228693"/>
            <a:ext cx="259648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en-US" altLang="zh-CN" dirty="0"/>
              <a:t>ADD YOUR TEXT</a:t>
            </a:r>
            <a:endParaRPr lang="zh-CN" altLang="en-US" dirty="0"/>
          </a:p>
        </p:txBody>
      </p:sp>
    </p:spTree>
  </p:cSld>
  <p:clrMapOvr>
    <a:masterClrMapping/>
  </p:clrMapOvr>
  <p:transition spd="slow">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0-#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42" presetClass="entr" presetSubtype="0" fill="hold" grpId="0" nodeType="after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anim calcmode="lin" valueType="num">
                                      <p:cBhvr>
                                        <p:cTn id="17" dur="500" fill="hold"/>
                                        <p:tgtEl>
                                          <p:spTgt spid="20"/>
                                        </p:tgtEl>
                                        <p:attrNameLst>
                                          <p:attrName>ppt_x</p:attrName>
                                        </p:attrNameLst>
                                      </p:cBhvr>
                                      <p:tavLst>
                                        <p:tav tm="0">
                                          <p:val>
                                            <p:strVal val="#ppt_x"/>
                                          </p:val>
                                        </p:tav>
                                        <p:tav tm="100000">
                                          <p:val>
                                            <p:strVal val="#ppt_x"/>
                                          </p:val>
                                        </p:tav>
                                      </p:tavLst>
                                    </p:anim>
                                    <p:anim calcmode="lin" valueType="num">
                                      <p:cBhvr>
                                        <p:cTn id="18" dur="500" fill="hold"/>
                                        <p:tgtEl>
                                          <p:spTgt spid="20"/>
                                        </p:tgtEl>
                                        <p:attrNameLst>
                                          <p:attrName>ppt_y</p:attrName>
                                        </p:attrNameLst>
                                      </p:cBhvr>
                                      <p:tavLst>
                                        <p:tav tm="0">
                                          <p:val>
                                            <p:strVal val="#ppt_y+.1"/>
                                          </p:val>
                                        </p:tav>
                                        <p:tav tm="100000">
                                          <p:val>
                                            <p:strVal val="#ppt_y"/>
                                          </p:val>
                                        </p:tav>
                                      </p:tavLst>
                                    </p:anim>
                                  </p:childTnLst>
                                </p:cTn>
                              </p:par>
                            </p:childTnLst>
                          </p:cTn>
                        </p:par>
                        <p:par>
                          <p:cTn id="19" fill="hold">
                            <p:stCondLst>
                              <p:cond delay="1000"/>
                            </p:stCondLst>
                            <p:childTnLst>
                              <p:par>
                                <p:cTn id="20" presetID="10" presetClass="entr" presetSubtype="0" fill="hold" nodeType="after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par>
                          <p:cTn id="23" fill="hold">
                            <p:stCondLst>
                              <p:cond delay="1500"/>
                            </p:stCondLst>
                            <p:childTnLst>
                              <p:par>
                                <p:cTn id="24" presetID="10" presetClass="entr" presetSubtype="0" fill="hold" nodeType="after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par>
                          <p:cTn id="27" fill="hold">
                            <p:stCondLst>
                              <p:cond delay="2000"/>
                            </p:stCondLst>
                            <p:childTnLst>
                              <p:par>
                                <p:cTn id="28" presetID="10" presetClass="entr" presetSubtype="0" fill="hold" nodeType="after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500"/>
                                        <p:tgtEl>
                                          <p:spTgt spid="23"/>
                                        </p:tgtEl>
                                      </p:cBhvr>
                                    </p:animEffect>
                                  </p:childTnLst>
                                </p:cTn>
                              </p:par>
                            </p:childTnLst>
                          </p:cTn>
                        </p:par>
                        <p:par>
                          <p:cTn id="31" fill="hold">
                            <p:stCondLst>
                              <p:cond delay="2500"/>
                            </p:stCondLst>
                            <p:childTnLst>
                              <p:par>
                                <p:cTn id="32" presetID="10" presetClass="entr" presetSubtype="0" fill="hold" grpId="0" nodeType="after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500"/>
                                        <p:tgtEl>
                                          <p:spTgt spid="1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8"/>
                                        </p:tgtEl>
                                        <p:attrNameLst>
                                          <p:attrName>style.visibility</p:attrName>
                                        </p:attrNameLst>
                                      </p:cBhvr>
                                      <p:to>
                                        <p:strVal val="visible"/>
                                      </p:to>
                                    </p:set>
                                    <p:animEffect transition="in" filter="fade">
                                      <p:cBhvr>
                                        <p:cTn id="4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animBg="1"/>
      <p:bldP spid="16" grpId="0"/>
      <p:bldP spid="17" grpId="0" animBg="1"/>
      <p:bldP spid="18" grpId="0"/>
      <p:bldP spid="19" grpId="0" animBg="1"/>
      <p:bldP spid="2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15297" y="228693"/>
            <a:ext cx="259648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en-US" altLang="zh-CN" dirty="0"/>
              <a:t>ADD YOUR TEXT</a:t>
            </a:r>
            <a:endParaRPr lang="zh-CN" altLang="en-US" dirty="0"/>
          </a:p>
        </p:txBody>
      </p:sp>
      <p:sp>
        <p:nvSpPr>
          <p:cNvPr id="3" name="TextBox 2"/>
          <p:cNvSpPr txBox="1"/>
          <p:nvPr/>
        </p:nvSpPr>
        <p:spPr>
          <a:xfrm>
            <a:off x="605424" y="1347614"/>
            <a:ext cx="2016225" cy="461665"/>
          </a:xfrm>
          <a:prstGeom prst="rect">
            <a:avLst/>
          </a:prstGeom>
          <a:solidFill>
            <a:srgbClr val="800080"/>
          </a:solidFill>
        </p:spPr>
        <p:txBody>
          <a:bodyPr wrap="square" rtlCol="0">
            <a:spAutoFit/>
          </a:bodyPr>
          <a:lstStyle/>
          <a:p>
            <a:pPr algn="ctr"/>
            <a:r>
              <a:rPr lang="en-US" altLang="zh-CN" sz="2400" b="1" dirty="0">
                <a:solidFill>
                  <a:schemeClr val="bg1"/>
                </a:solidFill>
              </a:rPr>
              <a:t>TEXT  HERE</a:t>
            </a:r>
            <a:endParaRPr lang="zh-CN" altLang="en-US" sz="2400" b="1" dirty="0">
              <a:solidFill>
                <a:schemeClr val="bg1"/>
              </a:solidFill>
            </a:endParaRPr>
          </a:p>
        </p:txBody>
      </p:sp>
      <p:sp>
        <p:nvSpPr>
          <p:cNvPr id="4" name="TextBox 3"/>
          <p:cNvSpPr txBox="1"/>
          <p:nvPr/>
        </p:nvSpPr>
        <p:spPr>
          <a:xfrm>
            <a:off x="612258" y="1940711"/>
            <a:ext cx="3134137" cy="1708160"/>
          </a:xfrm>
          <a:prstGeom prst="rect">
            <a:avLst/>
          </a:prstGeom>
          <a:noFill/>
        </p:spPr>
        <p:txBody>
          <a:bodyPr wrap="square" rtlCol="0">
            <a:spAutoFit/>
          </a:bodyPr>
          <a:lstStyle/>
          <a:p>
            <a:pPr marL="171450" indent="-171450">
              <a:lnSpc>
                <a:spcPct val="150000"/>
              </a:lnSpc>
              <a:buClr>
                <a:srgbClr val="CC0099"/>
              </a:buClr>
              <a:buFont typeface="Wingdings" panose="05000000000000000000" pitchFamily="2" charset="2"/>
              <a:buChar char="l"/>
            </a:pPr>
            <a:r>
              <a:rPr lang="en-US" altLang="zh-CN" sz="1400" dirty="0">
                <a:solidFill>
                  <a:schemeClr val="tx1">
                    <a:lumMod val="75000"/>
                    <a:lumOff val="25000"/>
                  </a:schemeClr>
                </a:solidFill>
              </a:rPr>
              <a:t>You can click here to enter you text. </a:t>
            </a:r>
          </a:p>
          <a:p>
            <a:pPr marL="171450" indent="-171450">
              <a:lnSpc>
                <a:spcPct val="150000"/>
              </a:lnSpc>
              <a:buClr>
                <a:srgbClr val="CC0099"/>
              </a:buClr>
              <a:buFont typeface="Wingdings" panose="05000000000000000000" pitchFamily="2" charset="2"/>
              <a:buChar char="l"/>
            </a:pPr>
            <a:r>
              <a:rPr lang="en-US" altLang="zh-CN" sz="1400" dirty="0">
                <a:solidFill>
                  <a:schemeClr val="tx1">
                    <a:lumMod val="75000"/>
                    <a:lumOff val="25000"/>
                  </a:schemeClr>
                </a:solidFill>
              </a:rPr>
              <a:t>You can click here to enter you text. </a:t>
            </a:r>
          </a:p>
          <a:p>
            <a:pPr marL="171450" indent="-171450">
              <a:lnSpc>
                <a:spcPct val="150000"/>
              </a:lnSpc>
              <a:buClr>
                <a:srgbClr val="CC0099"/>
              </a:buClr>
              <a:buFont typeface="Wingdings" panose="05000000000000000000" pitchFamily="2" charset="2"/>
              <a:buChar char="l"/>
            </a:pPr>
            <a:r>
              <a:rPr lang="en-US" altLang="zh-CN" sz="1400" dirty="0">
                <a:solidFill>
                  <a:schemeClr val="tx1">
                    <a:lumMod val="75000"/>
                    <a:lumOff val="25000"/>
                  </a:schemeClr>
                </a:solidFill>
              </a:rPr>
              <a:t>You can click here to enter you text.</a:t>
            </a:r>
          </a:p>
          <a:p>
            <a:pPr marL="171450" indent="-171450">
              <a:lnSpc>
                <a:spcPct val="150000"/>
              </a:lnSpc>
              <a:buClr>
                <a:srgbClr val="CC0099"/>
              </a:buClr>
              <a:buFont typeface="Wingdings" panose="05000000000000000000" pitchFamily="2" charset="2"/>
              <a:buChar char="l"/>
            </a:pPr>
            <a:r>
              <a:rPr lang="en-US" altLang="zh-CN" sz="1400" dirty="0">
                <a:solidFill>
                  <a:schemeClr val="tx1">
                    <a:lumMod val="75000"/>
                    <a:lumOff val="25000"/>
                  </a:schemeClr>
                </a:solidFill>
              </a:rPr>
              <a:t>You can click here to enter you text. </a:t>
            </a:r>
          </a:p>
          <a:p>
            <a:pPr marL="171450" indent="-171450">
              <a:lnSpc>
                <a:spcPct val="150000"/>
              </a:lnSpc>
              <a:buClr>
                <a:srgbClr val="CC0099"/>
              </a:buClr>
              <a:buFont typeface="Wingdings" panose="05000000000000000000" pitchFamily="2" charset="2"/>
              <a:buChar char="l"/>
            </a:pPr>
            <a:r>
              <a:rPr lang="en-US" altLang="zh-CN" sz="1400" dirty="0">
                <a:solidFill>
                  <a:schemeClr val="tx1">
                    <a:lumMod val="75000"/>
                    <a:lumOff val="25000"/>
                  </a:schemeClr>
                </a:solidFill>
              </a:rPr>
              <a:t>You can click here to enter you text. </a:t>
            </a:r>
            <a:endParaRPr lang="zh-CN" altLang="en-US" sz="1400" dirty="0">
              <a:solidFill>
                <a:schemeClr val="tx1">
                  <a:lumMod val="75000"/>
                  <a:lumOff val="25000"/>
                </a:schemeClr>
              </a:solidFill>
            </a:endParaRPr>
          </a:p>
        </p:txBody>
      </p:sp>
      <p:cxnSp>
        <p:nvCxnSpPr>
          <p:cNvPr id="16" name="直接连接符 15"/>
          <p:cNvCxnSpPr/>
          <p:nvPr/>
        </p:nvCxnSpPr>
        <p:spPr>
          <a:xfrm>
            <a:off x="4283968" y="3435846"/>
            <a:ext cx="3744416" cy="0"/>
          </a:xfrm>
          <a:prstGeom prst="line">
            <a:avLst/>
          </a:prstGeom>
          <a:ln w="28575">
            <a:solidFill>
              <a:srgbClr val="800080"/>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57466" y="3445173"/>
            <a:ext cx="3051252" cy="646331"/>
          </a:xfrm>
          <a:prstGeom prst="rect">
            <a:avLst/>
          </a:prstGeom>
          <a:noFill/>
        </p:spPr>
        <p:txBody>
          <a:bodyPr wrap="square" rtlCol="0">
            <a:spAutoFit/>
          </a:bodyPr>
          <a:lstStyle/>
          <a:p>
            <a:pPr algn="ctr">
              <a:lnSpc>
                <a:spcPct val="150000"/>
              </a:lnSpc>
            </a:pPr>
            <a:r>
              <a:rPr lang="en-US" altLang="zh-CN" sz="1200" b="1" dirty="0">
                <a:solidFill>
                  <a:srgbClr val="800080"/>
                </a:solidFill>
              </a:rPr>
              <a:t>You can click here to enter you text. You can click here to enter you text. </a:t>
            </a:r>
            <a:endParaRPr lang="zh-CN" altLang="en-US" sz="1200" b="1" dirty="0">
              <a:solidFill>
                <a:srgbClr val="800080"/>
              </a:solidFill>
            </a:endParaRPr>
          </a:p>
        </p:txBody>
      </p:sp>
      <p:grpSp>
        <p:nvGrpSpPr>
          <p:cNvPr id="8" name="组合 7"/>
          <p:cNvGrpSpPr/>
          <p:nvPr/>
        </p:nvGrpSpPr>
        <p:grpSpPr>
          <a:xfrm>
            <a:off x="4499992" y="1172870"/>
            <a:ext cx="1030446" cy="1030446"/>
            <a:chOff x="4499992" y="1172870"/>
            <a:chExt cx="1030446" cy="1030446"/>
          </a:xfrm>
        </p:grpSpPr>
        <p:sp>
          <p:nvSpPr>
            <p:cNvPr id="9" name="矩形 8"/>
            <p:cNvSpPr/>
            <p:nvPr/>
          </p:nvSpPr>
          <p:spPr>
            <a:xfrm>
              <a:off x="4499992" y="1172870"/>
              <a:ext cx="1030446" cy="1030446"/>
            </a:xfrm>
            <a:prstGeom prst="rect">
              <a:avLst/>
            </a:prstGeom>
            <a:solidFill>
              <a:schemeClr val="tx1">
                <a:lumMod val="75000"/>
                <a:lumOff val="2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sp>
          <p:nvSpPr>
            <p:cNvPr id="18" name="矩形 17"/>
            <p:cNvSpPr/>
            <p:nvPr/>
          </p:nvSpPr>
          <p:spPr>
            <a:xfrm>
              <a:off x="4644761" y="1334150"/>
              <a:ext cx="740907" cy="707886"/>
            </a:xfrm>
            <a:prstGeom prst="rect">
              <a:avLst/>
            </a:prstGeom>
          </p:spPr>
          <p:txBody>
            <a:bodyPr wrap="none">
              <a:spAutoFit/>
            </a:bodyPr>
            <a:lstStyle/>
            <a:p>
              <a:pPr algn="ctr"/>
              <a:r>
                <a:rPr lang="en-US" altLang="zh-CN" sz="2000" b="1" dirty="0">
                  <a:solidFill>
                    <a:schemeClr val="bg1"/>
                  </a:solidFill>
                </a:rPr>
                <a:t>TEXT</a:t>
              </a:r>
            </a:p>
            <a:p>
              <a:pPr algn="ctr"/>
              <a:r>
                <a:rPr lang="en-US" altLang="zh-CN" sz="2000" b="1" dirty="0">
                  <a:solidFill>
                    <a:schemeClr val="bg1"/>
                  </a:solidFill>
                </a:rPr>
                <a:t>HERE</a:t>
              </a:r>
              <a:endParaRPr lang="zh-CN" altLang="en-US" sz="2000" b="1" dirty="0">
                <a:solidFill>
                  <a:schemeClr val="bg1"/>
                </a:solidFill>
              </a:endParaRPr>
            </a:p>
          </p:txBody>
        </p:sp>
      </p:grpSp>
      <p:grpSp>
        <p:nvGrpSpPr>
          <p:cNvPr id="15" name="组合 14"/>
          <p:cNvGrpSpPr/>
          <p:nvPr/>
        </p:nvGrpSpPr>
        <p:grpSpPr>
          <a:xfrm>
            <a:off x="6819997" y="1172870"/>
            <a:ext cx="1030446" cy="1030446"/>
            <a:chOff x="6819997" y="1172870"/>
            <a:chExt cx="1030446" cy="1030446"/>
          </a:xfrm>
        </p:grpSpPr>
        <p:sp>
          <p:nvSpPr>
            <p:cNvPr id="11" name="矩形 10"/>
            <p:cNvSpPr/>
            <p:nvPr/>
          </p:nvSpPr>
          <p:spPr>
            <a:xfrm>
              <a:off x="6819997" y="1172870"/>
              <a:ext cx="1030446" cy="1030446"/>
            </a:xfrm>
            <a:prstGeom prst="rect">
              <a:avLst/>
            </a:prstGeom>
            <a:solidFill>
              <a:schemeClr val="tx1">
                <a:lumMod val="75000"/>
                <a:lumOff val="2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p:cNvSpPr/>
            <p:nvPr/>
          </p:nvSpPr>
          <p:spPr>
            <a:xfrm>
              <a:off x="6964766" y="1334150"/>
              <a:ext cx="740907" cy="707886"/>
            </a:xfrm>
            <a:prstGeom prst="rect">
              <a:avLst/>
            </a:prstGeom>
          </p:spPr>
          <p:txBody>
            <a:bodyPr wrap="none">
              <a:spAutoFit/>
            </a:bodyPr>
            <a:lstStyle/>
            <a:p>
              <a:pPr algn="ctr"/>
              <a:r>
                <a:rPr lang="en-US" altLang="zh-CN" sz="2000" b="1" dirty="0">
                  <a:solidFill>
                    <a:schemeClr val="bg1"/>
                  </a:solidFill>
                </a:rPr>
                <a:t>TEXT</a:t>
              </a:r>
            </a:p>
            <a:p>
              <a:pPr algn="ctr"/>
              <a:r>
                <a:rPr lang="en-US" altLang="zh-CN" sz="2000" b="1" dirty="0">
                  <a:solidFill>
                    <a:schemeClr val="bg1"/>
                  </a:solidFill>
                </a:rPr>
                <a:t>HERE</a:t>
              </a:r>
              <a:endParaRPr lang="zh-CN" altLang="en-US" sz="2000" b="1" dirty="0">
                <a:solidFill>
                  <a:schemeClr val="bg1"/>
                </a:solidFill>
              </a:endParaRPr>
            </a:p>
          </p:txBody>
        </p:sp>
      </p:grpSp>
      <p:grpSp>
        <p:nvGrpSpPr>
          <p:cNvPr id="21" name="组合 20"/>
          <p:cNvGrpSpPr/>
          <p:nvPr/>
        </p:nvGrpSpPr>
        <p:grpSpPr>
          <a:xfrm>
            <a:off x="5667869" y="2279568"/>
            <a:ext cx="1030446" cy="1030446"/>
            <a:chOff x="5667869" y="2279568"/>
            <a:chExt cx="1030446" cy="1030446"/>
          </a:xfrm>
        </p:grpSpPr>
        <p:sp>
          <p:nvSpPr>
            <p:cNvPr id="13" name="矩形 12"/>
            <p:cNvSpPr/>
            <p:nvPr/>
          </p:nvSpPr>
          <p:spPr>
            <a:xfrm>
              <a:off x="5667869" y="2279568"/>
              <a:ext cx="1030446" cy="1030446"/>
            </a:xfrm>
            <a:prstGeom prst="rect">
              <a:avLst/>
            </a:prstGeom>
            <a:solidFill>
              <a:schemeClr val="tx1">
                <a:lumMod val="75000"/>
                <a:lumOff val="2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5812638" y="2440848"/>
              <a:ext cx="740907" cy="707886"/>
            </a:xfrm>
            <a:prstGeom prst="rect">
              <a:avLst/>
            </a:prstGeom>
          </p:spPr>
          <p:txBody>
            <a:bodyPr wrap="none">
              <a:spAutoFit/>
            </a:bodyPr>
            <a:lstStyle/>
            <a:p>
              <a:pPr algn="ctr"/>
              <a:r>
                <a:rPr lang="en-US" altLang="zh-CN" sz="2000" b="1" dirty="0">
                  <a:solidFill>
                    <a:schemeClr val="bg1"/>
                  </a:solidFill>
                </a:rPr>
                <a:t>TEXT</a:t>
              </a:r>
            </a:p>
            <a:p>
              <a:pPr algn="ctr"/>
              <a:r>
                <a:rPr lang="en-US" altLang="zh-CN" sz="2000" b="1" dirty="0">
                  <a:solidFill>
                    <a:schemeClr val="bg1"/>
                  </a:solidFill>
                </a:rPr>
                <a:t>HERE</a:t>
              </a:r>
              <a:endParaRPr lang="zh-CN" altLang="en-US" sz="2000" b="1" dirty="0">
                <a:solidFill>
                  <a:schemeClr val="bg1"/>
                </a:solidFill>
              </a:endParaRPr>
            </a:p>
          </p:txBody>
        </p:sp>
      </p:grpSp>
      <p:grpSp>
        <p:nvGrpSpPr>
          <p:cNvPr id="7" name="组合 6"/>
          <p:cNvGrpSpPr/>
          <p:nvPr/>
        </p:nvGrpSpPr>
        <p:grpSpPr>
          <a:xfrm>
            <a:off x="4499992" y="2279568"/>
            <a:ext cx="1030446" cy="1030446"/>
            <a:chOff x="4499992" y="2279568"/>
            <a:chExt cx="1030446" cy="1030446"/>
          </a:xfrm>
        </p:grpSpPr>
        <p:sp>
          <p:nvSpPr>
            <p:cNvPr id="12" name="矩形 11"/>
            <p:cNvSpPr/>
            <p:nvPr/>
          </p:nvSpPr>
          <p:spPr>
            <a:xfrm>
              <a:off x="4499992" y="2279568"/>
              <a:ext cx="1030446" cy="1030446"/>
            </a:xfrm>
            <a:prstGeom prst="rect">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2" name="组合 21"/>
            <p:cNvGrpSpPr/>
            <p:nvPr/>
          </p:nvGrpSpPr>
          <p:grpSpPr>
            <a:xfrm>
              <a:off x="4745340" y="2608983"/>
              <a:ext cx="539750" cy="539751"/>
              <a:chOff x="568325" y="5842000"/>
              <a:chExt cx="539750" cy="539751"/>
            </a:xfrm>
          </p:grpSpPr>
          <p:sp>
            <p:nvSpPr>
              <p:cNvPr id="23" name="Freeform 7"/>
              <p:cNvSpPr/>
              <p:nvPr/>
            </p:nvSpPr>
            <p:spPr bwMode="auto">
              <a:xfrm>
                <a:off x="568325" y="6180138"/>
                <a:ext cx="539750" cy="66675"/>
              </a:xfrm>
              <a:custGeom>
                <a:avLst/>
                <a:gdLst>
                  <a:gd name="T0" fmla="*/ 0 w 192"/>
                  <a:gd name="T1" fmla="*/ 12 h 24"/>
                  <a:gd name="T2" fmla="*/ 13 w 192"/>
                  <a:gd name="T3" fmla="*/ 24 h 24"/>
                  <a:gd name="T4" fmla="*/ 80 w 192"/>
                  <a:gd name="T5" fmla="*/ 24 h 24"/>
                  <a:gd name="T6" fmla="*/ 88 w 192"/>
                  <a:gd name="T7" fmla="*/ 24 h 24"/>
                  <a:gd name="T8" fmla="*/ 104 w 192"/>
                  <a:gd name="T9" fmla="*/ 24 h 24"/>
                  <a:gd name="T10" fmla="*/ 112 w 192"/>
                  <a:gd name="T11" fmla="*/ 24 h 24"/>
                  <a:gd name="T12" fmla="*/ 181 w 192"/>
                  <a:gd name="T13" fmla="*/ 24 h 24"/>
                  <a:gd name="T14" fmla="*/ 192 w 192"/>
                  <a:gd name="T15" fmla="*/ 12 h 24"/>
                  <a:gd name="T16" fmla="*/ 192 w 192"/>
                  <a:gd name="T17" fmla="*/ 0 h 24"/>
                  <a:gd name="T18" fmla="*/ 0 w 192"/>
                  <a:gd name="T19" fmla="*/ 0 h 24"/>
                  <a:gd name="T20" fmla="*/ 0 w 192"/>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4">
                    <a:moveTo>
                      <a:pt x="0" y="12"/>
                    </a:moveTo>
                    <a:cubicBezTo>
                      <a:pt x="0" y="19"/>
                      <a:pt x="6" y="24"/>
                      <a:pt x="13" y="24"/>
                    </a:cubicBezTo>
                    <a:cubicBezTo>
                      <a:pt x="80" y="24"/>
                      <a:pt x="80" y="24"/>
                      <a:pt x="80" y="24"/>
                    </a:cubicBezTo>
                    <a:cubicBezTo>
                      <a:pt x="88" y="24"/>
                      <a:pt x="88" y="24"/>
                      <a:pt x="88" y="24"/>
                    </a:cubicBezTo>
                    <a:cubicBezTo>
                      <a:pt x="104" y="24"/>
                      <a:pt x="104" y="24"/>
                      <a:pt x="104" y="24"/>
                    </a:cubicBezTo>
                    <a:cubicBezTo>
                      <a:pt x="112" y="24"/>
                      <a:pt x="112" y="24"/>
                      <a:pt x="112" y="24"/>
                    </a:cubicBezTo>
                    <a:cubicBezTo>
                      <a:pt x="181" y="24"/>
                      <a:pt x="181" y="24"/>
                      <a:pt x="181" y="24"/>
                    </a:cubicBezTo>
                    <a:cubicBezTo>
                      <a:pt x="187" y="24"/>
                      <a:pt x="192" y="18"/>
                      <a:pt x="192" y="12"/>
                    </a:cubicBezTo>
                    <a:cubicBezTo>
                      <a:pt x="192" y="0"/>
                      <a:pt x="192" y="0"/>
                      <a:pt x="192" y="0"/>
                    </a:cubicBezTo>
                    <a:cubicBezTo>
                      <a:pt x="0" y="0"/>
                      <a:pt x="0" y="0"/>
                      <a:pt x="0" y="0"/>
                    </a:cubicBez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 name="Freeform 8"/>
              <p:cNvSpPr/>
              <p:nvPr/>
            </p:nvSpPr>
            <p:spPr bwMode="auto">
              <a:xfrm>
                <a:off x="568325" y="5842000"/>
                <a:ext cx="539750" cy="315913"/>
              </a:xfrm>
              <a:custGeom>
                <a:avLst/>
                <a:gdLst>
                  <a:gd name="T0" fmla="*/ 180 w 192"/>
                  <a:gd name="T1" fmla="*/ 0 h 112"/>
                  <a:gd name="T2" fmla="*/ 12 w 192"/>
                  <a:gd name="T3" fmla="*/ 0 h 112"/>
                  <a:gd name="T4" fmla="*/ 0 w 192"/>
                  <a:gd name="T5" fmla="*/ 12 h 112"/>
                  <a:gd name="T6" fmla="*/ 0 w 192"/>
                  <a:gd name="T7" fmla="*/ 112 h 112"/>
                  <a:gd name="T8" fmla="*/ 192 w 192"/>
                  <a:gd name="T9" fmla="*/ 112 h 112"/>
                  <a:gd name="T10" fmla="*/ 192 w 192"/>
                  <a:gd name="T11" fmla="*/ 12 h 112"/>
                  <a:gd name="T12" fmla="*/ 180 w 192"/>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92" h="112">
                    <a:moveTo>
                      <a:pt x="180" y="0"/>
                    </a:moveTo>
                    <a:cubicBezTo>
                      <a:pt x="12" y="0"/>
                      <a:pt x="12" y="0"/>
                      <a:pt x="12" y="0"/>
                    </a:cubicBezTo>
                    <a:cubicBezTo>
                      <a:pt x="6" y="0"/>
                      <a:pt x="0" y="5"/>
                      <a:pt x="0" y="12"/>
                    </a:cubicBezTo>
                    <a:cubicBezTo>
                      <a:pt x="0" y="112"/>
                      <a:pt x="0" y="112"/>
                      <a:pt x="0" y="112"/>
                    </a:cubicBezTo>
                    <a:cubicBezTo>
                      <a:pt x="192" y="112"/>
                      <a:pt x="192" y="112"/>
                      <a:pt x="192" y="112"/>
                    </a:cubicBezTo>
                    <a:cubicBezTo>
                      <a:pt x="192" y="12"/>
                      <a:pt x="192" y="12"/>
                      <a:pt x="192" y="12"/>
                    </a:cubicBezTo>
                    <a:cubicBezTo>
                      <a:pt x="192" y="5"/>
                      <a:pt x="187" y="0"/>
                      <a:pt x="18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 name="Freeform 9"/>
              <p:cNvSpPr/>
              <p:nvPr/>
            </p:nvSpPr>
            <p:spPr bwMode="auto">
              <a:xfrm>
                <a:off x="725488" y="6269038"/>
                <a:ext cx="225425" cy="112713"/>
              </a:xfrm>
              <a:custGeom>
                <a:avLst/>
                <a:gdLst>
                  <a:gd name="T0" fmla="*/ 56 w 80"/>
                  <a:gd name="T1" fmla="*/ 2 h 40"/>
                  <a:gd name="T2" fmla="*/ 56 w 80"/>
                  <a:gd name="T3" fmla="*/ 2 h 40"/>
                  <a:gd name="T4" fmla="*/ 56 w 80"/>
                  <a:gd name="T5" fmla="*/ 0 h 40"/>
                  <a:gd name="T6" fmla="*/ 48 w 80"/>
                  <a:gd name="T7" fmla="*/ 0 h 40"/>
                  <a:gd name="T8" fmla="*/ 32 w 80"/>
                  <a:gd name="T9" fmla="*/ 0 h 40"/>
                  <a:gd name="T10" fmla="*/ 24 w 80"/>
                  <a:gd name="T11" fmla="*/ 0 h 40"/>
                  <a:gd name="T12" fmla="*/ 24 w 80"/>
                  <a:gd name="T13" fmla="*/ 1 h 40"/>
                  <a:gd name="T14" fmla="*/ 24 w 80"/>
                  <a:gd name="T15" fmla="*/ 1 h 40"/>
                  <a:gd name="T16" fmla="*/ 0 w 80"/>
                  <a:gd name="T17" fmla="*/ 20 h 40"/>
                  <a:gd name="T18" fmla="*/ 13 w 80"/>
                  <a:gd name="T19" fmla="*/ 35 h 40"/>
                  <a:gd name="T20" fmla="*/ 40 w 80"/>
                  <a:gd name="T21" fmla="*/ 40 h 40"/>
                  <a:gd name="T22" fmla="*/ 80 w 80"/>
                  <a:gd name="T23" fmla="*/ 20 h 40"/>
                  <a:gd name="T24" fmla="*/ 80 w 80"/>
                  <a:gd name="T25" fmla="*/ 20 h 40"/>
                  <a:gd name="T26" fmla="*/ 80 w 80"/>
                  <a:gd name="T27" fmla="*/ 20 h 40"/>
                  <a:gd name="T28" fmla="*/ 80 w 80"/>
                  <a:gd name="T29" fmla="*/ 20 h 40"/>
                  <a:gd name="T30" fmla="*/ 80 w 80"/>
                  <a:gd name="T31" fmla="*/ 20 h 40"/>
                  <a:gd name="T32" fmla="*/ 56 w 80"/>
                  <a:gd name="T33"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40">
                    <a:moveTo>
                      <a:pt x="56" y="2"/>
                    </a:moveTo>
                    <a:cubicBezTo>
                      <a:pt x="56" y="2"/>
                      <a:pt x="56" y="2"/>
                      <a:pt x="56" y="2"/>
                    </a:cubicBezTo>
                    <a:cubicBezTo>
                      <a:pt x="56" y="0"/>
                      <a:pt x="56" y="0"/>
                      <a:pt x="56" y="0"/>
                    </a:cubicBezTo>
                    <a:cubicBezTo>
                      <a:pt x="48" y="0"/>
                      <a:pt x="48" y="0"/>
                      <a:pt x="48" y="0"/>
                    </a:cubicBezTo>
                    <a:cubicBezTo>
                      <a:pt x="32" y="0"/>
                      <a:pt x="32" y="0"/>
                      <a:pt x="32" y="0"/>
                    </a:cubicBezTo>
                    <a:cubicBezTo>
                      <a:pt x="24" y="0"/>
                      <a:pt x="24" y="0"/>
                      <a:pt x="24" y="0"/>
                    </a:cubicBezTo>
                    <a:cubicBezTo>
                      <a:pt x="24" y="1"/>
                      <a:pt x="24" y="1"/>
                      <a:pt x="24" y="1"/>
                    </a:cubicBezTo>
                    <a:cubicBezTo>
                      <a:pt x="24" y="1"/>
                      <a:pt x="24" y="1"/>
                      <a:pt x="24" y="1"/>
                    </a:cubicBezTo>
                    <a:cubicBezTo>
                      <a:pt x="9" y="5"/>
                      <a:pt x="0" y="11"/>
                      <a:pt x="0" y="20"/>
                    </a:cubicBezTo>
                    <a:cubicBezTo>
                      <a:pt x="0" y="26"/>
                      <a:pt x="5" y="31"/>
                      <a:pt x="13" y="35"/>
                    </a:cubicBezTo>
                    <a:cubicBezTo>
                      <a:pt x="20" y="38"/>
                      <a:pt x="30" y="40"/>
                      <a:pt x="40" y="40"/>
                    </a:cubicBezTo>
                    <a:cubicBezTo>
                      <a:pt x="63" y="40"/>
                      <a:pt x="80" y="31"/>
                      <a:pt x="80" y="20"/>
                    </a:cubicBezTo>
                    <a:cubicBezTo>
                      <a:pt x="80" y="20"/>
                      <a:pt x="80" y="20"/>
                      <a:pt x="80" y="20"/>
                    </a:cubicBezTo>
                    <a:cubicBezTo>
                      <a:pt x="80" y="20"/>
                      <a:pt x="80" y="20"/>
                      <a:pt x="80" y="20"/>
                    </a:cubicBezTo>
                    <a:cubicBezTo>
                      <a:pt x="80" y="20"/>
                      <a:pt x="80" y="20"/>
                      <a:pt x="80" y="20"/>
                    </a:cubicBezTo>
                    <a:cubicBezTo>
                      <a:pt x="80" y="20"/>
                      <a:pt x="80" y="20"/>
                      <a:pt x="80" y="20"/>
                    </a:cubicBezTo>
                    <a:cubicBezTo>
                      <a:pt x="80" y="11"/>
                      <a:pt x="71" y="5"/>
                      <a:pt x="56" y="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6" name="组合 5"/>
          <p:cNvGrpSpPr/>
          <p:nvPr/>
        </p:nvGrpSpPr>
        <p:grpSpPr>
          <a:xfrm>
            <a:off x="6819997" y="2279568"/>
            <a:ext cx="1030446" cy="1030446"/>
            <a:chOff x="6819997" y="2279568"/>
            <a:chExt cx="1030446" cy="1030446"/>
          </a:xfrm>
        </p:grpSpPr>
        <p:sp>
          <p:nvSpPr>
            <p:cNvPr id="14" name="矩形 13"/>
            <p:cNvSpPr/>
            <p:nvPr/>
          </p:nvSpPr>
          <p:spPr>
            <a:xfrm>
              <a:off x="6819997" y="2279568"/>
              <a:ext cx="1030446" cy="1030446"/>
            </a:xfrm>
            <a:prstGeom prst="rect">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Freeform 11"/>
            <p:cNvSpPr>
              <a:spLocks noEditPoints="1"/>
            </p:cNvSpPr>
            <p:nvPr/>
          </p:nvSpPr>
          <p:spPr bwMode="auto">
            <a:xfrm>
              <a:off x="7065345" y="2664659"/>
              <a:ext cx="539750" cy="404813"/>
            </a:xfrm>
            <a:custGeom>
              <a:avLst/>
              <a:gdLst>
                <a:gd name="T0" fmla="*/ 180 w 192"/>
                <a:gd name="T1" fmla="*/ 0 h 144"/>
                <a:gd name="T2" fmla="*/ 12 w 192"/>
                <a:gd name="T3" fmla="*/ 0 h 144"/>
                <a:gd name="T4" fmla="*/ 0 w 192"/>
                <a:gd name="T5" fmla="*/ 12 h 144"/>
                <a:gd name="T6" fmla="*/ 0 w 192"/>
                <a:gd name="T7" fmla="*/ 116 h 144"/>
                <a:gd name="T8" fmla="*/ 13 w 192"/>
                <a:gd name="T9" fmla="*/ 128 h 144"/>
                <a:gd name="T10" fmla="*/ 78 w 192"/>
                <a:gd name="T11" fmla="*/ 128 h 144"/>
                <a:gd name="T12" fmla="*/ 73 w 192"/>
                <a:gd name="T13" fmla="*/ 138 h 144"/>
                <a:gd name="T14" fmla="*/ 74 w 192"/>
                <a:gd name="T15" fmla="*/ 143 h 144"/>
                <a:gd name="T16" fmla="*/ 76 w 192"/>
                <a:gd name="T17" fmla="*/ 144 h 144"/>
                <a:gd name="T18" fmla="*/ 80 w 192"/>
                <a:gd name="T19" fmla="*/ 142 h 144"/>
                <a:gd name="T20" fmla="*/ 87 w 192"/>
                <a:gd name="T21" fmla="*/ 128 h 144"/>
                <a:gd name="T22" fmla="*/ 106 w 192"/>
                <a:gd name="T23" fmla="*/ 128 h 144"/>
                <a:gd name="T24" fmla="*/ 113 w 192"/>
                <a:gd name="T25" fmla="*/ 142 h 144"/>
                <a:gd name="T26" fmla="*/ 116 w 192"/>
                <a:gd name="T27" fmla="*/ 144 h 144"/>
                <a:gd name="T28" fmla="*/ 118 w 192"/>
                <a:gd name="T29" fmla="*/ 143 h 144"/>
                <a:gd name="T30" fmla="*/ 120 w 192"/>
                <a:gd name="T31" fmla="*/ 138 h 144"/>
                <a:gd name="T32" fmla="*/ 115 w 192"/>
                <a:gd name="T33" fmla="*/ 128 h 144"/>
                <a:gd name="T34" fmla="*/ 181 w 192"/>
                <a:gd name="T35" fmla="*/ 128 h 144"/>
                <a:gd name="T36" fmla="*/ 192 w 192"/>
                <a:gd name="T37" fmla="*/ 116 h 144"/>
                <a:gd name="T38" fmla="*/ 192 w 192"/>
                <a:gd name="T39" fmla="*/ 12 h 144"/>
                <a:gd name="T40" fmla="*/ 180 w 192"/>
                <a:gd name="T41" fmla="*/ 0 h 144"/>
                <a:gd name="T42" fmla="*/ 176 w 192"/>
                <a:gd name="T43" fmla="*/ 108 h 144"/>
                <a:gd name="T44" fmla="*/ 172 w 192"/>
                <a:gd name="T45" fmla="*/ 112 h 144"/>
                <a:gd name="T46" fmla="*/ 20 w 192"/>
                <a:gd name="T47" fmla="*/ 112 h 144"/>
                <a:gd name="T48" fmla="*/ 16 w 192"/>
                <a:gd name="T49" fmla="*/ 108 h 144"/>
                <a:gd name="T50" fmla="*/ 16 w 192"/>
                <a:gd name="T51" fmla="*/ 20 h 144"/>
                <a:gd name="T52" fmla="*/ 20 w 192"/>
                <a:gd name="T53" fmla="*/ 16 h 144"/>
                <a:gd name="T54" fmla="*/ 172 w 192"/>
                <a:gd name="T55" fmla="*/ 16 h 144"/>
                <a:gd name="T56" fmla="*/ 176 w 192"/>
                <a:gd name="T57" fmla="*/ 20 h 144"/>
                <a:gd name="T58" fmla="*/ 176 w 192"/>
                <a:gd name="T59" fmla="*/ 10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2" h="144">
                  <a:moveTo>
                    <a:pt x="180" y="0"/>
                  </a:moveTo>
                  <a:cubicBezTo>
                    <a:pt x="12" y="0"/>
                    <a:pt x="12" y="0"/>
                    <a:pt x="12" y="0"/>
                  </a:cubicBezTo>
                  <a:cubicBezTo>
                    <a:pt x="6" y="0"/>
                    <a:pt x="0" y="5"/>
                    <a:pt x="0" y="12"/>
                  </a:cubicBezTo>
                  <a:cubicBezTo>
                    <a:pt x="0" y="116"/>
                    <a:pt x="0" y="116"/>
                    <a:pt x="0" y="116"/>
                  </a:cubicBezTo>
                  <a:cubicBezTo>
                    <a:pt x="0" y="123"/>
                    <a:pt x="6" y="128"/>
                    <a:pt x="13" y="128"/>
                  </a:cubicBezTo>
                  <a:cubicBezTo>
                    <a:pt x="78" y="128"/>
                    <a:pt x="78" y="128"/>
                    <a:pt x="78" y="128"/>
                  </a:cubicBezTo>
                  <a:cubicBezTo>
                    <a:pt x="73" y="138"/>
                    <a:pt x="73" y="138"/>
                    <a:pt x="73" y="138"/>
                  </a:cubicBezTo>
                  <a:cubicBezTo>
                    <a:pt x="72" y="140"/>
                    <a:pt x="72" y="142"/>
                    <a:pt x="74" y="143"/>
                  </a:cubicBezTo>
                  <a:cubicBezTo>
                    <a:pt x="75" y="144"/>
                    <a:pt x="76" y="144"/>
                    <a:pt x="76" y="144"/>
                  </a:cubicBezTo>
                  <a:cubicBezTo>
                    <a:pt x="78" y="144"/>
                    <a:pt x="79" y="143"/>
                    <a:pt x="80" y="142"/>
                  </a:cubicBezTo>
                  <a:cubicBezTo>
                    <a:pt x="87" y="128"/>
                    <a:pt x="87" y="128"/>
                    <a:pt x="87" y="128"/>
                  </a:cubicBezTo>
                  <a:cubicBezTo>
                    <a:pt x="106" y="128"/>
                    <a:pt x="106" y="128"/>
                    <a:pt x="106" y="128"/>
                  </a:cubicBezTo>
                  <a:cubicBezTo>
                    <a:pt x="113" y="142"/>
                    <a:pt x="113" y="142"/>
                    <a:pt x="113" y="142"/>
                  </a:cubicBezTo>
                  <a:cubicBezTo>
                    <a:pt x="113" y="143"/>
                    <a:pt x="115" y="144"/>
                    <a:pt x="116" y="144"/>
                  </a:cubicBezTo>
                  <a:cubicBezTo>
                    <a:pt x="117" y="144"/>
                    <a:pt x="117" y="144"/>
                    <a:pt x="118" y="143"/>
                  </a:cubicBezTo>
                  <a:cubicBezTo>
                    <a:pt x="120" y="142"/>
                    <a:pt x="121" y="140"/>
                    <a:pt x="120" y="138"/>
                  </a:cubicBezTo>
                  <a:cubicBezTo>
                    <a:pt x="115" y="128"/>
                    <a:pt x="115" y="128"/>
                    <a:pt x="115" y="128"/>
                  </a:cubicBezTo>
                  <a:cubicBezTo>
                    <a:pt x="181" y="128"/>
                    <a:pt x="181" y="128"/>
                    <a:pt x="181" y="128"/>
                  </a:cubicBezTo>
                  <a:cubicBezTo>
                    <a:pt x="187" y="128"/>
                    <a:pt x="192" y="122"/>
                    <a:pt x="192" y="116"/>
                  </a:cubicBezTo>
                  <a:cubicBezTo>
                    <a:pt x="192" y="12"/>
                    <a:pt x="192" y="12"/>
                    <a:pt x="192" y="12"/>
                  </a:cubicBezTo>
                  <a:cubicBezTo>
                    <a:pt x="192" y="5"/>
                    <a:pt x="187" y="0"/>
                    <a:pt x="180" y="0"/>
                  </a:cubicBezTo>
                  <a:close/>
                  <a:moveTo>
                    <a:pt x="176" y="108"/>
                  </a:moveTo>
                  <a:cubicBezTo>
                    <a:pt x="176" y="110"/>
                    <a:pt x="174" y="112"/>
                    <a:pt x="172" y="112"/>
                  </a:cubicBezTo>
                  <a:cubicBezTo>
                    <a:pt x="20" y="112"/>
                    <a:pt x="20" y="112"/>
                    <a:pt x="20" y="112"/>
                  </a:cubicBezTo>
                  <a:cubicBezTo>
                    <a:pt x="18" y="112"/>
                    <a:pt x="16" y="110"/>
                    <a:pt x="16" y="108"/>
                  </a:cubicBezTo>
                  <a:cubicBezTo>
                    <a:pt x="16" y="20"/>
                    <a:pt x="16" y="20"/>
                    <a:pt x="16" y="20"/>
                  </a:cubicBezTo>
                  <a:cubicBezTo>
                    <a:pt x="16" y="18"/>
                    <a:pt x="18" y="16"/>
                    <a:pt x="20" y="16"/>
                  </a:cubicBezTo>
                  <a:cubicBezTo>
                    <a:pt x="172" y="16"/>
                    <a:pt x="172" y="16"/>
                    <a:pt x="172" y="16"/>
                  </a:cubicBezTo>
                  <a:cubicBezTo>
                    <a:pt x="174" y="16"/>
                    <a:pt x="176" y="18"/>
                    <a:pt x="176" y="20"/>
                  </a:cubicBezTo>
                  <a:lnTo>
                    <a:pt x="176" y="10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5" name="组合 4"/>
          <p:cNvGrpSpPr/>
          <p:nvPr/>
        </p:nvGrpSpPr>
        <p:grpSpPr>
          <a:xfrm>
            <a:off x="5667869" y="1172870"/>
            <a:ext cx="1030446" cy="1030446"/>
            <a:chOff x="5667869" y="1172870"/>
            <a:chExt cx="1030446" cy="1030446"/>
          </a:xfrm>
        </p:grpSpPr>
        <p:sp>
          <p:nvSpPr>
            <p:cNvPr id="10" name="矩形 9"/>
            <p:cNvSpPr/>
            <p:nvPr/>
          </p:nvSpPr>
          <p:spPr>
            <a:xfrm>
              <a:off x="5667869" y="1172870"/>
              <a:ext cx="1030446" cy="1030446"/>
            </a:xfrm>
            <a:prstGeom prst="rect">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7" name="组合 26"/>
            <p:cNvGrpSpPr/>
            <p:nvPr/>
          </p:nvGrpSpPr>
          <p:grpSpPr>
            <a:xfrm>
              <a:off x="5907732" y="1400960"/>
              <a:ext cx="496888" cy="539751"/>
              <a:chOff x="5843588" y="533400"/>
              <a:chExt cx="496888" cy="539751"/>
            </a:xfrm>
          </p:grpSpPr>
          <p:sp>
            <p:nvSpPr>
              <p:cNvPr id="28" name="Freeform 70"/>
              <p:cNvSpPr>
                <a:spLocks noEditPoints="1"/>
              </p:cNvSpPr>
              <p:nvPr/>
            </p:nvSpPr>
            <p:spPr bwMode="auto">
              <a:xfrm>
                <a:off x="5843588" y="533400"/>
                <a:ext cx="384175" cy="517525"/>
              </a:xfrm>
              <a:custGeom>
                <a:avLst/>
                <a:gdLst>
                  <a:gd name="T0" fmla="*/ 80 w 136"/>
                  <a:gd name="T1" fmla="*/ 156 h 184"/>
                  <a:gd name="T2" fmla="*/ 68 w 136"/>
                  <a:gd name="T3" fmla="*/ 168 h 184"/>
                  <a:gd name="T4" fmla="*/ 56 w 136"/>
                  <a:gd name="T5" fmla="*/ 156 h 184"/>
                  <a:gd name="T6" fmla="*/ 68 w 136"/>
                  <a:gd name="T7" fmla="*/ 144 h 184"/>
                  <a:gd name="T8" fmla="*/ 80 w 136"/>
                  <a:gd name="T9" fmla="*/ 156 h 184"/>
                  <a:gd name="T10" fmla="*/ 80 w 136"/>
                  <a:gd name="T11" fmla="*/ 136 h 184"/>
                  <a:gd name="T12" fmla="*/ 20 w 136"/>
                  <a:gd name="T13" fmla="*/ 136 h 184"/>
                  <a:gd name="T14" fmla="*/ 16 w 136"/>
                  <a:gd name="T15" fmla="*/ 132 h 184"/>
                  <a:gd name="T16" fmla="*/ 16 w 136"/>
                  <a:gd name="T17" fmla="*/ 36 h 184"/>
                  <a:gd name="T18" fmla="*/ 20 w 136"/>
                  <a:gd name="T19" fmla="*/ 32 h 184"/>
                  <a:gd name="T20" fmla="*/ 116 w 136"/>
                  <a:gd name="T21" fmla="*/ 32 h 184"/>
                  <a:gd name="T22" fmla="*/ 120 w 136"/>
                  <a:gd name="T23" fmla="*/ 36 h 184"/>
                  <a:gd name="T24" fmla="*/ 120 w 136"/>
                  <a:gd name="T25" fmla="*/ 40 h 184"/>
                  <a:gd name="T26" fmla="*/ 136 w 136"/>
                  <a:gd name="T27" fmla="*/ 40 h 184"/>
                  <a:gd name="T28" fmla="*/ 136 w 136"/>
                  <a:gd name="T29" fmla="*/ 12 h 184"/>
                  <a:gd name="T30" fmla="*/ 124 w 136"/>
                  <a:gd name="T31" fmla="*/ 0 h 184"/>
                  <a:gd name="T32" fmla="*/ 12 w 136"/>
                  <a:gd name="T33" fmla="*/ 0 h 184"/>
                  <a:gd name="T34" fmla="*/ 0 w 136"/>
                  <a:gd name="T35" fmla="*/ 12 h 184"/>
                  <a:gd name="T36" fmla="*/ 0 w 136"/>
                  <a:gd name="T37" fmla="*/ 172 h 184"/>
                  <a:gd name="T38" fmla="*/ 12 w 136"/>
                  <a:gd name="T39" fmla="*/ 184 h 184"/>
                  <a:gd name="T40" fmla="*/ 81 w 136"/>
                  <a:gd name="T41" fmla="*/ 184 h 184"/>
                  <a:gd name="T42" fmla="*/ 80 w 136"/>
                  <a:gd name="T43" fmla="*/ 180 h 184"/>
                  <a:gd name="T44" fmla="*/ 80 w 136"/>
                  <a:gd name="T45" fmla="*/ 156 h 184"/>
                  <a:gd name="T46" fmla="*/ 65 w 136"/>
                  <a:gd name="T47" fmla="*/ 17 h 184"/>
                  <a:gd name="T48" fmla="*/ 71 w 136"/>
                  <a:gd name="T49" fmla="*/ 17 h 184"/>
                  <a:gd name="T50" fmla="*/ 72 w 136"/>
                  <a:gd name="T51" fmla="*/ 20 h 184"/>
                  <a:gd name="T52" fmla="*/ 71 w 136"/>
                  <a:gd name="T53" fmla="*/ 23 h 184"/>
                  <a:gd name="T54" fmla="*/ 68 w 136"/>
                  <a:gd name="T55" fmla="*/ 24 h 184"/>
                  <a:gd name="T56" fmla="*/ 65 w 136"/>
                  <a:gd name="T57" fmla="*/ 23 h 184"/>
                  <a:gd name="T58" fmla="*/ 64 w 136"/>
                  <a:gd name="T59" fmla="*/ 20 h 184"/>
                  <a:gd name="T60" fmla="*/ 65 w 136"/>
                  <a:gd name="T61" fmla="*/ 1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6" h="184">
                    <a:moveTo>
                      <a:pt x="80" y="156"/>
                    </a:moveTo>
                    <a:cubicBezTo>
                      <a:pt x="80" y="162"/>
                      <a:pt x="75" y="168"/>
                      <a:pt x="68" y="168"/>
                    </a:cubicBezTo>
                    <a:cubicBezTo>
                      <a:pt x="62" y="168"/>
                      <a:pt x="56" y="162"/>
                      <a:pt x="56" y="156"/>
                    </a:cubicBezTo>
                    <a:cubicBezTo>
                      <a:pt x="56" y="149"/>
                      <a:pt x="62" y="144"/>
                      <a:pt x="68" y="144"/>
                    </a:cubicBezTo>
                    <a:cubicBezTo>
                      <a:pt x="75" y="144"/>
                      <a:pt x="80" y="149"/>
                      <a:pt x="80" y="156"/>
                    </a:cubicBezTo>
                    <a:cubicBezTo>
                      <a:pt x="80" y="136"/>
                      <a:pt x="80" y="136"/>
                      <a:pt x="80" y="136"/>
                    </a:cubicBezTo>
                    <a:cubicBezTo>
                      <a:pt x="20" y="136"/>
                      <a:pt x="20" y="136"/>
                      <a:pt x="20" y="136"/>
                    </a:cubicBezTo>
                    <a:cubicBezTo>
                      <a:pt x="18" y="136"/>
                      <a:pt x="16" y="134"/>
                      <a:pt x="16" y="132"/>
                    </a:cubicBezTo>
                    <a:cubicBezTo>
                      <a:pt x="16" y="36"/>
                      <a:pt x="16" y="36"/>
                      <a:pt x="16" y="36"/>
                    </a:cubicBezTo>
                    <a:cubicBezTo>
                      <a:pt x="16" y="34"/>
                      <a:pt x="18" y="32"/>
                      <a:pt x="20" y="32"/>
                    </a:cubicBezTo>
                    <a:cubicBezTo>
                      <a:pt x="116" y="32"/>
                      <a:pt x="116" y="32"/>
                      <a:pt x="116" y="32"/>
                    </a:cubicBezTo>
                    <a:cubicBezTo>
                      <a:pt x="118" y="32"/>
                      <a:pt x="120" y="34"/>
                      <a:pt x="120" y="36"/>
                    </a:cubicBezTo>
                    <a:cubicBezTo>
                      <a:pt x="120" y="40"/>
                      <a:pt x="120" y="40"/>
                      <a:pt x="120" y="40"/>
                    </a:cubicBezTo>
                    <a:cubicBezTo>
                      <a:pt x="136" y="40"/>
                      <a:pt x="136" y="40"/>
                      <a:pt x="136" y="40"/>
                    </a:cubicBezTo>
                    <a:cubicBezTo>
                      <a:pt x="136" y="12"/>
                      <a:pt x="136" y="12"/>
                      <a:pt x="136" y="12"/>
                    </a:cubicBezTo>
                    <a:cubicBezTo>
                      <a:pt x="136" y="5"/>
                      <a:pt x="131" y="0"/>
                      <a:pt x="124" y="0"/>
                    </a:cubicBezTo>
                    <a:cubicBezTo>
                      <a:pt x="12" y="0"/>
                      <a:pt x="12" y="0"/>
                      <a:pt x="12" y="0"/>
                    </a:cubicBezTo>
                    <a:cubicBezTo>
                      <a:pt x="6" y="0"/>
                      <a:pt x="0" y="5"/>
                      <a:pt x="0" y="12"/>
                    </a:cubicBezTo>
                    <a:cubicBezTo>
                      <a:pt x="0" y="172"/>
                      <a:pt x="0" y="172"/>
                      <a:pt x="0" y="172"/>
                    </a:cubicBezTo>
                    <a:cubicBezTo>
                      <a:pt x="0" y="178"/>
                      <a:pt x="6" y="184"/>
                      <a:pt x="12" y="184"/>
                    </a:cubicBezTo>
                    <a:cubicBezTo>
                      <a:pt x="81" y="184"/>
                      <a:pt x="81" y="184"/>
                      <a:pt x="81" y="184"/>
                    </a:cubicBezTo>
                    <a:cubicBezTo>
                      <a:pt x="80" y="183"/>
                      <a:pt x="80" y="181"/>
                      <a:pt x="80" y="180"/>
                    </a:cubicBezTo>
                    <a:lnTo>
                      <a:pt x="80" y="156"/>
                    </a:lnTo>
                    <a:close/>
                    <a:moveTo>
                      <a:pt x="65" y="17"/>
                    </a:moveTo>
                    <a:cubicBezTo>
                      <a:pt x="67" y="16"/>
                      <a:pt x="70" y="16"/>
                      <a:pt x="71" y="17"/>
                    </a:cubicBezTo>
                    <a:cubicBezTo>
                      <a:pt x="72" y="18"/>
                      <a:pt x="72" y="19"/>
                      <a:pt x="72" y="20"/>
                    </a:cubicBezTo>
                    <a:cubicBezTo>
                      <a:pt x="72" y="21"/>
                      <a:pt x="72" y="22"/>
                      <a:pt x="71" y="23"/>
                    </a:cubicBezTo>
                    <a:cubicBezTo>
                      <a:pt x="70" y="23"/>
                      <a:pt x="69" y="24"/>
                      <a:pt x="68" y="24"/>
                    </a:cubicBezTo>
                    <a:cubicBezTo>
                      <a:pt x="67" y="24"/>
                      <a:pt x="66" y="23"/>
                      <a:pt x="65" y="23"/>
                    </a:cubicBezTo>
                    <a:cubicBezTo>
                      <a:pt x="65" y="22"/>
                      <a:pt x="64" y="21"/>
                      <a:pt x="64" y="20"/>
                    </a:cubicBezTo>
                    <a:cubicBezTo>
                      <a:pt x="64" y="19"/>
                      <a:pt x="65" y="18"/>
                      <a:pt x="65" y="1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 name="Freeform 71"/>
              <p:cNvSpPr>
                <a:spLocks noEditPoints="1"/>
              </p:cNvSpPr>
              <p:nvPr/>
            </p:nvSpPr>
            <p:spPr bwMode="auto">
              <a:xfrm>
                <a:off x="6091238" y="668338"/>
                <a:ext cx="249238" cy="404813"/>
              </a:xfrm>
              <a:custGeom>
                <a:avLst/>
                <a:gdLst>
                  <a:gd name="T0" fmla="*/ 76 w 88"/>
                  <a:gd name="T1" fmla="*/ 0 h 144"/>
                  <a:gd name="T2" fmla="*/ 12 w 88"/>
                  <a:gd name="T3" fmla="*/ 0 h 144"/>
                  <a:gd name="T4" fmla="*/ 0 w 88"/>
                  <a:gd name="T5" fmla="*/ 12 h 144"/>
                  <a:gd name="T6" fmla="*/ 0 w 88"/>
                  <a:gd name="T7" fmla="*/ 132 h 144"/>
                  <a:gd name="T8" fmla="*/ 12 w 88"/>
                  <a:gd name="T9" fmla="*/ 144 h 144"/>
                  <a:gd name="T10" fmla="*/ 76 w 88"/>
                  <a:gd name="T11" fmla="*/ 144 h 144"/>
                  <a:gd name="T12" fmla="*/ 88 w 88"/>
                  <a:gd name="T13" fmla="*/ 132 h 144"/>
                  <a:gd name="T14" fmla="*/ 88 w 88"/>
                  <a:gd name="T15" fmla="*/ 12 h 144"/>
                  <a:gd name="T16" fmla="*/ 76 w 88"/>
                  <a:gd name="T17" fmla="*/ 0 h 144"/>
                  <a:gd name="T18" fmla="*/ 41 w 88"/>
                  <a:gd name="T19" fmla="*/ 17 h 144"/>
                  <a:gd name="T20" fmla="*/ 47 w 88"/>
                  <a:gd name="T21" fmla="*/ 17 h 144"/>
                  <a:gd name="T22" fmla="*/ 48 w 88"/>
                  <a:gd name="T23" fmla="*/ 20 h 144"/>
                  <a:gd name="T24" fmla="*/ 47 w 88"/>
                  <a:gd name="T25" fmla="*/ 23 h 144"/>
                  <a:gd name="T26" fmla="*/ 44 w 88"/>
                  <a:gd name="T27" fmla="*/ 24 h 144"/>
                  <a:gd name="T28" fmla="*/ 41 w 88"/>
                  <a:gd name="T29" fmla="*/ 23 h 144"/>
                  <a:gd name="T30" fmla="*/ 40 w 88"/>
                  <a:gd name="T31" fmla="*/ 20 h 144"/>
                  <a:gd name="T32" fmla="*/ 41 w 88"/>
                  <a:gd name="T33" fmla="*/ 17 h 144"/>
                  <a:gd name="T34" fmla="*/ 25 w 88"/>
                  <a:gd name="T35" fmla="*/ 17 h 144"/>
                  <a:gd name="T36" fmla="*/ 31 w 88"/>
                  <a:gd name="T37" fmla="*/ 17 h 144"/>
                  <a:gd name="T38" fmla="*/ 32 w 88"/>
                  <a:gd name="T39" fmla="*/ 20 h 144"/>
                  <a:gd name="T40" fmla="*/ 31 w 88"/>
                  <a:gd name="T41" fmla="*/ 23 h 144"/>
                  <a:gd name="T42" fmla="*/ 28 w 88"/>
                  <a:gd name="T43" fmla="*/ 24 h 144"/>
                  <a:gd name="T44" fmla="*/ 25 w 88"/>
                  <a:gd name="T45" fmla="*/ 23 h 144"/>
                  <a:gd name="T46" fmla="*/ 24 w 88"/>
                  <a:gd name="T47" fmla="*/ 20 h 144"/>
                  <a:gd name="T48" fmla="*/ 25 w 88"/>
                  <a:gd name="T49" fmla="*/ 17 h 144"/>
                  <a:gd name="T50" fmla="*/ 47 w 88"/>
                  <a:gd name="T51" fmla="*/ 127 h 144"/>
                  <a:gd name="T52" fmla="*/ 44 w 88"/>
                  <a:gd name="T53" fmla="*/ 128 h 144"/>
                  <a:gd name="T54" fmla="*/ 41 w 88"/>
                  <a:gd name="T55" fmla="*/ 127 h 144"/>
                  <a:gd name="T56" fmla="*/ 40 w 88"/>
                  <a:gd name="T57" fmla="*/ 124 h 144"/>
                  <a:gd name="T58" fmla="*/ 41 w 88"/>
                  <a:gd name="T59" fmla="*/ 121 h 144"/>
                  <a:gd name="T60" fmla="*/ 47 w 88"/>
                  <a:gd name="T61" fmla="*/ 121 h 144"/>
                  <a:gd name="T62" fmla="*/ 48 w 88"/>
                  <a:gd name="T63" fmla="*/ 124 h 144"/>
                  <a:gd name="T64" fmla="*/ 47 w 88"/>
                  <a:gd name="T65" fmla="*/ 127 h 144"/>
                  <a:gd name="T66" fmla="*/ 72 w 88"/>
                  <a:gd name="T67" fmla="*/ 108 h 144"/>
                  <a:gd name="T68" fmla="*/ 68 w 88"/>
                  <a:gd name="T69" fmla="*/ 112 h 144"/>
                  <a:gd name="T70" fmla="*/ 20 w 88"/>
                  <a:gd name="T71" fmla="*/ 112 h 144"/>
                  <a:gd name="T72" fmla="*/ 16 w 88"/>
                  <a:gd name="T73" fmla="*/ 108 h 144"/>
                  <a:gd name="T74" fmla="*/ 16 w 88"/>
                  <a:gd name="T75" fmla="*/ 36 h 144"/>
                  <a:gd name="T76" fmla="*/ 20 w 88"/>
                  <a:gd name="T77" fmla="*/ 32 h 144"/>
                  <a:gd name="T78" fmla="*/ 68 w 88"/>
                  <a:gd name="T79" fmla="*/ 32 h 144"/>
                  <a:gd name="T80" fmla="*/ 72 w 88"/>
                  <a:gd name="T81" fmla="*/ 36 h 144"/>
                  <a:gd name="T82" fmla="*/ 72 w 88"/>
                  <a:gd name="T83" fmla="*/ 10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 h="144">
                    <a:moveTo>
                      <a:pt x="76" y="0"/>
                    </a:moveTo>
                    <a:cubicBezTo>
                      <a:pt x="12" y="0"/>
                      <a:pt x="12" y="0"/>
                      <a:pt x="12" y="0"/>
                    </a:cubicBezTo>
                    <a:cubicBezTo>
                      <a:pt x="6" y="0"/>
                      <a:pt x="0" y="5"/>
                      <a:pt x="0" y="12"/>
                    </a:cubicBezTo>
                    <a:cubicBezTo>
                      <a:pt x="0" y="132"/>
                      <a:pt x="0" y="132"/>
                      <a:pt x="0" y="132"/>
                    </a:cubicBezTo>
                    <a:cubicBezTo>
                      <a:pt x="0" y="138"/>
                      <a:pt x="6" y="144"/>
                      <a:pt x="12" y="144"/>
                    </a:cubicBezTo>
                    <a:cubicBezTo>
                      <a:pt x="76" y="144"/>
                      <a:pt x="76" y="144"/>
                      <a:pt x="76" y="144"/>
                    </a:cubicBezTo>
                    <a:cubicBezTo>
                      <a:pt x="83" y="144"/>
                      <a:pt x="88" y="138"/>
                      <a:pt x="88" y="132"/>
                    </a:cubicBezTo>
                    <a:cubicBezTo>
                      <a:pt x="88" y="12"/>
                      <a:pt x="88" y="12"/>
                      <a:pt x="88" y="12"/>
                    </a:cubicBezTo>
                    <a:cubicBezTo>
                      <a:pt x="88" y="5"/>
                      <a:pt x="83" y="0"/>
                      <a:pt x="76" y="0"/>
                    </a:cubicBezTo>
                    <a:close/>
                    <a:moveTo>
                      <a:pt x="41" y="17"/>
                    </a:moveTo>
                    <a:cubicBezTo>
                      <a:pt x="43" y="16"/>
                      <a:pt x="45" y="16"/>
                      <a:pt x="47" y="17"/>
                    </a:cubicBezTo>
                    <a:cubicBezTo>
                      <a:pt x="48" y="18"/>
                      <a:pt x="48" y="19"/>
                      <a:pt x="48" y="20"/>
                    </a:cubicBezTo>
                    <a:cubicBezTo>
                      <a:pt x="48" y="21"/>
                      <a:pt x="48" y="22"/>
                      <a:pt x="47" y="23"/>
                    </a:cubicBezTo>
                    <a:cubicBezTo>
                      <a:pt x="46" y="23"/>
                      <a:pt x="45" y="24"/>
                      <a:pt x="44" y="24"/>
                    </a:cubicBezTo>
                    <a:cubicBezTo>
                      <a:pt x="43" y="24"/>
                      <a:pt x="42" y="23"/>
                      <a:pt x="41" y="23"/>
                    </a:cubicBezTo>
                    <a:cubicBezTo>
                      <a:pt x="41" y="22"/>
                      <a:pt x="40" y="21"/>
                      <a:pt x="40" y="20"/>
                    </a:cubicBezTo>
                    <a:cubicBezTo>
                      <a:pt x="40" y="19"/>
                      <a:pt x="41" y="18"/>
                      <a:pt x="41" y="17"/>
                    </a:cubicBezTo>
                    <a:close/>
                    <a:moveTo>
                      <a:pt x="25" y="17"/>
                    </a:moveTo>
                    <a:cubicBezTo>
                      <a:pt x="27" y="16"/>
                      <a:pt x="30" y="16"/>
                      <a:pt x="31" y="17"/>
                    </a:cubicBezTo>
                    <a:cubicBezTo>
                      <a:pt x="32" y="18"/>
                      <a:pt x="32" y="19"/>
                      <a:pt x="32" y="20"/>
                    </a:cubicBezTo>
                    <a:cubicBezTo>
                      <a:pt x="32" y="21"/>
                      <a:pt x="32" y="22"/>
                      <a:pt x="31" y="23"/>
                    </a:cubicBezTo>
                    <a:cubicBezTo>
                      <a:pt x="30" y="23"/>
                      <a:pt x="29" y="24"/>
                      <a:pt x="28" y="24"/>
                    </a:cubicBezTo>
                    <a:cubicBezTo>
                      <a:pt x="27" y="24"/>
                      <a:pt x="26" y="23"/>
                      <a:pt x="25" y="23"/>
                    </a:cubicBezTo>
                    <a:cubicBezTo>
                      <a:pt x="25" y="22"/>
                      <a:pt x="24" y="21"/>
                      <a:pt x="24" y="20"/>
                    </a:cubicBezTo>
                    <a:cubicBezTo>
                      <a:pt x="24" y="19"/>
                      <a:pt x="25" y="18"/>
                      <a:pt x="25" y="17"/>
                    </a:cubicBezTo>
                    <a:close/>
                    <a:moveTo>
                      <a:pt x="47" y="127"/>
                    </a:moveTo>
                    <a:cubicBezTo>
                      <a:pt x="46" y="127"/>
                      <a:pt x="45" y="128"/>
                      <a:pt x="44" y="128"/>
                    </a:cubicBezTo>
                    <a:cubicBezTo>
                      <a:pt x="43" y="128"/>
                      <a:pt x="42" y="127"/>
                      <a:pt x="41" y="127"/>
                    </a:cubicBezTo>
                    <a:cubicBezTo>
                      <a:pt x="41" y="126"/>
                      <a:pt x="40" y="125"/>
                      <a:pt x="40" y="124"/>
                    </a:cubicBezTo>
                    <a:cubicBezTo>
                      <a:pt x="40" y="123"/>
                      <a:pt x="41" y="122"/>
                      <a:pt x="41" y="121"/>
                    </a:cubicBezTo>
                    <a:cubicBezTo>
                      <a:pt x="43" y="120"/>
                      <a:pt x="46" y="120"/>
                      <a:pt x="47" y="121"/>
                    </a:cubicBezTo>
                    <a:cubicBezTo>
                      <a:pt x="48" y="122"/>
                      <a:pt x="48" y="123"/>
                      <a:pt x="48" y="124"/>
                    </a:cubicBezTo>
                    <a:cubicBezTo>
                      <a:pt x="48" y="125"/>
                      <a:pt x="48" y="126"/>
                      <a:pt x="47" y="127"/>
                    </a:cubicBezTo>
                    <a:close/>
                    <a:moveTo>
                      <a:pt x="72" y="108"/>
                    </a:moveTo>
                    <a:cubicBezTo>
                      <a:pt x="72" y="110"/>
                      <a:pt x="70" y="112"/>
                      <a:pt x="68" y="112"/>
                    </a:cubicBezTo>
                    <a:cubicBezTo>
                      <a:pt x="20" y="112"/>
                      <a:pt x="20" y="112"/>
                      <a:pt x="20" y="112"/>
                    </a:cubicBezTo>
                    <a:cubicBezTo>
                      <a:pt x="18" y="112"/>
                      <a:pt x="16" y="110"/>
                      <a:pt x="16" y="108"/>
                    </a:cubicBezTo>
                    <a:cubicBezTo>
                      <a:pt x="16" y="36"/>
                      <a:pt x="16" y="36"/>
                      <a:pt x="16" y="36"/>
                    </a:cubicBezTo>
                    <a:cubicBezTo>
                      <a:pt x="16" y="34"/>
                      <a:pt x="18" y="32"/>
                      <a:pt x="20" y="32"/>
                    </a:cubicBezTo>
                    <a:cubicBezTo>
                      <a:pt x="68" y="32"/>
                      <a:pt x="68" y="32"/>
                      <a:pt x="68" y="32"/>
                    </a:cubicBezTo>
                    <a:cubicBezTo>
                      <a:pt x="70" y="32"/>
                      <a:pt x="72" y="34"/>
                      <a:pt x="72" y="36"/>
                    </a:cubicBezTo>
                    <a:lnTo>
                      <a:pt x="72" y="10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spTree>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ppt_x"/>
                                          </p:val>
                                        </p:tav>
                                        <p:tav tm="100000">
                                          <p:val>
                                            <p:strVal val="#ppt_x"/>
                                          </p:val>
                                        </p:tav>
                                      </p:tavLst>
                                    </p:anim>
                                    <p:anim calcmode="lin" valueType="num">
                                      <p:cBhvr additive="base">
                                        <p:cTn id="13" dur="500" fill="hold"/>
                                        <p:tgtEl>
                                          <p:spTgt spid="3"/>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grpId="0" nodeType="after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ppt_x"/>
                                          </p:val>
                                        </p:tav>
                                        <p:tav tm="100000">
                                          <p:val>
                                            <p:strVal val="#ppt_x"/>
                                          </p:val>
                                        </p:tav>
                                      </p:tavLst>
                                    </p:anim>
                                    <p:anim calcmode="lin" valueType="num">
                                      <p:cBhvr additive="base">
                                        <p:cTn id="18" dur="500" fill="hold"/>
                                        <p:tgtEl>
                                          <p:spTgt spid="4"/>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47" presetClass="entr" presetSubtype="0" fill="hold"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750"/>
                                        <p:tgtEl>
                                          <p:spTgt spid="8"/>
                                        </p:tgtEl>
                                      </p:cBhvr>
                                    </p:animEffect>
                                    <p:anim calcmode="lin" valueType="num">
                                      <p:cBhvr>
                                        <p:cTn id="23" dur="750" fill="hold"/>
                                        <p:tgtEl>
                                          <p:spTgt spid="8"/>
                                        </p:tgtEl>
                                        <p:attrNameLst>
                                          <p:attrName>ppt_x</p:attrName>
                                        </p:attrNameLst>
                                      </p:cBhvr>
                                      <p:tavLst>
                                        <p:tav tm="0">
                                          <p:val>
                                            <p:strVal val="#ppt_x"/>
                                          </p:val>
                                        </p:tav>
                                        <p:tav tm="100000">
                                          <p:val>
                                            <p:strVal val="#ppt_x"/>
                                          </p:val>
                                        </p:tav>
                                      </p:tavLst>
                                    </p:anim>
                                    <p:anim calcmode="lin" valueType="num">
                                      <p:cBhvr>
                                        <p:cTn id="24" dur="750" fill="hold"/>
                                        <p:tgtEl>
                                          <p:spTgt spid="8"/>
                                        </p:tgtEl>
                                        <p:attrNameLst>
                                          <p:attrName>ppt_y</p:attrName>
                                        </p:attrNameLst>
                                      </p:cBhvr>
                                      <p:tavLst>
                                        <p:tav tm="0">
                                          <p:val>
                                            <p:strVal val="#ppt_y-.1"/>
                                          </p:val>
                                        </p:tav>
                                        <p:tav tm="100000">
                                          <p:val>
                                            <p:strVal val="#ppt_y"/>
                                          </p:val>
                                        </p:tav>
                                      </p:tavLst>
                                    </p:anim>
                                  </p:childTnLst>
                                </p:cTn>
                              </p:par>
                              <p:par>
                                <p:cTn id="25" presetID="47" presetClass="entr" presetSubtype="0" fill="hold" nodeType="with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750"/>
                                        <p:tgtEl>
                                          <p:spTgt spid="5"/>
                                        </p:tgtEl>
                                      </p:cBhvr>
                                    </p:animEffect>
                                    <p:anim calcmode="lin" valueType="num">
                                      <p:cBhvr>
                                        <p:cTn id="28" dur="750" fill="hold"/>
                                        <p:tgtEl>
                                          <p:spTgt spid="5"/>
                                        </p:tgtEl>
                                        <p:attrNameLst>
                                          <p:attrName>ppt_x</p:attrName>
                                        </p:attrNameLst>
                                      </p:cBhvr>
                                      <p:tavLst>
                                        <p:tav tm="0">
                                          <p:val>
                                            <p:strVal val="#ppt_x"/>
                                          </p:val>
                                        </p:tav>
                                        <p:tav tm="100000">
                                          <p:val>
                                            <p:strVal val="#ppt_x"/>
                                          </p:val>
                                        </p:tav>
                                      </p:tavLst>
                                    </p:anim>
                                    <p:anim calcmode="lin" valueType="num">
                                      <p:cBhvr>
                                        <p:cTn id="29" dur="750" fill="hold"/>
                                        <p:tgtEl>
                                          <p:spTgt spid="5"/>
                                        </p:tgtEl>
                                        <p:attrNameLst>
                                          <p:attrName>ppt_y</p:attrName>
                                        </p:attrNameLst>
                                      </p:cBhvr>
                                      <p:tavLst>
                                        <p:tav tm="0">
                                          <p:val>
                                            <p:strVal val="#ppt_y-.1"/>
                                          </p:val>
                                        </p:tav>
                                        <p:tav tm="100000">
                                          <p:val>
                                            <p:strVal val="#ppt_y"/>
                                          </p:val>
                                        </p:tav>
                                      </p:tavLst>
                                    </p:anim>
                                  </p:childTnLst>
                                </p:cTn>
                              </p:par>
                              <p:par>
                                <p:cTn id="30" presetID="47" presetClass="entr" presetSubtype="0" fill="hold"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750"/>
                                        <p:tgtEl>
                                          <p:spTgt spid="15"/>
                                        </p:tgtEl>
                                      </p:cBhvr>
                                    </p:animEffect>
                                    <p:anim calcmode="lin" valueType="num">
                                      <p:cBhvr>
                                        <p:cTn id="33" dur="750" fill="hold"/>
                                        <p:tgtEl>
                                          <p:spTgt spid="15"/>
                                        </p:tgtEl>
                                        <p:attrNameLst>
                                          <p:attrName>ppt_x</p:attrName>
                                        </p:attrNameLst>
                                      </p:cBhvr>
                                      <p:tavLst>
                                        <p:tav tm="0">
                                          <p:val>
                                            <p:strVal val="#ppt_x"/>
                                          </p:val>
                                        </p:tav>
                                        <p:tav tm="100000">
                                          <p:val>
                                            <p:strVal val="#ppt_x"/>
                                          </p:val>
                                        </p:tav>
                                      </p:tavLst>
                                    </p:anim>
                                    <p:anim calcmode="lin" valueType="num">
                                      <p:cBhvr>
                                        <p:cTn id="34" dur="750" fill="hold"/>
                                        <p:tgtEl>
                                          <p:spTgt spid="15"/>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750"/>
                                        <p:tgtEl>
                                          <p:spTgt spid="21"/>
                                        </p:tgtEl>
                                      </p:cBhvr>
                                    </p:animEffect>
                                    <p:anim calcmode="lin" valueType="num">
                                      <p:cBhvr>
                                        <p:cTn id="38" dur="750" fill="hold"/>
                                        <p:tgtEl>
                                          <p:spTgt spid="21"/>
                                        </p:tgtEl>
                                        <p:attrNameLst>
                                          <p:attrName>ppt_x</p:attrName>
                                        </p:attrNameLst>
                                      </p:cBhvr>
                                      <p:tavLst>
                                        <p:tav tm="0">
                                          <p:val>
                                            <p:strVal val="#ppt_x"/>
                                          </p:val>
                                        </p:tav>
                                        <p:tav tm="100000">
                                          <p:val>
                                            <p:strVal val="#ppt_x"/>
                                          </p:val>
                                        </p:tav>
                                      </p:tavLst>
                                    </p:anim>
                                    <p:anim calcmode="lin" valueType="num">
                                      <p:cBhvr>
                                        <p:cTn id="39" dur="750" fill="hold"/>
                                        <p:tgtEl>
                                          <p:spTgt spid="21"/>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750"/>
                                        <p:tgtEl>
                                          <p:spTgt spid="7"/>
                                        </p:tgtEl>
                                      </p:cBhvr>
                                    </p:animEffect>
                                    <p:anim calcmode="lin" valueType="num">
                                      <p:cBhvr>
                                        <p:cTn id="43" dur="750" fill="hold"/>
                                        <p:tgtEl>
                                          <p:spTgt spid="7"/>
                                        </p:tgtEl>
                                        <p:attrNameLst>
                                          <p:attrName>ppt_x</p:attrName>
                                        </p:attrNameLst>
                                      </p:cBhvr>
                                      <p:tavLst>
                                        <p:tav tm="0">
                                          <p:val>
                                            <p:strVal val="#ppt_x"/>
                                          </p:val>
                                        </p:tav>
                                        <p:tav tm="100000">
                                          <p:val>
                                            <p:strVal val="#ppt_x"/>
                                          </p:val>
                                        </p:tav>
                                      </p:tavLst>
                                    </p:anim>
                                    <p:anim calcmode="lin" valueType="num">
                                      <p:cBhvr>
                                        <p:cTn id="44" dur="750" fill="hold"/>
                                        <p:tgtEl>
                                          <p:spTgt spid="7"/>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6"/>
                                        </p:tgtEl>
                                        <p:attrNameLst>
                                          <p:attrName>style.visibility</p:attrName>
                                        </p:attrNameLst>
                                      </p:cBhvr>
                                      <p:to>
                                        <p:strVal val="visible"/>
                                      </p:to>
                                    </p:set>
                                    <p:animEffect transition="in" filter="fade">
                                      <p:cBhvr>
                                        <p:cTn id="47" dur="750"/>
                                        <p:tgtEl>
                                          <p:spTgt spid="6"/>
                                        </p:tgtEl>
                                      </p:cBhvr>
                                    </p:animEffect>
                                    <p:anim calcmode="lin" valueType="num">
                                      <p:cBhvr>
                                        <p:cTn id="48" dur="750" fill="hold"/>
                                        <p:tgtEl>
                                          <p:spTgt spid="6"/>
                                        </p:tgtEl>
                                        <p:attrNameLst>
                                          <p:attrName>ppt_x</p:attrName>
                                        </p:attrNameLst>
                                      </p:cBhvr>
                                      <p:tavLst>
                                        <p:tav tm="0">
                                          <p:val>
                                            <p:strVal val="#ppt_x"/>
                                          </p:val>
                                        </p:tav>
                                        <p:tav tm="100000">
                                          <p:val>
                                            <p:strVal val="#ppt_x"/>
                                          </p:val>
                                        </p:tav>
                                      </p:tavLst>
                                    </p:anim>
                                    <p:anim calcmode="lin" valueType="num">
                                      <p:cBhvr>
                                        <p:cTn id="49" dur="750" fill="hold"/>
                                        <p:tgtEl>
                                          <p:spTgt spid="6"/>
                                        </p:tgtEl>
                                        <p:attrNameLst>
                                          <p:attrName>ppt_y</p:attrName>
                                        </p:attrNameLst>
                                      </p:cBhvr>
                                      <p:tavLst>
                                        <p:tav tm="0">
                                          <p:val>
                                            <p:strVal val="#ppt_y+.1"/>
                                          </p:val>
                                        </p:tav>
                                        <p:tav tm="100000">
                                          <p:val>
                                            <p:strVal val="#ppt_y"/>
                                          </p:val>
                                        </p:tav>
                                      </p:tavLst>
                                    </p:anim>
                                  </p:childTnLst>
                                </p:cTn>
                              </p:par>
                            </p:childTnLst>
                          </p:cTn>
                        </p:par>
                        <p:par>
                          <p:cTn id="50" fill="hold">
                            <p:stCondLst>
                              <p:cond delay="2500"/>
                            </p:stCondLst>
                            <p:childTnLst>
                              <p:par>
                                <p:cTn id="51" presetID="42" presetClass="entr" presetSubtype="0" fill="hold" nodeType="afterEffect">
                                  <p:stCondLst>
                                    <p:cond delay="0"/>
                                  </p:stCondLst>
                                  <p:childTnLst>
                                    <p:set>
                                      <p:cBhvr>
                                        <p:cTn id="52" dur="1" fill="hold">
                                          <p:stCondLst>
                                            <p:cond delay="0"/>
                                          </p:stCondLst>
                                        </p:cTn>
                                        <p:tgtEl>
                                          <p:spTgt spid="16"/>
                                        </p:tgtEl>
                                        <p:attrNameLst>
                                          <p:attrName>style.visibility</p:attrName>
                                        </p:attrNameLst>
                                      </p:cBhvr>
                                      <p:to>
                                        <p:strVal val="visible"/>
                                      </p:to>
                                    </p:set>
                                    <p:animEffect transition="in" filter="fade">
                                      <p:cBhvr>
                                        <p:cTn id="53" dur="500"/>
                                        <p:tgtEl>
                                          <p:spTgt spid="16"/>
                                        </p:tgtEl>
                                      </p:cBhvr>
                                    </p:animEffect>
                                    <p:anim calcmode="lin" valueType="num">
                                      <p:cBhvr>
                                        <p:cTn id="54" dur="500" fill="hold"/>
                                        <p:tgtEl>
                                          <p:spTgt spid="16"/>
                                        </p:tgtEl>
                                        <p:attrNameLst>
                                          <p:attrName>ppt_x</p:attrName>
                                        </p:attrNameLst>
                                      </p:cBhvr>
                                      <p:tavLst>
                                        <p:tav tm="0">
                                          <p:val>
                                            <p:strVal val="#ppt_x"/>
                                          </p:val>
                                        </p:tav>
                                        <p:tav tm="100000">
                                          <p:val>
                                            <p:strVal val="#ppt_x"/>
                                          </p:val>
                                        </p:tav>
                                      </p:tavLst>
                                    </p:anim>
                                    <p:anim calcmode="lin" valueType="num">
                                      <p:cBhvr>
                                        <p:cTn id="55" dur="500" fill="hold"/>
                                        <p:tgtEl>
                                          <p:spTgt spid="16"/>
                                        </p:tgtEl>
                                        <p:attrNameLst>
                                          <p:attrName>ppt_y</p:attrName>
                                        </p:attrNameLst>
                                      </p:cBhvr>
                                      <p:tavLst>
                                        <p:tav tm="0">
                                          <p:val>
                                            <p:strVal val="#ppt_y+.1"/>
                                          </p:val>
                                        </p:tav>
                                        <p:tav tm="100000">
                                          <p:val>
                                            <p:strVal val="#ppt_y"/>
                                          </p:val>
                                        </p:tav>
                                      </p:tavLst>
                                    </p:anim>
                                  </p:childTnLst>
                                </p:cTn>
                              </p:par>
                            </p:childTnLst>
                          </p:cTn>
                        </p:par>
                        <p:par>
                          <p:cTn id="56" fill="hold">
                            <p:stCondLst>
                              <p:cond delay="3000"/>
                            </p:stCondLst>
                            <p:childTnLst>
                              <p:par>
                                <p:cTn id="57" presetID="42" presetClass="entr" presetSubtype="0" fill="hold" grpId="0" nodeType="afterEffect">
                                  <p:stCondLst>
                                    <p:cond delay="0"/>
                                  </p:stCondLst>
                                  <p:childTnLst>
                                    <p:set>
                                      <p:cBhvr>
                                        <p:cTn id="58" dur="1" fill="hold">
                                          <p:stCondLst>
                                            <p:cond delay="0"/>
                                          </p:stCondLst>
                                        </p:cTn>
                                        <p:tgtEl>
                                          <p:spTgt spid="17"/>
                                        </p:tgtEl>
                                        <p:attrNameLst>
                                          <p:attrName>style.visibility</p:attrName>
                                        </p:attrNameLst>
                                      </p:cBhvr>
                                      <p:to>
                                        <p:strVal val="visible"/>
                                      </p:to>
                                    </p:set>
                                    <p:animEffect transition="in" filter="fade">
                                      <p:cBhvr>
                                        <p:cTn id="59" dur="500"/>
                                        <p:tgtEl>
                                          <p:spTgt spid="17"/>
                                        </p:tgtEl>
                                      </p:cBhvr>
                                    </p:animEffect>
                                    <p:anim calcmode="lin" valueType="num">
                                      <p:cBhvr>
                                        <p:cTn id="60" dur="500" fill="hold"/>
                                        <p:tgtEl>
                                          <p:spTgt spid="17"/>
                                        </p:tgtEl>
                                        <p:attrNameLst>
                                          <p:attrName>ppt_x</p:attrName>
                                        </p:attrNameLst>
                                      </p:cBhvr>
                                      <p:tavLst>
                                        <p:tav tm="0">
                                          <p:val>
                                            <p:strVal val="#ppt_x"/>
                                          </p:val>
                                        </p:tav>
                                        <p:tav tm="100000">
                                          <p:val>
                                            <p:strVal val="#ppt_x"/>
                                          </p:val>
                                        </p:tav>
                                      </p:tavLst>
                                    </p:anim>
                                    <p:anim calcmode="lin" valueType="num">
                                      <p:cBhvr>
                                        <p:cTn id="61" dur="5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p:bldP spid="1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I:\PPT素材\图片素材\百张low poly 高清背景图\62.jpg"/>
          <p:cNvPicPr>
            <a:picLocks noChangeAspect="1" noChangeArrowheads="1"/>
          </p:cNvPicPr>
          <p:nvPr/>
        </p:nvPicPr>
        <p:blipFill rotWithShape="1">
          <a:blip r:embed="rId2">
            <a:extLst>
              <a:ext uri="{28A0092B-C50C-407E-A947-70E740481C1C}">
                <a14:useLocalDpi xmlns:a14="http://schemas.microsoft.com/office/drawing/2010/main" val="0"/>
              </a:ext>
            </a:extLst>
          </a:blip>
          <a:srcRect l="10527" t="45640" r="11894" b="45453"/>
          <a:stretch>
            <a:fillRect/>
          </a:stretch>
        </p:blipFill>
        <p:spPr bwMode="auto">
          <a:xfrm>
            <a:off x="0" y="4210259"/>
            <a:ext cx="9144000" cy="933242"/>
          </a:xfrm>
          <a:prstGeom prst="parallelogram">
            <a:avLst>
              <a:gd name="adj" fmla="val 0"/>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683568" y="123478"/>
            <a:ext cx="2685350" cy="461665"/>
          </a:xfrm>
          <a:prstGeom prst="rect">
            <a:avLst/>
          </a:prstGeom>
          <a:noFill/>
        </p:spPr>
        <p:txBody>
          <a:bodyPr wrap="square" rtlCol="0">
            <a:spAutoFit/>
          </a:bodyPr>
          <a:lstStyle/>
          <a:p>
            <a:r>
              <a:rPr lang="en-US" altLang="zh-CN" sz="2400" b="1" dirty="0">
                <a:solidFill>
                  <a:srgbClr val="800080"/>
                </a:solidFill>
                <a:latin typeface="Adobe Gothic Std B" pitchFamily="34" charset="-128"/>
                <a:ea typeface="Adobe Gothic Std B" pitchFamily="34" charset="-128"/>
              </a:rPr>
              <a:t>ADD YOUR TEXT</a:t>
            </a:r>
            <a:endParaRPr lang="zh-CN" altLang="en-US" sz="2400" b="1" dirty="0">
              <a:solidFill>
                <a:srgbClr val="800080"/>
              </a:solidFill>
              <a:latin typeface="Adobe Gothic Std B" pitchFamily="34" charset="-128"/>
            </a:endParaRPr>
          </a:p>
        </p:txBody>
      </p:sp>
      <p:grpSp>
        <p:nvGrpSpPr>
          <p:cNvPr id="26" name="组合 25"/>
          <p:cNvGrpSpPr/>
          <p:nvPr/>
        </p:nvGrpSpPr>
        <p:grpSpPr>
          <a:xfrm>
            <a:off x="3995936" y="1038814"/>
            <a:ext cx="1179441" cy="1368152"/>
            <a:chOff x="3995936" y="1038814"/>
            <a:chExt cx="1179441" cy="1368152"/>
          </a:xfrm>
        </p:grpSpPr>
        <p:sp>
          <p:nvSpPr>
            <p:cNvPr id="6" name="六边形 5"/>
            <p:cNvSpPr/>
            <p:nvPr/>
          </p:nvSpPr>
          <p:spPr>
            <a:xfrm rot="5400000">
              <a:off x="3901581" y="1133169"/>
              <a:ext cx="1368152" cy="1179441"/>
            </a:xfrm>
            <a:prstGeom prst="hexagon">
              <a:avLst/>
            </a:prstGeom>
            <a:solidFill>
              <a:srgbClr val="800080"/>
            </a:solidFill>
            <a:ln w="38100">
              <a:solidFill>
                <a:srgbClr val="800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 name="组合 7"/>
            <p:cNvGrpSpPr/>
            <p:nvPr/>
          </p:nvGrpSpPr>
          <p:grpSpPr>
            <a:xfrm>
              <a:off x="4315782" y="1508577"/>
              <a:ext cx="539750" cy="428626"/>
              <a:chOff x="1895475" y="3244850"/>
              <a:chExt cx="539750" cy="428626"/>
            </a:xfrm>
          </p:grpSpPr>
          <p:sp>
            <p:nvSpPr>
              <p:cNvPr id="9" name="Freeform 37"/>
              <p:cNvSpPr/>
              <p:nvPr/>
            </p:nvSpPr>
            <p:spPr bwMode="auto">
              <a:xfrm>
                <a:off x="2359025" y="3492500"/>
                <a:ext cx="76200" cy="157163"/>
              </a:xfrm>
              <a:custGeom>
                <a:avLst/>
                <a:gdLst>
                  <a:gd name="T0" fmla="*/ 0 w 27"/>
                  <a:gd name="T1" fmla="*/ 56 h 56"/>
                  <a:gd name="T2" fmla="*/ 23 w 27"/>
                  <a:gd name="T3" fmla="*/ 56 h 56"/>
                  <a:gd name="T4" fmla="*/ 27 w 27"/>
                  <a:gd name="T5" fmla="*/ 52 h 56"/>
                  <a:gd name="T6" fmla="*/ 27 w 27"/>
                  <a:gd name="T7" fmla="*/ 0 h 56"/>
                  <a:gd name="T8" fmla="*/ 0 w 27"/>
                  <a:gd name="T9" fmla="*/ 56 h 56"/>
                </a:gdLst>
                <a:ahLst/>
                <a:cxnLst>
                  <a:cxn ang="0">
                    <a:pos x="T0" y="T1"/>
                  </a:cxn>
                  <a:cxn ang="0">
                    <a:pos x="T2" y="T3"/>
                  </a:cxn>
                  <a:cxn ang="0">
                    <a:pos x="T4" y="T5"/>
                  </a:cxn>
                  <a:cxn ang="0">
                    <a:pos x="T6" y="T7"/>
                  </a:cxn>
                  <a:cxn ang="0">
                    <a:pos x="T8" y="T9"/>
                  </a:cxn>
                </a:cxnLst>
                <a:rect l="0" t="0" r="r" b="b"/>
                <a:pathLst>
                  <a:path w="27" h="56">
                    <a:moveTo>
                      <a:pt x="0" y="56"/>
                    </a:moveTo>
                    <a:cubicBezTo>
                      <a:pt x="23" y="56"/>
                      <a:pt x="23" y="56"/>
                      <a:pt x="23" y="56"/>
                    </a:cubicBezTo>
                    <a:cubicBezTo>
                      <a:pt x="25" y="56"/>
                      <a:pt x="27" y="54"/>
                      <a:pt x="27" y="52"/>
                    </a:cubicBezTo>
                    <a:cubicBezTo>
                      <a:pt x="27" y="0"/>
                      <a:pt x="27" y="0"/>
                      <a:pt x="27" y="0"/>
                    </a:cubicBezTo>
                    <a:cubicBezTo>
                      <a:pt x="27" y="22"/>
                      <a:pt x="17" y="43"/>
                      <a:pt x="0" y="5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 name="Freeform 38"/>
              <p:cNvSpPr>
                <a:spLocks noEditPoints="1"/>
              </p:cNvSpPr>
              <p:nvPr/>
            </p:nvSpPr>
            <p:spPr bwMode="auto">
              <a:xfrm>
                <a:off x="1895475" y="3244850"/>
                <a:ext cx="539750" cy="404813"/>
              </a:xfrm>
              <a:custGeom>
                <a:avLst/>
                <a:gdLst>
                  <a:gd name="T0" fmla="*/ 188 w 192"/>
                  <a:gd name="T1" fmla="*/ 24 h 144"/>
                  <a:gd name="T2" fmla="*/ 167 w 192"/>
                  <a:gd name="T3" fmla="*/ 24 h 144"/>
                  <a:gd name="T4" fmla="*/ 156 w 192"/>
                  <a:gd name="T5" fmla="*/ 2 h 144"/>
                  <a:gd name="T6" fmla="*/ 152 w 192"/>
                  <a:gd name="T7" fmla="*/ 0 h 144"/>
                  <a:gd name="T8" fmla="*/ 88 w 192"/>
                  <a:gd name="T9" fmla="*/ 0 h 144"/>
                  <a:gd name="T10" fmla="*/ 85 w 192"/>
                  <a:gd name="T11" fmla="*/ 2 h 144"/>
                  <a:gd name="T12" fmla="*/ 74 w 192"/>
                  <a:gd name="T13" fmla="*/ 24 h 144"/>
                  <a:gd name="T14" fmla="*/ 64 w 192"/>
                  <a:gd name="T15" fmla="*/ 24 h 144"/>
                  <a:gd name="T16" fmla="*/ 64 w 192"/>
                  <a:gd name="T17" fmla="*/ 24 h 144"/>
                  <a:gd name="T18" fmla="*/ 56 w 192"/>
                  <a:gd name="T19" fmla="*/ 24 h 144"/>
                  <a:gd name="T20" fmla="*/ 56 w 192"/>
                  <a:gd name="T21" fmla="*/ 24 h 144"/>
                  <a:gd name="T22" fmla="*/ 24 w 192"/>
                  <a:gd name="T23" fmla="*/ 24 h 144"/>
                  <a:gd name="T24" fmla="*/ 24 w 192"/>
                  <a:gd name="T25" fmla="*/ 24 h 144"/>
                  <a:gd name="T26" fmla="*/ 16 w 192"/>
                  <a:gd name="T27" fmla="*/ 24 h 144"/>
                  <a:gd name="T28" fmla="*/ 16 w 192"/>
                  <a:gd name="T29" fmla="*/ 24 h 144"/>
                  <a:gd name="T30" fmla="*/ 4 w 192"/>
                  <a:gd name="T31" fmla="*/ 24 h 144"/>
                  <a:gd name="T32" fmla="*/ 0 w 192"/>
                  <a:gd name="T33" fmla="*/ 28 h 144"/>
                  <a:gd name="T34" fmla="*/ 0 w 192"/>
                  <a:gd name="T35" fmla="*/ 140 h 144"/>
                  <a:gd name="T36" fmla="*/ 4 w 192"/>
                  <a:gd name="T37" fmla="*/ 144 h 144"/>
                  <a:gd name="T38" fmla="*/ 75 w 192"/>
                  <a:gd name="T39" fmla="*/ 144 h 144"/>
                  <a:gd name="T40" fmla="*/ 48 w 192"/>
                  <a:gd name="T41" fmla="*/ 88 h 144"/>
                  <a:gd name="T42" fmla="*/ 120 w 192"/>
                  <a:gd name="T43" fmla="*/ 16 h 144"/>
                  <a:gd name="T44" fmla="*/ 192 w 192"/>
                  <a:gd name="T45" fmla="*/ 88 h 144"/>
                  <a:gd name="T46" fmla="*/ 192 w 192"/>
                  <a:gd name="T47" fmla="*/ 28 h 144"/>
                  <a:gd name="T48" fmla="*/ 188 w 192"/>
                  <a:gd name="T49" fmla="*/ 24 h 144"/>
                  <a:gd name="T50" fmla="*/ 36 w 192"/>
                  <a:gd name="T51" fmla="*/ 56 h 144"/>
                  <a:gd name="T52" fmla="*/ 20 w 192"/>
                  <a:gd name="T53" fmla="*/ 56 h 144"/>
                  <a:gd name="T54" fmla="*/ 16 w 192"/>
                  <a:gd name="T55" fmla="*/ 52 h 144"/>
                  <a:gd name="T56" fmla="*/ 20 w 192"/>
                  <a:gd name="T57" fmla="*/ 48 h 144"/>
                  <a:gd name="T58" fmla="*/ 36 w 192"/>
                  <a:gd name="T59" fmla="*/ 48 h 144"/>
                  <a:gd name="T60" fmla="*/ 40 w 192"/>
                  <a:gd name="T61" fmla="*/ 52 h 144"/>
                  <a:gd name="T62" fmla="*/ 36 w 192"/>
                  <a:gd name="T63" fmla="*/ 5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2" h="144">
                    <a:moveTo>
                      <a:pt x="188" y="24"/>
                    </a:moveTo>
                    <a:cubicBezTo>
                      <a:pt x="167" y="24"/>
                      <a:pt x="167" y="24"/>
                      <a:pt x="167" y="24"/>
                    </a:cubicBezTo>
                    <a:cubicBezTo>
                      <a:pt x="156" y="2"/>
                      <a:pt x="156" y="2"/>
                      <a:pt x="156" y="2"/>
                    </a:cubicBezTo>
                    <a:cubicBezTo>
                      <a:pt x="155" y="1"/>
                      <a:pt x="154" y="0"/>
                      <a:pt x="152" y="0"/>
                    </a:cubicBezTo>
                    <a:cubicBezTo>
                      <a:pt x="88" y="0"/>
                      <a:pt x="88" y="0"/>
                      <a:pt x="88" y="0"/>
                    </a:cubicBezTo>
                    <a:cubicBezTo>
                      <a:pt x="87" y="0"/>
                      <a:pt x="85" y="1"/>
                      <a:pt x="85" y="2"/>
                    </a:cubicBezTo>
                    <a:cubicBezTo>
                      <a:pt x="74" y="24"/>
                      <a:pt x="74" y="24"/>
                      <a:pt x="74" y="24"/>
                    </a:cubicBezTo>
                    <a:cubicBezTo>
                      <a:pt x="64" y="24"/>
                      <a:pt x="64" y="24"/>
                      <a:pt x="64" y="24"/>
                    </a:cubicBezTo>
                    <a:cubicBezTo>
                      <a:pt x="64" y="24"/>
                      <a:pt x="64" y="24"/>
                      <a:pt x="64" y="24"/>
                    </a:cubicBezTo>
                    <a:cubicBezTo>
                      <a:pt x="56" y="24"/>
                      <a:pt x="56" y="24"/>
                      <a:pt x="56" y="24"/>
                    </a:cubicBezTo>
                    <a:cubicBezTo>
                      <a:pt x="56" y="24"/>
                      <a:pt x="56" y="24"/>
                      <a:pt x="56" y="24"/>
                    </a:cubicBezTo>
                    <a:cubicBezTo>
                      <a:pt x="24" y="24"/>
                      <a:pt x="24" y="24"/>
                      <a:pt x="24" y="24"/>
                    </a:cubicBezTo>
                    <a:cubicBezTo>
                      <a:pt x="24" y="24"/>
                      <a:pt x="24" y="24"/>
                      <a:pt x="24" y="24"/>
                    </a:cubicBezTo>
                    <a:cubicBezTo>
                      <a:pt x="16" y="24"/>
                      <a:pt x="16" y="24"/>
                      <a:pt x="16" y="24"/>
                    </a:cubicBezTo>
                    <a:cubicBezTo>
                      <a:pt x="16" y="24"/>
                      <a:pt x="16" y="24"/>
                      <a:pt x="16" y="24"/>
                    </a:cubicBezTo>
                    <a:cubicBezTo>
                      <a:pt x="4" y="24"/>
                      <a:pt x="4" y="24"/>
                      <a:pt x="4" y="24"/>
                    </a:cubicBezTo>
                    <a:cubicBezTo>
                      <a:pt x="2" y="24"/>
                      <a:pt x="0" y="26"/>
                      <a:pt x="0" y="28"/>
                    </a:cubicBezTo>
                    <a:cubicBezTo>
                      <a:pt x="0" y="140"/>
                      <a:pt x="0" y="140"/>
                      <a:pt x="0" y="140"/>
                    </a:cubicBezTo>
                    <a:cubicBezTo>
                      <a:pt x="0" y="142"/>
                      <a:pt x="2" y="144"/>
                      <a:pt x="4" y="144"/>
                    </a:cubicBezTo>
                    <a:cubicBezTo>
                      <a:pt x="75" y="144"/>
                      <a:pt x="75" y="144"/>
                      <a:pt x="75" y="144"/>
                    </a:cubicBezTo>
                    <a:cubicBezTo>
                      <a:pt x="59" y="131"/>
                      <a:pt x="48" y="110"/>
                      <a:pt x="48" y="88"/>
                    </a:cubicBezTo>
                    <a:cubicBezTo>
                      <a:pt x="48" y="48"/>
                      <a:pt x="80" y="16"/>
                      <a:pt x="120" y="16"/>
                    </a:cubicBezTo>
                    <a:cubicBezTo>
                      <a:pt x="160" y="16"/>
                      <a:pt x="192" y="48"/>
                      <a:pt x="192" y="88"/>
                    </a:cubicBezTo>
                    <a:cubicBezTo>
                      <a:pt x="192" y="28"/>
                      <a:pt x="192" y="28"/>
                      <a:pt x="192" y="28"/>
                    </a:cubicBezTo>
                    <a:cubicBezTo>
                      <a:pt x="192" y="26"/>
                      <a:pt x="190" y="24"/>
                      <a:pt x="188" y="24"/>
                    </a:cubicBezTo>
                    <a:close/>
                    <a:moveTo>
                      <a:pt x="36" y="56"/>
                    </a:moveTo>
                    <a:cubicBezTo>
                      <a:pt x="20" y="56"/>
                      <a:pt x="20" y="56"/>
                      <a:pt x="20" y="56"/>
                    </a:cubicBezTo>
                    <a:cubicBezTo>
                      <a:pt x="18" y="56"/>
                      <a:pt x="16" y="54"/>
                      <a:pt x="16" y="52"/>
                    </a:cubicBezTo>
                    <a:cubicBezTo>
                      <a:pt x="16" y="50"/>
                      <a:pt x="18" y="48"/>
                      <a:pt x="20" y="48"/>
                    </a:cubicBezTo>
                    <a:cubicBezTo>
                      <a:pt x="36" y="48"/>
                      <a:pt x="36" y="48"/>
                      <a:pt x="36" y="48"/>
                    </a:cubicBezTo>
                    <a:cubicBezTo>
                      <a:pt x="38" y="48"/>
                      <a:pt x="40" y="50"/>
                      <a:pt x="40" y="52"/>
                    </a:cubicBezTo>
                    <a:cubicBezTo>
                      <a:pt x="40" y="54"/>
                      <a:pt x="38" y="56"/>
                      <a:pt x="36" y="5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 name="Freeform 39"/>
              <p:cNvSpPr/>
              <p:nvPr/>
            </p:nvSpPr>
            <p:spPr bwMode="auto">
              <a:xfrm>
                <a:off x="1939925" y="3268663"/>
                <a:ext cx="134938" cy="22225"/>
              </a:xfrm>
              <a:custGeom>
                <a:avLst/>
                <a:gdLst>
                  <a:gd name="T0" fmla="*/ 48 w 48"/>
                  <a:gd name="T1" fmla="*/ 4 h 8"/>
                  <a:gd name="T2" fmla="*/ 44 w 48"/>
                  <a:gd name="T3" fmla="*/ 0 h 8"/>
                  <a:gd name="T4" fmla="*/ 4 w 48"/>
                  <a:gd name="T5" fmla="*/ 0 h 8"/>
                  <a:gd name="T6" fmla="*/ 0 w 48"/>
                  <a:gd name="T7" fmla="*/ 4 h 8"/>
                  <a:gd name="T8" fmla="*/ 0 w 48"/>
                  <a:gd name="T9" fmla="*/ 8 h 8"/>
                  <a:gd name="T10" fmla="*/ 48 w 48"/>
                  <a:gd name="T11" fmla="*/ 8 h 8"/>
                  <a:gd name="T12" fmla="*/ 48 w 48"/>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48" h="8">
                    <a:moveTo>
                      <a:pt x="48" y="4"/>
                    </a:moveTo>
                    <a:cubicBezTo>
                      <a:pt x="48" y="2"/>
                      <a:pt x="46" y="0"/>
                      <a:pt x="44" y="0"/>
                    </a:cubicBezTo>
                    <a:cubicBezTo>
                      <a:pt x="4" y="0"/>
                      <a:pt x="4" y="0"/>
                      <a:pt x="4" y="0"/>
                    </a:cubicBezTo>
                    <a:cubicBezTo>
                      <a:pt x="2" y="0"/>
                      <a:pt x="0" y="2"/>
                      <a:pt x="0" y="4"/>
                    </a:cubicBezTo>
                    <a:cubicBezTo>
                      <a:pt x="0" y="8"/>
                      <a:pt x="0" y="8"/>
                      <a:pt x="0" y="8"/>
                    </a:cubicBezTo>
                    <a:cubicBezTo>
                      <a:pt x="48" y="8"/>
                      <a:pt x="48" y="8"/>
                      <a:pt x="48" y="8"/>
                    </a:cubicBezTo>
                    <a:lnTo>
                      <a:pt x="48" y="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 name="Freeform 40"/>
              <p:cNvSpPr>
                <a:spLocks noEditPoints="1"/>
              </p:cNvSpPr>
              <p:nvPr/>
            </p:nvSpPr>
            <p:spPr bwMode="auto">
              <a:xfrm>
                <a:off x="2120900" y="3379788"/>
                <a:ext cx="225425" cy="225425"/>
              </a:xfrm>
              <a:custGeom>
                <a:avLst/>
                <a:gdLst>
                  <a:gd name="T0" fmla="*/ 40 w 80"/>
                  <a:gd name="T1" fmla="*/ 0 h 80"/>
                  <a:gd name="T2" fmla="*/ 0 w 80"/>
                  <a:gd name="T3" fmla="*/ 40 h 80"/>
                  <a:gd name="T4" fmla="*/ 40 w 80"/>
                  <a:gd name="T5" fmla="*/ 80 h 80"/>
                  <a:gd name="T6" fmla="*/ 80 w 80"/>
                  <a:gd name="T7" fmla="*/ 40 h 80"/>
                  <a:gd name="T8" fmla="*/ 40 w 80"/>
                  <a:gd name="T9" fmla="*/ 0 h 80"/>
                  <a:gd name="T10" fmla="*/ 37 w 80"/>
                  <a:gd name="T11" fmla="*/ 24 h 80"/>
                  <a:gd name="T12" fmla="*/ 24 w 80"/>
                  <a:gd name="T13" fmla="*/ 37 h 80"/>
                  <a:gd name="T14" fmla="*/ 21 w 80"/>
                  <a:gd name="T15" fmla="*/ 40 h 80"/>
                  <a:gd name="T16" fmla="*/ 20 w 80"/>
                  <a:gd name="T17" fmla="*/ 40 h 80"/>
                  <a:gd name="T18" fmla="*/ 17 w 80"/>
                  <a:gd name="T19" fmla="*/ 35 h 80"/>
                  <a:gd name="T20" fmla="*/ 35 w 80"/>
                  <a:gd name="T21" fmla="*/ 16 h 80"/>
                  <a:gd name="T22" fmla="*/ 40 w 80"/>
                  <a:gd name="T23" fmla="*/ 19 h 80"/>
                  <a:gd name="T24" fmla="*/ 37 w 80"/>
                  <a:gd name="T25"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80">
                    <a:moveTo>
                      <a:pt x="40" y="0"/>
                    </a:moveTo>
                    <a:cubicBezTo>
                      <a:pt x="18" y="0"/>
                      <a:pt x="0" y="18"/>
                      <a:pt x="0" y="40"/>
                    </a:cubicBezTo>
                    <a:cubicBezTo>
                      <a:pt x="0" y="62"/>
                      <a:pt x="18" y="80"/>
                      <a:pt x="40" y="80"/>
                    </a:cubicBezTo>
                    <a:cubicBezTo>
                      <a:pt x="62" y="80"/>
                      <a:pt x="80" y="62"/>
                      <a:pt x="80" y="40"/>
                    </a:cubicBezTo>
                    <a:cubicBezTo>
                      <a:pt x="80" y="18"/>
                      <a:pt x="62" y="0"/>
                      <a:pt x="40" y="0"/>
                    </a:cubicBezTo>
                    <a:close/>
                    <a:moveTo>
                      <a:pt x="37" y="24"/>
                    </a:moveTo>
                    <a:cubicBezTo>
                      <a:pt x="31" y="25"/>
                      <a:pt x="26" y="30"/>
                      <a:pt x="24" y="37"/>
                    </a:cubicBezTo>
                    <a:cubicBezTo>
                      <a:pt x="24" y="39"/>
                      <a:pt x="22" y="40"/>
                      <a:pt x="21" y="40"/>
                    </a:cubicBezTo>
                    <a:cubicBezTo>
                      <a:pt x="20" y="40"/>
                      <a:pt x="20" y="40"/>
                      <a:pt x="20" y="40"/>
                    </a:cubicBezTo>
                    <a:cubicBezTo>
                      <a:pt x="18" y="39"/>
                      <a:pt x="16" y="37"/>
                      <a:pt x="17" y="35"/>
                    </a:cubicBezTo>
                    <a:cubicBezTo>
                      <a:pt x="19" y="26"/>
                      <a:pt x="26" y="18"/>
                      <a:pt x="35" y="16"/>
                    </a:cubicBezTo>
                    <a:cubicBezTo>
                      <a:pt x="37" y="16"/>
                      <a:pt x="40" y="17"/>
                      <a:pt x="40" y="19"/>
                    </a:cubicBezTo>
                    <a:cubicBezTo>
                      <a:pt x="40" y="22"/>
                      <a:pt x="39" y="24"/>
                      <a:pt x="37"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 name="Freeform 41"/>
              <p:cNvSpPr>
                <a:spLocks noEditPoints="1"/>
              </p:cNvSpPr>
              <p:nvPr/>
            </p:nvSpPr>
            <p:spPr bwMode="auto">
              <a:xfrm>
                <a:off x="2052638" y="3313113"/>
                <a:ext cx="360363" cy="360363"/>
              </a:xfrm>
              <a:custGeom>
                <a:avLst/>
                <a:gdLst>
                  <a:gd name="T0" fmla="*/ 114 w 128"/>
                  <a:gd name="T1" fmla="*/ 104 h 128"/>
                  <a:gd name="T2" fmla="*/ 117 w 128"/>
                  <a:gd name="T3" fmla="*/ 100 h 128"/>
                  <a:gd name="T4" fmla="*/ 119 w 128"/>
                  <a:gd name="T5" fmla="*/ 97 h 128"/>
                  <a:gd name="T6" fmla="*/ 121 w 128"/>
                  <a:gd name="T7" fmla="*/ 93 h 128"/>
                  <a:gd name="T8" fmla="*/ 123 w 128"/>
                  <a:gd name="T9" fmla="*/ 89 h 128"/>
                  <a:gd name="T10" fmla="*/ 124 w 128"/>
                  <a:gd name="T11" fmla="*/ 85 h 128"/>
                  <a:gd name="T12" fmla="*/ 126 w 128"/>
                  <a:gd name="T13" fmla="*/ 82 h 128"/>
                  <a:gd name="T14" fmla="*/ 126 w 128"/>
                  <a:gd name="T15" fmla="*/ 80 h 128"/>
                  <a:gd name="T16" fmla="*/ 126 w 128"/>
                  <a:gd name="T17" fmla="*/ 79 h 128"/>
                  <a:gd name="T18" fmla="*/ 127 w 128"/>
                  <a:gd name="T19" fmla="*/ 77 h 128"/>
                  <a:gd name="T20" fmla="*/ 127 w 128"/>
                  <a:gd name="T21" fmla="*/ 74 h 128"/>
                  <a:gd name="T22" fmla="*/ 128 w 128"/>
                  <a:gd name="T23" fmla="*/ 72 h 128"/>
                  <a:gd name="T24" fmla="*/ 128 w 128"/>
                  <a:gd name="T25" fmla="*/ 69 h 128"/>
                  <a:gd name="T26" fmla="*/ 128 w 128"/>
                  <a:gd name="T27" fmla="*/ 68 h 128"/>
                  <a:gd name="T28" fmla="*/ 128 w 128"/>
                  <a:gd name="T29" fmla="*/ 64 h 128"/>
                  <a:gd name="T30" fmla="*/ 64 w 128"/>
                  <a:gd name="T31" fmla="*/ 0 h 128"/>
                  <a:gd name="T32" fmla="*/ 0 w 128"/>
                  <a:gd name="T33" fmla="*/ 64 h 128"/>
                  <a:gd name="T34" fmla="*/ 0 w 128"/>
                  <a:gd name="T35" fmla="*/ 68 h 128"/>
                  <a:gd name="T36" fmla="*/ 0 w 128"/>
                  <a:gd name="T37" fmla="*/ 69 h 128"/>
                  <a:gd name="T38" fmla="*/ 1 w 128"/>
                  <a:gd name="T39" fmla="*/ 72 h 128"/>
                  <a:gd name="T40" fmla="*/ 1 w 128"/>
                  <a:gd name="T41" fmla="*/ 74 h 128"/>
                  <a:gd name="T42" fmla="*/ 1 w 128"/>
                  <a:gd name="T43" fmla="*/ 77 h 128"/>
                  <a:gd name="T44" fmla="*/ 2 w 128"/>
                  <a:gd name="T45" fmla="*/ 79 h 128"/>
                  <a:gd name="T46" fmla="*/ 2 w 128"/>
                  <a:gd name="T47" fmla="*/ 80 h 128"/>
                  <a:gd name="T48" fmla="*/ 3 w 128"/>
                  <a:gd name="T49" fmla="*/ 82 h 128"/>
                  <a:gd name="T50" fmla="*/ 4 w 128"/>
                  <a:gd name="T51" fmla="*/ 85 h 128"/>
                  <a:gd name="T52" fmla="*/ 5 w 128"/>
                  <a:gd name="T53" fmla="*/ 89 h 128"/>
                  <a:gd name="T54" fmla="*/ 7 w 128"/>
                  <a:gd name="T55" fmla="*/ 93 h 128"/>
                  <a:gd name="T56" fmla="*/ 9 w 128"/>
                  <a:gd name="T57" fmla="*/ 97 h 128"/>
                  <a:gd name="T58" fmla="*/ 12 w 128"/>
                  <a:gd name="T59" fmla="*/ 100 h 128"/>
                  <a:gd name="T60" fmla="*/ 14 w 128"/>
                  <a:gd name="T61" fmla="*/ 104 h 128"/>
                  <a:gd name="T62" fmla="*/ 17 w 128"/>
                  <a:gd name="T63" fmla="*/ 107 h 128"/>
                  <a:gd name="T64" fmla="*/ 20 w 128"/>
                  <a:gd name="T65" fmla="*/ 110 h 128"/>
                  <a:gd name="T66" fmla="*/ 20 w 128"/>
                  <a:gd name="T67" fmla="*/ 110 h 128"/>
                  <a:gd name="T68" fmla="*/ 22 w 128"/>
                  <a:gd name="T69" fmla="*/ 112 h 128"/>
                  <a:gd name="T70" fmla="*/ 23 w 128"/>
                  <a:gd name="T71" fmla="*/ 113 h 128"/>
                  <a:gd name="T72" fmla="*/ 29 w 128"/>
                  <a:gd name="T73" fmla="*/ 117 h 128"/>
                  <a:gd name="T74" fmla="*/ 30 w 128"/>
                  <a:gd name="T75" fmla="*/ 118 h 128"/>
                  <a:gd name="T76" fmla="*/ 33 w 128"/>
                  <a:gd name="T77" fmla="*/ 120 h 128"/>
                  <a:gd name="T78" fmla="*/ 33 w 128"/>
                  <a:gd name="T79" fmla="*/ 120 h 128"/>
                  <a:gd name="T80" fmla="*/ 64 w 128"/>
                  <a:gd name="T81" fmla="*/ 128 h 128"/>
                  <a:gd name="T82" fmla="*/ 95 w 128"/>
                  <a:gd name="T83" fmla="*/ 120 h 128"/>
                  <a:gd name="T84" fmla="*/ 95 w 128"/>
                  <a:gd name="T85" fmla="*/ 120 h 128"/>
                  <a:gd name="T86" fmla="*/ 98 w 128"/>
                  <a:gd name="T87" fmla="*/ 118 h 128"/>
                  <a:gd name="T88" fmla="*/ 99 w 128"/>
                  <a:gd name="T89" fmla="*/ 117 h 128"/>
                  <a:gd name="T90" fmla="*/ 105 w 128"/>
                  <a:gd name="T91" fmla="*/ 113 h 128"/>
                  <a:gd name="T92" fmla="*/ 106 w 128"/>
                  <a:gd name="T93" fmla="*/ 112 h 128"/>
                  <a:gd name="T94" fmla="*/ 108 w 128"/>
                  <a:gd name="T95" fmla="*/ 110 h 128"/>
                  <a:gd name="T96" fmla="*/ 109 w 128"/>
                  <a:gd name="T97" fmla="*/ 110 h 128"/>
                  <a:gd name="T98" fmla="*/ 111 w 128"/>
                  <a:gd name="T99" fmla="*/ 107 h 128"/>
                  <a:gd name="T100" fmla="*/ 114 w 128"/>
                  <a:gd name="T101" fmla="*/ 104 h 128"/>
                  <a:gd name="T102" fmla="*/ 64 w 128"/>
                  <a:gd name="T103" fmla="*/ 112 h 128"/>
                  <a:gd name="T104" fmla="*/ 16 w 128"/>
                  <a:gd name="T105" fmla="*/ 64 h 128"/>
                  <a:gd name="T106" fmla="*/ 64 w 128"/>
                  <a:gd name="T107" fmla="*/ 16 h 128"/>
                  <a:gd name="T108" fmla="*/ 112 w 128"/>
                  <a:gd name="T109" fmla="*/ 64 h 128"/>
                  <a:gd name="T110" fmla="*/ 64 w 128"/>
                  <a:gd name="T111" fmla="*/ 11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8" h="128">
                    <a:moveTo>
                      <a:pt x="114" y="104"/>
                    </a:moveTo>
                    <a:cubicBezTo>
                      <a:pt x="115" y="103"/>
                      <a:pt x="116" y="101"/>
                      <a:pt x="117" y="100"/>
                    </a:cubicBezTo>
                    <a:cubicBezTo>
                      <a:pt x="118" y="99"/>
                      <a:pt x="118" y="98"/>
                      <a:pt x="119" y="97"/>
                    </a:cubicBezTo>
                    <a:cubicBezTo>
                      <a:pt x="120" y="96"/>
                      <a:pt x="120" y="94"/>
                      <a:pt x="121" y="93"/>
                    </a:cubicBezTo>
                    <a:cubicBezTo>
                      <a:pt x="122" y="92"/>
                      <a:pt x="122" y="91"/>
                      <a:pt x="123" y="89"/>
                    </a:cubicBezTo>
                    <a:cubicBezTo>
                      <a:pt x="123" y="88"/>
                      <a:pt x="124" y="87"/>
                      <a:pt x="124" y="85"/>
                    </a:cubicBezTo>
                    <a:cubicBezTo>
                      <a:pt x="125" y="84"/>
                      <a:pt x="125" y="83"/>
                      <a:pt x="126" y="82"/>
                    </a:cubicBezTo>
                    <a:cubicBezTo>
                      <a:pt x="126" y="81"/>
                      <a:pt x="126" y="81"/>
                      <a:pt x="126" y="80"/>
                    </a:cubicBezTo>
                    <a:cubicBezTo>
                      <a:pt x="126" y="80"/>
                      <a:pt x="126" y="79"/>
                      <a:pt x="126" y="79"/>
                    </a:cubicBezTo>
                    <a:cubicBezTo>
                      <a:pt x="127" y="78"/>
                      <a:pt x="127" y="77"/>
                      <a:pt x="127" y="77"/>
                    </a:cubicBezTo>
                    <a:cubicBezTo>
                      <a:pt x="127" y="76"/>
                      <a:pt x="127" y="75"/>
                      <a:pt x="127" y="74"/>
                    </a:cubicBezTo>
                    <a:cubicBezTo>
                      <a:pt x="128" y="73"/>
                      <a:pt x="128" y="72"/>
                      <a:pt x="128" y="72"/>
                    </a:cubicBezTo>
                    <a:cubicBezTo>
                      <a:pt x="128" y="71"/>
                      <a:pt x="128" y="70"/>
                      <a:pt x="128" y="69"/>
                    </a:cubicBezTo>
                    <a:cubicBezTo>
                      <a:pt x="128" y="69"/>
                      <a:pt x="128" y="68"/>
                      <a:pt x="128" y="68"/>
                    </a:cubicBezTo>
                    <a:cubicBezTo>
                      <a:pt x="128" y="67"/>
                      <a:pt x="128" y="65"/>
                      <a:pt x="128" y="64"/>
                    </a:cubicBezTo>
                    <a:cubicBezTo>
                      <a:pt x="128" y="29"/>
                      <a:pt x="99" y="0"/>
                      <a:pt x="64" y="0"/>
                    </a:cubicBezTo>
                    <a:cubicBezTo>
                      <a:pt x="29" y="0"/>
                      <a:pt x="0" y="29"/>
                      <a:pt x="0" y="64"/>
                    </a:cubicBezTo>
                    <a:cubicBezTo>
                      <a:pt x="0" y="65"/>
                      <a:pt x="0" y="67"/>
                      <a:pt x="0" y="68"/>
                    </a:cubicBezTo>
                    <a:cubicBezTo>
                      <a:pt x="0" y="68"/>
                      <a:pt x="0" y="69"/>
                      <a:pt x="0" y="69"/>
                    </a:cubicBezTo>
                    <a:cubicBezTo>
                      <a:pt x="0" y="70"/>
                      <a:pt x="1" y="71"/>
                      <a:pt x="1" y="72"/>
                    </a:cubicBezTo>
                    <a:cubicBezTo>
                      <a:pt x="1" y="72"/>
                      <a:pt x="1" y="73"/>
                      <a:pt x="1" y="74"/>
                    </a:cubicBezTo>
                    <a:cubicBezTo>
                      <a:pt x="1" y="75"/>
                      <a:pt x="1" y="76"/>
                      <a:pt x="1" y="77"/>
                    </a:cubicBezTo>
                    <a:cubicBezTo>
                      <a:pt x="2" y="77"/>
                      <a:pt x="2" y="78"/>
                      <a:pt x="2" y="79"/>
                    </a:cubicBezTo>
                    <a:cubicBezTo>
                      <a:pt x="2" y="79"/>
                      <a:pt x="2" y="80"/>
                      <a:pt x="2" y="80"/>
                    </a:cubicBezTo>
                    <a:cubicBezTo>
                      <a:pt x="2" y="81"/>
                      <a:pt x="3" y="81"/>
                      <a:pt x="3" y="82"/>
                    </a:cubicBezTo>
                    <a:cubicBezTo>
                      <a:pt x="3" y="83"/>
                      <a:pt x="3" y="84"/>
                      <a:pt x="4" y="85"/>
                    </a:cubicBezTo>
                    <a:cubicBezTo>
                      <a:pt x="4" y="87"/>
                      <a:pt x="5" y="88"/>
                      <a:pt x="5" y="89"/>
                    </a:cubicBezTo>
                    <a:cubicBezTo>
                      <a:pt x="6" y="91"/>
                      <a:pt x="7" y="92"/>
                      <a:pt x="7" y="93"/>
                    </a:cubicBezTo>
                    <a:cubicBezTo>
                      <a:pt x="8" y="94"/>
                      <a:pt x="9" y="96"/>
                      <a:pt x="9" y="97"/>
                    </a:cubicBezTo>
                    <a:cubicBezTo>
                      <a:pt x="10" y="98"/>
                      <a:pt x="11" y="99"/>
                      <a:pt x="12" y="100"/>
                    </a:cubicBezTo>
                    <a:cubicBezTo>
                      <a:pt x="12" y="101"/>
                      <a:pt x="13" y="103"/>
                      <a:pt x="14" y="104"/>
                    </a:cubicBezTo>
                    <a:cubicBezTo>
                      <a:pt x="15" y="105"/>
                      <a:pt x="16" y="106"/>
                      <a:pt x="17" y="107"/>
                    </a:cubicBezTo>
                    <a:cubicBezTo>
                      <a:pt x="18" y="108"/>
                      <a:pt x="19" y="109"/>
                      <a:pt x="20" y="110"/>
                    </a:cubicBezTo>
                    <a:cubicBezTo>
                      <a:pt x="20" y="110"/>
                      <a:pt x="20" y="110"/>
                      <a:pt x="20" y="110"/>
                    </a:cubicBezTo>
                    <a:cubicBezTo>
                      <a:pt x="21" y="111"/>
                      <a:pt x="21" y="111"/>
                      <a:pt x="22" y="112"/>
                    </a:cubicBezTo>
                    <a:cubicBezTo>
                      <a:pt x="23" y="113"/>
                      <a:pt x="23" y="113"/>
                      <a:pt x="23" y="113"/>
                    </a:cubicBezTo>
                    <a:cubicBezTo>
                      <a:pt x="25" y="115"/>
                      <a:pt x="27" y="116"/>
                      <a:pt x="29" y="117"/>
                    </a:cubicBezTo>
                    <a:cubicBezTo>
                      <a:pt x="29" y="118"/>
                      <a:pt x="30" y="118"/>
                      <a:pt x="30" y="118"/>
                    </a:cubicBezTo>
                    <a:cubicBezTo>
                      <a:pt x="31" y="119"/>
                      <a:pt x="32" y="119"/>
                      <a:pt x="33" y="120"/>
                    </a:cubicBezTo>
                    <a:cubicBezTo>
                      <a:pt x="33" y="120"/>
                      <a:pt x="33" y="120"/>
                      <a:pt x="33" y="120"/>
                    </a:cubicBezTo>
                    <a:cubicBezTo>
                      <a:pt x="42" y="125"/>
                      <a:pt x="53" y="128"/>
                      <a:pt x="64" y="128"/>
                    </a:cubicBezTo>
                    <a:cubicBezTo>
                      <a:pt x="75" y="128"/>
                      <a:pt x="86" y="125"/>
                      <a:pt x="95" y="120"/>
                    </a:cubicBezTo>
                    <a:cubicBezTo>
                      <a:pt x="95" y="120"/>
                      <a:pt x="95" y="120"/>
                      <a:pt x="95" y="120"/>
                    </a:cubicBezTo>
                    <a:cubicBezTo>
                      <a:pt x="96" y="119"/>
                      <a:pt x="97" y="119"/>
                      <a:pt x="98" y="118"/>
                    </a:cubicBezTo>
                    <a:cubicBezTo>
                      <a:pt x="99" y="118"/>
                      <a:pt x="99" y="118"/>
                      <a:pt x="99" y="117"/>
                    </a:cubicBezTo>
                    <a:cubicBezTo>
                      <a:pt x="101" y="116"/>
                      <a:pt x="103" y="115"/>
                      <a:pt x="105" y="113"/>
                    </a:cubicBezTo>
                    <a:cubicBezTo>
                      <a:pt x="105" y="113"/>
                      <a:pt x="106" y="113"/>
                      <a:pt x="106" y="112"/>
                    </a:cubicBezTo>
                    <a:cubicBezTo>
                      <a:pt x="107" y="111"/>
                      <a:pt x="108" y="111"/>
                      <a:pt x="108" y="110"/>
                    </a:cubicBezTo>
                    <a:cubicBezTo>
                      <a:pt x="109" y="110"/>
                      <a:pt x="109" y="110"/>
                      <a:pt x="109" y="110"/>
                    </a:cubicBezTo>
                    <a:cubicBezTo>
                      <a:pt x="110" y="109"/>
                      <a:pt x="111" y="108"/>
                      <a:pt x="111" y="107"/>
                    </a:cubicBezTo>
                    <a:cubicBezTo>
                      <a:pt x="112" y="106"/>
                      <a:pt x="113" y="105"/>
                      <a:pt x="114" y="104"/>
                    </a:cubicBezTo>
                    <a:close/>
                    <a:moveTo>
                      <a:pt x="64" y="112"/>
                    </a:moveTo>
                    <a:cubicBezTo>
                      <a:pt x="38" y="112"/>
                      <a:pt x="16" y="90"/>
                      <a:pt x="16" y="64"/>
                    </a:cubicBezTo>
                    <a:cubicBezTo>
                      <a:pt x="16" y="37"/>
                      <a:pt x="38" y="16"/>
                      <a:pt x="64" y="16"/>
                    </a:cubicBezTo>
                    <a:cubicBezTo>
                      <a:pt x="91" y="16"/>
                      <a:pt x="112" y="37"/>
                      <a:pt x="112" y="64"/>
                    </a:cubicBezTo>
                    <a:cubicBezTo>
                      <a:pt x="112" y="90"/>
                      <a:pt x="91" y="112"/>
                      <a:pt x="64" y="11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27" name="组合 26"/>
          <p:cNvGrpSpPr/>
          <p:nvPr/>
        </p:nvGrpSpPr>
        <p:grpSpPr>
          <a:xfrm>
            <a:off x="6410720" y="1038815"/>
            <a:ext cx="1179441" cy="1368152"/>
            <a:chOff x="6410720" y="1038815"/>
            <a:chExt cx="1179441" cy="1368152"/>
          </a:xfrm>
        </p:grpSpPr>
        <p:sp>
          <p:nvSpPr>
            <p:cNvPr id="7" name="六边形 6"/>
            <p:cNvSpPr/>
            <p:nvPr/>
          </p:nvSpPr>
          <p:spPr>
            <a:xfrm rot="5400000">
              <a:off x="6316365" y="1133170"/>
              <a:ext cx="1368152" cy="1179441"/>
            </a:xfrm>
            <a:prstGeom prst="hexagon">
              <a:avLst/>
            </a:prstGeom>
            <a:solidFill>
              <a:srgbClr val="800080"/>
            </a:solidFill>
            <a:ln w="38100">
              <a:solidFill>
                <a:srgbClr val="800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4" name="组合 13"/>
            <p:cNvGrpSpPr/>
            <p:nvPr/>
          </p:nvGrpSpPr>
          <p:grpSpPr>
            <a:xfrm>
              <a:off x="6730566" y="1476139"/>
              <a:ext cx="539750" cy="493713"/>
              <a:chOff x="568325" y="4538663"/>
              <a:chExt cx="539750" cy="493713"/>
            </a:xfrm>
          </p:grpSpPr>
          <p:sp>
            <p:nvSpPr>
              <p:cNvPr id="15" name="Freeform 49"/>
              <p:cNvSpPr/>
              <p:nvPr/>
            </p:nvSpPr>
            <p:spPr bwMode="auto">
              <a:xfrm>
                <a:off x="771525" y="4718050"/>
                <a:ext cx="134938" cy="134938"/>
              </a:xfrm>
              <a:custGeom>
                <a:avLst/>
                <a:gdLst>
                  <a:gd name="T0" fmla="*/ 46 w 48"/>
                  <a:gd name="T1" fmla="*/ 20 h 48"/>
                  <a:gd name="T2" fmla="*/ 6 w 48"/>
                  <a:gd name="T3" fmla="*/ 0 h 48"/>
                  <a:gd name="T4" fmla="*/ 2 w 48"/>
                  <a:gd name="T5" fmla="*/ 0 h 48"/>
                  <a:gd name="T6" fmla="*/ 0 w 48"/>
                  <a:gd name="T7" fmla="*/ 4 h 48"/>
                  <a:gd name="T8" fmla="*/ 0 w 48"/>
                  <a:gd name="T9" fmla="*/ 44 h 48"/>
                  <a:gd name="T10" fmla="*/ 2 w 48"/>
                  <a:gd name="T11" fmla="*/ 47 h 48"/>
                  <a:gd name="T12" fmla="*/ 4 w 48"/>
                  <a:gd name="T13" fmla="*/ 48 h 48"/>
                  <a:gd name="T14" fmla="*/ 6 w 48"/>
                  <a:gd name="T15" fmla="*/ 47 h 48"/>
                  <a:gd name="T16" fmla="*/ 46 w 48"/>
                  <a:gd name="T17" fmla="*/ 27 h 48"/>
                  <a:gd name="T18" fmla="*/ 48 w 48"/>
                  <a:gd name="T19" fmla="*/ 24 h 48"/>
                  <a:gd name="T20" fmla="*/ 46 w 48"/>
                  <a:gd name="T21"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8">
                    <a:moveTo>
                      <a:pt x="46" y="20"/>
                    </a:moveTo>
                    <a:cubicBezTo>
                      <a:pt x="6" y="0"/>
                      <a:pt x="6" y="0"/>
                      <a:pt x="6" y="0"/>
                    </a:cubicBezTo>
                    <a:cubicBezTo>
                      <a:pt x="5" y="0"/>
                      <a:pt x="3" y="0"/>
                      <a:pt x="2" y="0"/>
                    </a:cubicBezTo>
                    <a:cubicBezTo>
                      <a:pt x="1" y="1"/>
                      <a:pt x="0" y="2"/>
                      <a:pt x="0" y="4"/>
                    </a:cubicBezTo>
                    <a:cubicBezTo>
                      <a:pt x="0" y="44"/>
                      <a:pt x="0" y="44"/>
                      <a:pt x="0" y="44"/>
                    </a:cubicBezTo>
                    <a:cubicBezTo>
                      <a:pt x="0" y="45"/>
                      <a:pt x="1" y="47"/>
                      <a:pt x="2" y="47"/>
                    </a:cubicBezTo>
                    <a:cubicBezTo>
                      <a:pt x="3" y="48"/>
                      <a:pt x="3" y="48"/>
                      <a:pt x="4" y="48"/>
                    </a:cubicBezTo>
                    <a:cubicBezTo>
                      <a:pt x="5" y="48"/>
                      <a:pt x="5" y="48"/>
                      <a:pt x="6" y="47"/>
                    </a:cubicBezTo>
                    <a:cubicBezTo>
                      <a:pt x="46" y="27"/>
                      <a:pt x="46" y="27"/>
                      <a:pt x="46" y="27"/>
                    </a:cubicBezTo>
                    <a:cubicBezTo>
                      <a:pt x="47" y="27"/>
                      <a:pt x="48" y="25"/>
                      <a:pt x="48" y="24"/>
                    </a:cubicBezTo>
                    <a:cubicBezTo>
                      <a:pt x="48" y="22"/>
                      <a:pt x="47" y="21"/>
                      <a:pt x="46" y="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 name="Freeform 50"/>
              <p:cNvSpPr>
                <a:spLocks noEditPoints="1"/>
              </p:cNvSpPr>
              <p:nvPr/>
            </p:nvSpPr>
            <p:spPr bwMode="auto">
              <a:xfrm>
                <a:off x="568325" y="4538663"/>
                <a:ext cx="539750" cy="493713"/>
              </a:xfrm>
              <a:custGeom>
                <a:avLst/>
                <a:gdLst>
                  <a:gd name="T0" fmla="*/ 160 w 192"/>
                  <a:gd name="T1" fmla="*/ 0 h 176"/>
                  <a:gd name="T2" fmla="*/ 120 w 192"/>
                  <a:gd name="T3" fmla="*/ 0 h 176"/>
                  <a:gd name="T4" fmla="*/ 80 w 192"/>
                  <a:gd name="T5" fmla="*/ 0 h 176"/>
                  <a:gd name="T6" fmla="*/ 40 w 192"/>
                  <a:gd name="T7" fmla="*/ 0 h 176"/>
                  <a:gd name="T8" fmla="*/ 4 w 192"/>
                  <a:gd name="T9" fmla="*/ 0 h 176"/>
                  <a:gd name="T10" fmla="*/ 0 w 192"/>
                  <a:gd name="T11" fmla="*/ 36 h 176"/>
                  <a:gd name="T12" fmla="*/ 0 w 192"/>
                  <a:gd name="T13" fmla="*/ 136 h 176"/>
                  <a:gd name="T14" fmla="*/ 0 w 192"/>
                  <a:gd name="T15" fmla="*/ 172 h 176"/>
                  <a:gd name="T16" fmla="*/ 32 w 192"/>
                  <a:gd name="T17" fmla="*/ 176 h 176"/>
                  <a:gd name="T18" fmla="*/ 72 w 192"/>
                  <a:gd name="T19" fmla="*/ 176 h 176"/>
                  <a:gd name="T20" fmla="*/ 112 w 192"/>
                  <a:gd name="T21" fmla="*/ 176 h 176"/>
                  <a:gd name="T22" fmla="*/ 152 w 192"/>
                  <a:gd name="T23" fmla="*/ 176 h 176"/>
                  <a:gd name="T24" fmla="*/ 188 w 192"/>
                  <a:gd name="T25" fmla="*/ 176 h 176"/>
                  <a:gd name="T26" fmla="*/ 192 w 192"/>
                  <a:gd name="T27" fmla="*/ 140 h 176"/>
                  <a:gd name="T28" fmla="*/ 192 w 192"/>
                  <a:gd name="T29" fmla="*/ 40 h 176"/>
                  <a:gd name="T30" fmla="*/ 192 w 192"/>
                  <a:gd name="T31" fmla="*/ 4 h 176"/>
                  <a:gd name="T32" fmla="*/ 152 w 192"/>
                  <a:gd name="T33" fmla="*/ 8 h 176"/>
                  <a:gd name="T34" fmla="*/ 160 w 192"/>
                  <a:gd name="T35" fmla="*/ 32 h 176"/>
                  <a:gd name="T36" fmla="*/ 152 w 192"/>
                  <a:gd name="T37" fmla="*/ 8 h 176"/>
                  <a:gd name="T38" fmla="*/ 120 w 192"/>
                  <a:gd name="T39" fmla="*/ 8 h 176"/>
                  <a:gd name="T40" fmla="*/ 112 w 192"/>
                  <a:gd name="T41" fmla="*/ 32 h 176"/>
                  <a:gd name="T42" fmla="*/ 72 w 192"/>
                  <a:gd name="T43" fmla="*/ 8 h 176"/>
                  <a:gd name="T44" fmla="*/ 80 w 192"/>
                  <a:gd name="T45" fmla="*/ 32 h 176"/>
                  <a:gd name="T46" fmla="*/ 72 w 192"/>
                  <a:gd name="T47" fmla="*/ 8 h 176"/>
                  <a:gd name="T48" fmla="*/ 40 w 192"/>
                  <a:gd name="T49" fmla="*/ 8 h 176"/>
                  <a:gd name="T50" fmla="*/ 32 w 192"/>
                  <a:gd name="T51" fmla="*/ 32 h 176"/>
                  <a:gd name="T52" fmla="*/ 40 w 192"/>
                  <a:gd name="T53" fmla="*/ 168 h 176"/>
                  <a:gd name="T54" fmla="*/ 32 w 192"/>
                  <a:gd name="T55" fmla="*/ 144 h 176"/>
                  <a:gd name="T56" fmla="*/ 40 w 192"/>
                  <a:gd name="T57" fmla="*/ 168 h 176"/>
                  <a:gd name="T58" fmla="*/ 72 w 192"/>
                  <a:gd name="T59" fmla="*/ 168 h 176"/>
                  <a:gd name="T60" fmla="*/ 80 w 192"/>
                  <a:gd name="T61" fmla="*/ 144 h 176"/>
                  <a:gd name="T62" fmla="*/ 120 w 192"/>
                  <a:gd name="T63" fmla="*/ 168 h 176"/>
                  <a:gd name="T64" fmla="*/ 112 w 192"/>
                  <a:gd name="T65" fmla="*/ 144 h 176"/>
                  <a:gd name="T66" fmla="*/ 120 w 192"/>
                  <a:gd name="T67" fmla="*/ 168 h 176"/>
                  <a:gd name="T68" fmla="*/ 152 w 192"/>
                  <a:gd name="T69" fmla="*/ 168 h 176"/>
                  <a:gd name="T70" fmla="*/ 160 w 192"/>
                  <a:gd name="T71" fmla="*/ 144 h 176"/>
                  <a:gd name="T72" fmla="*/ 184 w 192"/>
                  <a:gd name="T73" fmla="*/ 136 h 176"/>
                  <a:gd name="T74" fmla="*/ 32 w 192"/>
                  <a:gd name="T75" fmla="*/ 136 h 176"/>
                  <a:gd name="T76" fmla="*/ 8 w 192"/>
                  <a:gd name="T77" fmla="*/ 40 h 176"/>
                  <a:gd name="T78" fmla="*/ 160 w 192"/>
                  <a:gd name="T79" fmla="*/ 40 h 176"/>
                  <a:gd name="T80" fmla="*/ 184 w 192"/>
                  <a:gd name="T81" fmla="*/ 13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2" h="176">
                    <a:moveTo>
                      <a:pt x="188" y="0"/>
                    </a:moveTo>
                    <a:cubicBezTo>
                      <a:pt x="160" y="0"/>
                      <a:pt x="160" y="0"/>
                      <a:pt x="160" y="0"/>
                    </a:cubicBezTo>
                    <a:cubicBezTo>
                      <a:pt x="152" y="0"/>
                      <a:pt x="152" y="0"/>
                      <a:pt x="152" y="0"/>
                    </a:cubicBezTo>
                    <a:cubicBezTo>
                      <a:pt x="120" y="0"/>
                      <a:pt x="120" y="0"/>
                      <a:pt x="120" y="0"/>
                    </a:cubicBezTo>
                    <a:cubicBezTo>
                      <a:pt x="112" y="0"/>
                      <a:pt x="112" y="0"/>
                      <a:pt x="112" y="0"/>
                    </a:cubicBezTo>
                    <a:cubicBezTo>
                      <a:pt x="80" y="0"/>
                      <a:pt x="80" y="0"/>
                      <a:pt x="80" y="0"/>
                    </a:cubicBezTo>
                    <a:cubicBezTo>
                      <a:pt x="72" y="0"/>
                      <a:pt x="72" y="0"/>
                      <a:pt x="72" y="0"/>
                    </a:cubicBezTo>
                    <a:cubicBezTo>
                      <a:pt x="40" y="0"/>
                      <a:pt x="40" y="0"/>
                      <a:pt x="40" y="0"/>
                    </a:cubicBezTo>
                    <a:cubicBezTo>
                      <a:pt x="32" y="0"/>
                      <a:pt x="32" y="0"/>
                      <a:pt x="32" y="0"/>
                    </a:cubicBezTo>
                    <a:cubicBezTo>
                      <a:pt x="4" y="0"/>
                      <a:pt x="4" y="0"/>
                      <a:pt x="4" y="0"/>
                    </a:cubicBezTo>
                    <a:cubicBezTo>
                      <a:pt x="2" y="0"/>
                      <a:pt x="0" y="2"/>
                      <a:pt x="0" y="4"/>
                    </a:cubicBezTo>
                    <a:cubicBezTo>
                      <a:pt x="0" y="36"/>
                      <a:pt x="0" y="36"/>
                      <a:pt x="0" y="36"/>
                    </a:cubicBezTo>
                    <a:cubicBezTo>
                      <a:pt x="0" y="40"/>
                      <a:pt x="0" y="40"/>
                      <a:pt x="0" y="40"/>
                    </a:cubicBezTo>
                    <a:cubicBezTo>
                      <a:pt x="0" y="136"/>
                      <a:pt x="0" y="136"/>
                      <a:pt x="0" y="136"/>
                    </a:cubicBezTo>
                    <a:cubicBezTo>
                      <a:pt x="0" y="140"/>
                      <a:pt x="0" y="140"/>
                      <a:pt x="0" y="140"/>
                    </a:cubicBezTo>
                    <a:cubicBezTo>
                      <a:pt x="0" y="172"/>
                      <a:pt x="0" y="172"/>
                      <a:pt x="0" y="172"/>
                    </a:cubicBezTo>
                    <a:cubicBezTo>
                      <a:pt x="0" y="174"/>
                      <a:pt x="2" y="176"/>
                      <a:pt x="4" y="176"/>
                    </a:cubicBezTo>
                    <a:cubicBezTo>
                      <a:pt x="32" y="176"/>
                      <a:pt x="32" y="176"/>
                      <a:pt x="32" y="176"/>
                    </a:cubicBezTo>
                    <a:cubicBezTo>
                      <a:pt x="40" y="176"/>
                      <a:pt x="40" y="176"/>
                      <a:pt x="40" y="176"/>
                    </a:cubicBezTo>
                    <a:cubicBezTo>
                      <a:pt x="72" y="176"/>
                      <a:pt x="72" y="176"/>
                      <a:pt x="72" y="176"/>
                    </a:cubicBezTo>
                    <a:cubicBezTo>
                      <a:pt x="80" y="176"/>
                      <a:pt x="80" y="176"/>
                      <a:pt x="80" y="176"/>
                    </a:cubicBezTo>
                    <a:cubicBezTo>
                      <a:pt x="112" y="176"/>
                      <a:pt x="112" y="176"/>
                      <a:pt x="112" y="176"/>
                    </a:cubicBezTo>
                    <a:cubicBezTo>
                      <a:pt x="120" y="176"/>
                      <a:pt x="120" y="176"/>
                      <a:pt x="120" y="176"/>
                    </a:cubicBezTo>
                    <a:cubicBezTo>
                      <a:pt x="152" y="176"/>
                      <a:pt x="152" y="176"/>
                      <a:pt x="152" y="176"/>
                    </a:cubicBezTo>
                    <a:cubicBezTo>
                      <a:pt x="160" y="176"/>
                      <a:pt x="160" y="176"/>
                      <a:pt x="160" y="176"/>
                    </a:cubicBezTo>
                    <a:cubicBezTo>
                      <a:pt x="188" y="176"/>
                      <a:pt x="188" y="176"/>
                      <a:pt x="188" y="176"/>
                    </a:cubicBezTo>
                    <a:cubicBezTo>
                      <a:pt x="190" y="176"/>
                      <a:pt x="192" y="174"/>
                      <a:pt x="192" y="172"/>
                    </a:cubicBezTo>
                    <a:cubicBezTo>
                      <a:pt x="192" y="140"/>
                      <a:pt x="192" y="140"/>
                      <a:pt x="192" y="140"/>
                    </a:cubicBezTo>
                    <a:cubicBezTo>
                      <a:pt x="192" y="136"/>
                      <a:pt x="192" y="136"/>
                      <a:pt x="192" y="136"/>
                    </a:cubicBezTo>
                    <a:cubicBezTo>
                      <a:pt x="192" y="40"/>
                      <a:pt x="192" y="40"/>
                      <a:pt x="192" y="40"/>
                    </a:cubicBezTo>
                    <a:cubicBezTo>
                      <a:pt x="192" y="36"/>
                      <a:pt x="192" y="36"/>
                      <a:pt x="192" y="36"/>
                    </a:cubicBezTo>
                    <a:cubicBezTo>
                      <a:pt x="192" y="4"/>
                      <a:pt x="192" y="4"/>
                      <a:pt x="192" y="4"/>
                    </a:cubicBezTo>
                    <a:cubicBezTo>
                      <a:pt x="192" y="2"/>
                      <a:pt x="190" y="0"/>
                      <a:pt x="188" y="0"/>
                    </a:cubicBezTo>
                    <a:close/>
                    <a:moveTo>
                      <a:pt x="152" y="8"/>
                    </a:moveTo>
                    <a:cubicBezTo>
                      <a:pt x="160" y="8"/>
                      <a:pt x="160" y="8"/>
                      <a:pt x="160" y="8"/>
                    </a:cubicBezTo>
                    <a:cubicBezTo>
                      <a:pt x="160" y="32"/>
                      <a:pt x="160" y="32"/>
                      <a:pt x="160" y="32"/>
                    </a:cubicBezTo>
                    <a:cubicBezTo>
                      <a:pt x="152" y="32"/>
                      <a:pt x="152" y="32"/>
                      <a:pt x="152" y="32"/>
                    </a:cubicBezTo>
                    <a:lnTo>
                      <a:pt x="152" y="8"/>
                    </a:lnTo>
                    <a:close/>
                    <a:moveTo>
                      <a:pt x="112" y="8"/>
                    </a:moveTo>
                    <a:cubicBezTo>
                      <a:pt x="120" y="8"/>
                      <a:pt x="120" y="8"/>
                      <a:pt x="120" y="8"/>
                    </a:cubicBezTo>
                    <a:cubicBezTo>
                      <a:pt x="120" y="32"/>
                      <a:pt x="120" y="32"/>
                      <a:pt x="120" y="32"/>
                    </a:cubicBezTo>
                    <a:cubicBezTo>
                      <a:pt x="112" y="32"/>
                      <a:pt x="112" y="32"/>
                      <a:pt x="112" y="32"/>
                    </a:cubicBezTo>
                    <a:lnTo>
                      <a:pt x="112" y="8"/>
                    </a:lnTo>
                    <a:close/>
                    <a:moveTo>
                      <a:pt x="72" y="8"/>
                    </a:moveTo>
                    <a:cubicBezTo>
                      <a:pt x="80" y="8"/>
                      <a:pt x="80" y="8"/>
                      <a:pt x="80" y="8"/>
                    </a:cubicBezTo>
                    <a:cubicBezTo>
                      <a:pt x="80" y="32"/>
                      <a:pt x="80" y="32"/>
                      <a:pt x="80" y="32"/>
                    </a:cubicBezTo>
                    <a:cubicBezTo>
                      <a:pt x="72" y="32"/>
                      <a:pt x="72" y="32"/>
                      <a:pt x="72" y="32"/>
                    </a:cubicBezTo>
                    <a:lnTo>
                      <a:pt x="72" y="8"/>
                    </a:lnTo>
                    <a:close/>
                    <a:moveTo>
                      <a:pt x="32" y="8"/>
                    </a:moveTo>
                    <a:cubicBezTo>
                      <a:pt x="40" y="8"/>
                      <a:pt x="40" y="8"/>
                      <a:pt x="40" y="8"/>
                    </a:cubicBezTo>
                    <a:cubicBezTo>
                      <a:pt x="40" y="32"/>
                      <a:pt x="40" y="32"/>
                      <a:pt x="40" y="32"/>
                    </a:cubicBezTo>
                    <a:cubicBezTo>
                      <a:pt x="32" y="32"/>
                      <a:pt x="32" y="32"/>
                      <a:pt x="32" y="32"/>
                    </a:cubicBezTo>
                    <a:lnTo>
                      <a:pt x="32" y="8"/>
                    </a:lnTo>
                    <a:close/>
                    <a:moveTo>
                      <a:pt x="40" y="168"/>
                    </a:moveTo>
                    <a:cubicBezTo>
                      <a:pt x="32" y="168"/>
                      <a:pt x="32" y="168"/>
                      <a:pt x="32" y="168"/>
                    </a:cubicBezTo>
                    <a:cubicBezTo>
                      <a:pt x="32" y="144"/>
                      <a:pt x="32" y="144"/>
                      <a:pt x="32" y="144"/>
                    </a:cubicBezTo>
                    <a:cubicBezTo>
                      <a:pt x="40" y="144"/>
                      <a:pt x="40" y="144"/>
                      <a:pt x="40" y="144"/>
                    </a:cubicBezTo>
                    <a:lnTo>
                      <a:pt x="40" y="168"/>
                    </a:lnTo>
                    <a:close/>
                    <a:moveTo>
                      <a:pt x="80" y="168"/>
                    </a:moveTo>
                    <a:cubicBezTo>
                      <a:pt x="72" y="168"/>
                      <a:pt x="72" y="168"/>
                      <a:pt x="72" y="168"/>
                    </a:cubicBezTo>
                    <a:cubicBezTo>
                      <a:pt x="72" y="144"/>
                      <a:pt x="72" y="144"/>
                      <a:pt x="72" y="144"/>
                    </a:cubicBezTo>
                    <a:cubicBezTo>
                      <a:pt x="80" y="144"/>
                      <a:pt x="80" y="144"/>
                      <a:pt x="80" y="144"/>
                    </a:cubicBezTo>
                    <a:lnTo>
                      <a:pt x="80" y="168"/>
                    </a:lnTo>
                    <a:close/>
                    <a:moveTo>
                      <a:pt x="120" y="168"/>
                    </a:moveTo>
                    <a:cubicBezTo>
                      <a:pt x="112" y="168"/>
                      <a:pt x="112" y="168"/>
                      <a:pt x="112" y="168"/>
                    </a:cubicBezTo>
                    <a:cubicBezTo>
                      <a:pt x="112" y="144"/>
                      <a:pt x="112" y="144"/>
                      <a:pt x="112" y="144"/>
                    </a:cubicBezTo>
                    <a:cubicBezTo>
                      <a:pt x="120" y="144"/>
                      <a:pt x="120" y="144"/>
                      <a:pt x="120" y="144"/>
                    </a:cubicBezTo>
                    <a:lnTo>
                      <a:pt x="120" y="168"/>
                    </a:lnTo>
                    <a:close/>
                    <a:moveTo>
                      <a:pt x="160" y="168"/>
                    </a:moveTo>
                    <a:cubicBezTo>
                      <a:pt x="152" y="168"/>
                      <a:pt x="152" y="168"/>
                      <a:pt x="152" y="168"/>
                    </a:cubicBezTo>
                    <a:cubicBezTo>
                      <a:pt x="152" y="144"/>
                      <a:pt x="152" y="144"/>
                      <a:pt x="152" y="144"/>
                    </a:cubicBezTo>
                    <a:cubicBezTo>
                      <a:pt x="160" y="144"/>
                      <a:pt x="160" y="144"/>
                      <a:pt x="160" y="144"/>
                    </a:cubicBezTo>
                    <a:lnTo>
                      <a:pt x="160" y="168"/>
                    </a:lnTo>
                    <a:close/>
                    <a:moveTo>
                      <a:pt x="184" y="136"/>
                    </a:moveTo>
                    <a:cubicBezTo>
                      <a:pt x="160" y="136"/>
                      <a:pt x="160" y="136"/>
                      <a:pt x="160" y="136"/>
                    </a:cubicBezTo>
                    <a:cubicBezTo>
                      <a:pt x="32" y="136"/>
                      <a:pt x="32" y="136"/>
                      <a:pt x="32" y="136"/>
                    </a:cubicBezTo>
                    <a:cubicBezTo>
                      <a:pt x="8" y="136"/>
                      <a:pt x="8" y="136"/>
                      <a:pt x="8" y="136"/>
                    </a:cubicBezTo>
                    <a:cubicBezTo>
                      <a:pt x="8" y="40"/>
                      <a:pt x="8" y="40"/>
                      <a:pt x="8" y="40"/>
                    </a:cubicBezTo>
                    <a:cubicBezTo>
                      <a:pt x="32" y="40"/>
                      <a:pt x="32" y="40"/>
                      <a:pt x="32" y="40"/>
                    </a:cubicBezTo>
                    <a:cubicBezTo>
                      <a:pt x="160" y="40"/>
                      <a:pt x="160" y="40"/>
                      <a:pt x="160" y="40"/>
                    </a:cubicBezTo>
                    <a:cubicBezTo>
                      <a:pt x="184" y="40"/>
                      <a:pt x="184" y="40"/>
                      <a:pt x="184" y="40"/>
                    </a:cubicBezTo>
                    <a:lnTo>
                      <a:pt x="184" y="13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4" name="组合 3"/>
          <p:cNvGrpSpPr/>
          <p:nvPr/>
        </p:nvGrpSpPr>
        <p:grpSpPr>
          <a:xfrm>
            <a:off x="1498003" y="1038813"/>
            <a:ext cx="1179441" cy="1368152"/>
            <a:chOff x="1498003" y="1038813"/>
            <a:chExt cx="1179441" cy="1368152"/>
          </a:xfrm>
        </p:grpSpPr>
        <p:sp>
          <p:nvSpPr>
            <p:cNvPr id="5" name="六边形 4"/>
            <p:cNvSpPr/>
            <p:nvPr/>
          </p:nvSpPr>
          <p:spPr>
            <a:xfrm rot="5400000">
              <a:off x="1403648" y="1133168"/>
              <a:ext cx="1368152" cy="1179441"/>
            </a:xfrm>
            <a:prstGeom prst="hexagon">
              <a:avLst/>
            </a:prstGeom>
            <a:solidFill>
              <a:srgbClr val="800080"/>
            </a:solidFill>
            <a:ln w="38100">
              <a:solidFill>
                <a:srgbClr val="800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7" name="组合 16"/>
            <p:cNvGrpSpPr/>
            <p:nvPr/>
          </p:nvGrpSpPr>
          <p:grpSpPr>
            <a:xfrm>
              <a:off x="1817849" y="1441108"/>
              <a:ext cx="539750" cy="539750"/>
              <a:chOff x="1895475" y="4516438"/>
              <a:chExt cx="539750" cy="539750"/>
            </a:xfrm>
          </p:grpSpPr>
          <p:sp>
            <p:nvSpPr>
              <p:cNvPr id="18" name="Freeform 51"/>
              <p:cNvSpPr>
                <a:spLocks noEditPoints="1"/>
              </p:cNvSpPr>
              <p:nvPr/>
            </p:nvSpPr>
            <p:spPr bwMode="auto">
              <a:xfrm>
                <a:off x="1895475" y="4516438"/>
                <a:ext cx="539750" cy="269875"/>
              </a:xfrm>
              <a:custGeom>
                <a:avLst/>
                <a:gdLst>
                  <a:gd name="T0" fmla="*/ 189 w 192"/>
                  <a:gd name="T1" fmla="*/ 39 h 96"/>
                  <a:gd name="T2" fmla="*/ 191 w 192"/>
                  <a:gd name="T3" fmla="*/ 38 h 96"/>
                  <a:gd name="T4" fmla="*/ 192 w 192"/>
                  <a:gd name="T5" fmla="*/ 36 h 96"/>
                  <a:gd name="T6" fmla="*/ 189 w 192"/>
                  <a:gd name="T7" fmla="*/ 4 h 96"/>
                  <a:gd name="T8" fmla="*/ 185 w 192"/>
                  <a:gd name="T9" fmla="*/ 0 h 96"/>
                  <a:gd name="T10" fmla="*/ 102 w 192"/>
                  <a:gd name="T11" fmla="*/ 7 h 96"/>
                  <a:gd name="T12" fmla="*/ 55 w 192"/>
                  <a:gd name="T13" fmla="*/ 12 h 96"/>
                  <a:gd name="T14" fmla="*/ 4 w 192"/>
                  <a:gd name="T15" fmla="*/ 16 h 96"/>
                  <a:gd name="T16" fmla="*/ 2 w 192"/>
                  <a:gd name="T17" fmla="*/ 17 h 96"/>
                  <a:gd name="T18" fmla="*/ 1 w 192"/>
                  <a:gd name="T19" fmla="*/ 18 h 96"/>
                  <a:gd name="T20" fmla="*/ 0 w 192"/>
                  <a:gd name="T21" fmla="*/ 19 h 96"/>
                  <a:gd name="T22" fmla="*/ 0 w 192"/>
                  <a:gd name="T23" fmla="*/ 19 h 96"/>
                  <a:gd name="T24" fmla="*/ 0 w 192"/>
                  <a:gd name="T25" fmla="*/ 21 h 96"/>
                  <a:gd name="T26" fmla="*/ 4 w 192"/>
                  <a:gd name="T27" fmla="*/ 55 h 96"/>
                  <a:gd name="T28" fmla="*/ 4 w 192"/>
                  <a:gd name="T29" fmla="*/ 56 h 96"/>
                  <a:gd name="T30" fmla="*/ 3 w 192"/>
                  <a:gd name="T31" fmla="*/ 56 h 96"/>
                  <a:gd name="T32" fmla="*/ 0 w 192"/>
                  <a:gd name="T33" fmla="*/ 58 h 96"/>
                  <a:gd name="T34" fmla="*/ 0 w 192"/>
                  <a:gd name="T35" fmla="*/ 60 h 96"/>
                  <a:gd name="T36" fmla="*/ 0 w 192"/>
                  <a:gd name="T37" fmla="*/ 96 h 96"/>
                  <a:gd name="T38" fmla="*/ 8 w 192"/>
                  <a:gd name="T39" fmla="*/ 96 h 96"/>
                  <a:gd name="T40" fmla="*/ 188 w 192"/>
                  <a:gd name="T41" fmla="*/ 96 h 96"/>
                  <a:gd name="T42" fmla="*/ 192 w 192"/>
                  <a:gd name="T43" fmla="*/ 92 h 96"/>
                  <a:gd name="T44" fmla="*/ 188 w 192"/>
                  <a:gd name="T45" fmla="*/ 56 h 96"/>
                  <a:gd name="T46" fmla="*/ 188 w 192"/>
                  <a:gd name="T47" fmla="*/ 40 h 96"/>
                  <a:gd name="T48" fmla="*/ 184 w 192"/>
                  <a:gd name="T49" fmla="*/ 82 h 96"/>
                  <a:gd name="T50" fmla="*/ 178 w 192"/>
                  <a:gd name="T51" fmla="*/ 88 h 96"/>
                  <a:gd name="T52" fmla="*/ 166 w 192"/>
                  <a:gd name="T53" fmla="*/ 64 h 96"/>
                  <a:gd name="T54" fmla="*/ 138 w 192"/>
                  <a:gd name="T55" fmla="*/ 88 h 96"/>
                  <a:gd name="T56" fmla="*/ 102 w 192"/>
                  <a:gd name="T57" fmla="*/ 64 h 96"/>
                  <a:gd name="T58" fmla="*/ 66 w 192"/>
                  <a:gd name="T59" fmla="*/ 64 h 96"/>
                  <a:gd name="T60" fmla="*/ 78 w 192"/>
                  <a:gd name="T61" fmla="*/ 88 h 96"/>
                  <a:gd name="T62" fmla="*/ 66 w 192"/>
                  <a:gd name="T63" fmla="*/ 64 h 96"/>
                  <a:gd name="T64" fmla="*/ 26 w 192"/>
                  <a:gd name="T65" fmla="*/ 88 h 96"/>
                  <a:gd name="T66" fmla="*/ 8 w 192"/>
                  <a:gd name="T67" fmla="*/ 64 h 96"/>
                  <a:gd name="T68" fmla="*/ 38 w 192"/>
                  <a:gd name="T69" fmla="*/ 88 h 96"/>
                  <a:gd name="T70" fmla="*/ 9 w 192"/>
                  <a:gd name="T71" fmla="*/ 24 h 96"/>
                  <a:gd name="T72" fmla="*/ 40 w 192"/>
                  <a:gd name="T73" fmla="*/ 45 h 96"/>
                  <a:gd name="T74" fmla="*/ 9 w 192"/>
                  <a:gd name="T75" fmla="*/ 30 h 96"/>
                  <a:gd name="T76" fmla="*/ 65 w 192"/>
                  <a:gd name="T77" fmla="*/ 19 h 96"/>
                  <a:gd name="T78" fmla="*/ 80 w 192"/>
                  <a:gd name="T79" fmla="*/ 41 h 96"/>
                  <a:gd name="T80" fmla="*/ 101 w 192"/>
                  <a:gd name="T81" fmla="*/ 15 h 96"/>
                  <a:gd name="T82" fmla="*/ 138 w 192"/>
                  <a:gd name="T83" fmla="*/ 36 h 96"/>
                  <a:gd name="T84" fmla="*/ 101 w 192"/>
                  <a:gd name="T85" fmla="*/ 15 h 96"/>
                  <a:gd name="T86" fmla="*/ 164 w 192"/>
                  <a:gd name="T87" fmla="*/ 10 h 96"/>
                  <a:gd name="T88" fmla="*/ 184 w 192"/>
                  <a:gd name="T89" fmla="*/ 32 h 96"/>
                  <a:gd name="T90" fmla="*/ 153 w 192"/>
                  <a:gd name="T91"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96">
                    <a:moveTo>
                      <a:pt x="188" y="40"/>
                    </a:moveTo>
                    <a:cubicBezTo>
                      <a:pt x="188" y="40"/>
                      <a:pt x="188" y="40"/>
                      <a:pt x="189" y="39"/>
                    </a:cubicBezTo>
                    <a:cubicBezTo>
                      <a:pt x="189" y="39"/>
                      <a:pt x="190" y="39"/>
                      <a:pt x="190" y="39"/>
                    </a:cubicBezTo>
                    <a:cubicBezTo>
                      <a:pt x="190" y="39"/>
                      <a:pt x="191" y="39"/>
                      <a:pt x="191" y="38"/>
                    </a:cubicBezTo>
                    <a:cubicBezTo>
                      <a:pt x="192" y="38"/>
                      <a:pt x="192" y="37"/>
                      <a:pt x="192" y="36"/>
                    </a:cubicBezTo>
                    <a:cubicBezTo>
                      <a:pt x="192" y="36"/>
                      <a:pt x="192" y="36"/>
                      <a:pt x="192" y="36"/>
                    </a:cubicBezTo>
                    <a:cubicBezTo>
                      <a:pt x="192" y="35"/>
                      <a:pt x="192" y="35"/>
                      <a:pt x="192" y="35"/>
                    </a:cubicBezTo>
                    <a:cubicBezTo>
                      <a:pt x="189" y="4"/>
                      <a:pt x="189" y="4"/>
                      <a:pt x="189" y="4"/>
                    </a:cubicBezTo>
                    <a:cubicBezTo>
                      <a:pt x="189" y="2"/>
                      <a:pt x="189" y="1"/>
                      <a:pt x="188" y="1"/>
                    </a:cubicBezTo>
                    <a:cubicBezTo>
                      <a:pt x="187" y="0"/>
                      <a:pt x="186" y="0"/>
                      <a:pt x="185" y="0"/>
                    </a:cubicBezTo>
                    <a:cubicBezTo>
                      <a:pt x="103" y="7"/>
                      <a:pt x="103" y="7"/>
                      <a:pt x="103" y="7"/>
                    </a:cubicBezTo>
                    <a:cubicBezTo>
                      <a:pt x="102" y="7"/>
                      <a:pt x="102" y="7"/>
                      <a:pt x="102" y="7"/>
                    </a:cubicBezTo>
                    <a:cubicBezTo>
                      <a:pt x="55" y="12"/>
                      <a:pt x="55" y="12"/>
                      <a:pt x="55" y="12"/>
                    </a:cubicBezTo>
                    <a:cubicBezTo>
                      <a:pt x="55" y="12"/>
                      <a:pt x="55" y="12"/>
                      <a:pt x="55" y="12"/>
                    </a:cubicBezTo>
                    <a:cubicBezTo>
                      <a:pt x="4" y="16"/>
                      <a:pt x="4" y="16"/>
                      <a:pt x="4" y="16"/>
                    </a:cubicBezTo>
                    <a:cubicBezTo>
                      <a:pt x="4" y="16"/>
                      <a:pt x="4" y="16"/>
                      <a:pt x="4" y="16"/>
                    </a:cubicBezTo>
                    <a:cubicBezTo>
                      <a:pt x="3" y="16"/>
                      <a:pt x="3" y="16"/>
                      <a:pt x="3" y="16"/>
                    </a:cubicBezTo>
                    <a:cubicBezTo>
                      <a:pt x="3" y="17"/>
                      <a:pt x="3" y="17"/>
                      <a:pt x="2" y="17"/>
                    </a:cubicBezTo>
                    <a:cubicBezTo>
                      <a:pt x="2" y="17"/>
                      <a:pt x="2" y="17"/>
                      <a:pt x="1" y="18"/>
                    </a:cubicBezTo>
                    <a:cubicBezTo>
                      <a:pt x="1" y="18"/>
                      <a:pt x="1" y="18"/>
                      <a:pt x="1" y="18"/>
                    </a:cubicBezTo>
                    <a:cubicBezTo>
                      <a:pt x="1" y="18"/>
                      <a:pt x="1" y="18"/>
                      <a:pt x="1" y="18"/>
                    </a:cubicBezTo>
                    <a:cubicBezTo>
                      <a:pt x="1" y="18"/>
                      <a:pt x="0" y="19"/>
                      <a:pt x="0" y="19"/>
                    </a:cubicBezTo>
                    <a:cubicBezTo>
                      <a:pt x="0" y="19"/>
                      <a:pt x="0" y="19"/>
                      <a:pt x="0" y="19"/>
                    </a:cubicBezTo>
                    <a:cubicBezTo>
                      <a:pt x="0" y="19"/>
                      <a:pt x="0" y="19"/>
                      <a:pt x="0" y="19"/>
                    </a:cubicBezTo>
                    <a:cubicBezTo>
                      <a:pt x="0" y="20"/>
                      <a:pt x="0" y="20"/>
                      <a:pt x="0" y="21"/>
                    </a:cubicBezTo>
                    <a:cubicBezTo>
                      <a:pt x="0" y="21"/>
                      <a:pt x="0" y="21"/>
                      <a:pt x="0" y="21"/>
                    </a:cubicBezTo>
                    <a:cubicBezTo>
                      <a:pt x="3" y="52"/>
                      <a:pt x="3" y="52"/>
                      <a:pt x="3" y="52"/>
                    </a:cubicBezTo>
                    <a:cubicBezTo>
                      <a:pt x="3" y="53"/>
                      <a:pt x="4" y="54"/>
                      <a:pt x="4" y="55"/>
                    </a:cubicBezTo>
                    <a:cubicBezTo>
                      <a:pt x="5" y="56"/>
                      <a:pt x="6" y="56"/>
                      <a:pt x="7" y="56"/>
                    </a:cubicBezTo>
                    <a:cubicBezTo>
                      <a:pt x="4" y="56"/>
                      <a:pt x="4" y="56"/>
                      <a:pt x="4" y="56"/>
                    </a:cubicBezTo>
                    <a:cubicBezTo>
                      <a:pt x="4" y="56"/>
                      <a:pt x="3" y="56"/>
                      <a:pt x="3" y="56"/>
                    </a:cubicBezTo>
                    <a:cubicBezTo>
                      <a:pt x="3" y="56"/>
                      <a:pt x="3" y="56"/>
                      <a:pt x="3" y="56"/>
                    </a:cubicBezTo>
                    <a:cubicBezTo>
                      <a:pt x="2" y="56"/>
                      <a:pt x="2" y="57"/>
                      <a:pt x="1" y="57"/>
                    </a:cubicBezTo>
                    <a:cubicBezTo>
                      <a:pt x="1" y="57"/>
                      <a:pt x="1" y="58"/>
                      <a:pt x="0" y="58"/>
                    </a:cubicBezTo>
                    <a:cubicBezTo>
                      <a:pt x="0" y="59"/>
                      <a:pt x="0" y="59"/>
                      <a:pt x="0" y="59"/>
                    </a:cubicBezTo>
                    <a:cubicBezTo>
                      <a:pt x="0" y="59"/>
                      <a:pt x="0" y="60"/>
                      <a:pt x="0" y="60"/>
                    </a:cubicBezTo>
                    <a:cubicBezTo>
                      <a:pt x="0" y="92"/>
                      <a:pt x="0" y="92"/>
                      <a:pt x="0" y="92"/>
                    </a:cubicBezTo>
                    <a:cubicBezTo>
                      <a:pt x="0" y="96"/>
                      <a:pt x="0" y="96"/>
                      <a:pt x="0" y="96"/>
                    </a:cubicBezTo>
                    <a:cubicBezTo>
                      <a:pt x="4" y="96"/>
                      <a:pt x="4" y="96"/>
                      <a:pt x="4" y="96"/>
                    </a:cubicBezTo>
                    <a:cubicBezTo>
                      <a:pt x="8" y="96"/>
                      <a:pt x="8" y="96"/>
                      <a:pt x="8" y="96"/>
                    </a:cubicBezTo>
                    <a:cubicBezTo>
                      <a:pt x="184" y="96"/>
                      <a:pt x="184" y="96"/>
                      <a:pt x="184" y="96"/>
                    </a:cubicBezTo>
                    <a:cubicBezTo>
                      <a:pt x="188" y="96"/>
                      <a:pt x="188" y="96"/>
                      <a:pt x="188" y="96"/>
                    </a:cubicBezTo>
                    <a:cubicBezTo>
                      <a:pt x="192" y="96"/>
                      <a:pt x="192" y="96"/>
                      <a:pt x="192" y="96"/>
                    </a:cubicBezTo>
                    <a:cubicBezTo>
                      <a:pt x="192" y="92"/>
                      <a:pt x="192" y="92"/>
                      <a:pt x="192" y="92"/>
                    </a:cubicBezTo>
                    <a:cubicBezTo>
                      <a:pt x="192" y="60"/>
                      <a:pt x="192" y="60"/>
                      <a:pt x="192" y="60"/>
                    </a:cubicBezTo>
                    <a:cubicBezTo>
                      <a:pt x="192" y="58"/>
                      <a:pt x="190" y="56"/>
                      <a:pt x="188" y="56"/>
                    </a:cubicBezTo>
                    <a:cubicBezTo>
                      <a:pt x="7" y="56"/>
                      <a:pt x="7" y="56"/>
                      <a:pt x="7" y="56"/>
                    </a:cubicBezTo>
                    <a:cubicBezTo>
                      <a:pt x="188" y="40"/>
                      <a:pt x="188" y="40"/>
                      <a:pt x="188" y="40"/>
                    </a:cubicBezTo>
                    <a:close/>
                    <a:moveTo>
                      <a:pt x="166" y="64"/>
                    </a:moveTo>
                    <a:cubicBezTo>
                      <a:pt x="184" y="82"/>
                      <a:pt x="184" y="82"/>
                      <a:pt x="184" y="82"/>
                    </a:cubicBezTo>
                    <a:cubicBezTo>
                      <a:pt x="184" y="88"/>
                      <a:pt x="184" y="88"/>
                      <a:pt x="184" y="88"/>
                    </a:cubicBezTo>
                    <a:cubicBezTo>
                      <a:pt x="178" y="88"/>
                      <a:pt x="178" y="88"/>
                      <a:pt x="178" y="88"/>
                    </a:cubicBezTo>
                    <a:cubicBezTo>
                      <a:pt x="154" y="64"/>
                      <a:pt x="154" y="64"/>
                      <a:pt x="154" y="64"/>
                    </a:cubicBezTo>
                    <a:lnTo>
                      <a:pt x="166" y="64"/>
                    </a:lnTo>
                    <a:close/>
                    <a:moveTo>
                      <a:pt x="114" y="64"/>
                    </a:moveTo>
                    <a:cubicBezTo>
                      <a:pt x="138" y="88"/>
                      <a:pt x="138" y="88"/>
                      <a:pt x="138" y="88"/>
                    </a:cubicBezTo>
                    <a:cubicBezTo>
                      <a:pt x="126" y="88"/>
                      <a:pt x="126" y="88"/>
                      <a:pt x="126" y="88"/>
                    </a:cubicBezTo>
                    <a:cubicBezTo>
                      <a:pt x="102" y="64"/>
                      <a:pt x="102" y="64"/>
                      <a:pt x="102" y="64"/>
                    </a:cubicBezTo>
                    <a:lnTo>
                      <a:pt x="114" y="64"/>
                    </a:lnTo>
                    <a:close/>
                    <a:moveTo>
                      <a:pt x="66" y="64"/>
                    </a:moveTo>
                    <a:cubicBezTo>
                      <a:pt x="90" y="88"/>
                      <a:pt x="90" y="88"/>
                      <a:pt x="90" y="88"/>
                    </a:cubicBezTo>
                    <a:cubicBezTo>
                      <a:pt x="78" y="88"/>
                      <a:pt x="78" y="88"/>
                      <a:pt x="78" y="88"/>
                    </a:cubicBezTo>
                    <a:cubicBezTo>
                      <a:pt x="54" y="64"/>
                      <a:pt x="54" y="64"/>
                      <a:pt x="54" y="64"/>
                    </a:cubicBezTo>
                    <a:lnTo>
                      <a:pt x="66" y="64"/>
                    </a:lnTo>
                    <a:close/>
                    <a:moveTo>
                      <a:pt x="38" y="88"/>
                    </a:moveTo>
                    <a:cubicBezTo>
                      <a:pt x="26" y="88"/>
                      <a:pt x="26" y="88"/>
                      <a:pt x="26" y="88"/>
                    </a:cubicBezTo>
                    <a:cubicBezTo>
                      <a:pt x="8" y="70"/>
                      <a:pt x="8" y="70"/>
                      <a:pt x="8" y="70"/>
                    </a:cubicBezTo>
                    <a:cubicBezTo>
                      <a:pt x="8" y="64"/>
                      <a:pt x="8" y="64"/>
                      <a:pt x="8" y="64"/>
                    </a:cubicBezTo>
                    <a:cubicBezTo>
                      <a:pt x="14" y="64"/>
                      <a:pt x="14" y="64"/>
                      <a:pt x="14" y="64"/>
                    </a:cubicBezTo>
                    <a:lnTo>
                      <a:pt x="38" y="88"/>
                    </a:lnTo>
                    <a:close/>
                    <a:moveTo>
                      <a:pt x="9" y="30"/>
                    </a:moveTo>
                    <a:cubicBezTo>
                      <a:pt x="9" y="24"/>
                      <a:pt x="9" y="24"/>
                      <a:pt x="9" y="24"/>
                    </a:cubicBezTo>
                    <a:cubicBezTo>
                      <a:pt x="14" y="23"/>
                      <a:pt x="14" y="23"/>
                      <a:pt x="14" y="23"/>
                    </a:cubicBezTo>
                    <a:cubicBezTo>
                      <a:pt x="40" y="45"/>
                      <a:pt x="40" y="45"/>
                      <a:pt x="40" y="45"/>
                    </a:cubicBezTo>
                    <a:cubicBezTo>
                      <a:pt x="29" y="46"/>
                      <a:pt x="29" y="46"/>
                      <a:pt x="29" y="46"/>
                    </a:cubicBezTo>
                    <a:lnTo>
                      <a:pt x="9" y="30"/>
                    </a:lnTo>
                    <a:close/>
                    <a:moveTo>
                      <a:pt x="54" y="20"/>
                    </a:moveTo>
                    <a:cubicBezTo>
                      <a:pt x="65" y="19"/>
                      <a:pt x="65" y="19"/>
                      <a:pt x="65" y="19"/>
                    </a:cubicBezTo>
                    <a:cubicBezTo>
                      <a:pt x="91" y="40"/>
                      <a:pt x="91" y="40"/>
                      <a:pt x="91" y="40"/>
                    </a:cubicBezTo>
                    <a:cubicBezTo>
                      <a:pt x="80" y="41"/>
                      <a:pt x="80" y="41"/>
                      <a:pt x="80" y="41"/>
                    </a:cubicBezTo>
                    <a:lnTo>
                      <a:pt x="54" y="20"/>
                    </a:lnTo>
                    <a:close/>
                    <a:moveTo>
                      <a:pt x="101" y="15"/>
                    </a:moveTo>
                    <a:cubicBezTo>
                      <a:pt x="113" y="14"/>
                      <a:pt x="113" y="14"/>
                      <a:pt x="113" y="14"/>
                    </a:cubicBezTo>
                    <a:cubicBezTo>
                      <a:pt x="138" y="36"/>
                      <a:pt x="138" y="36"/>
                      <a:pt x="138" y="36"/>
                    </a:cubicBezTo>
                    <a:cubicBezTo>
                      <a:pt x="127" y="37"/>
                      <a:pt x="127" y="37"/>
                      <a:pt x="127" y="37"/>
                    </a:cubicBezTo>
                    <a:lnTo>
                      <a:pt x="101" y="15"/>
                    </a:lnTo>
                    <a:close/>
                    <a:moveTo>
                      <a:pt x="153" y="11"/>
                    </a:moveTo>
                    <a:cubicBezTo>
                      <a:pt x="164" y="10"/>
                      <a:pt x="164" y="10"/>
                      <a:pt x="164" y="10"/>
                    </a:cubicBezTo>
                    <a:cubicBezTo>
                      <a:pt x="183" y="26"/>
                      <a:pt x="183" y="26"/>
                      <a:pt x="183" y="26"/>
                    </a:cubicBezTo>
                    <a:cubicBezTo>
                      <a:pt x="184" y="32"/>
                      <a:pt x="184" y="32"/>
                      <a:pt x="184" y="32"/>
                    </a:cubicBezTo>
                    <a:cubicBezTo>
                      <a:pt x="178" y="32"/>
                      <a:pt x="178" y="32"/>
                      <a:pt x="178" y="32"/>
                    </a:cubicBezTo>
                    <a:lnTo>
                      <a:pt x="153" y="11"/>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 name="Freeform 52"/>
              <p:cNvSpPr>
                <a:spLocks noEditPoints="1"/>
              </p:cNvSpPr>
              <p:nvPr/>
            </p:nvSpPr>
            <p:spPr bwMode="auto">
              <a:xfrm>
                <a:off x="1895475" y="4808538"/>
                <a:ext cx="539750" cy="247650"/>
              </a:xfrm>
              <a:custGeom>
                <a:avLst/>
                <a:gdLst>
                  <a:gd name="T0" fmla="*/ 0 w 192"/>
                  <a:gd name="T1" fmla="*/ 68 h 88"/>
                  <a:gd name="T2" fmla="*/ 20 w 192"/>
                  <a:gd name="T3" fmla="*/ 88 h 88"/>
                  <a:gd name="T4" fmla="*/ 172 w 192"/>
                  <a:gd name="T5" fmla="*/ 88 h 88"/>
                  <a:gd name="T6" fmla="*/ 192 w 192"/>
                  <a:gd name="T7" fmla="*/ 68 h 88"/>
                  <a:gd name="T8" fmla="*/ 192 w 192"/>
                  <a:gd name="T9" fmla="*/ 0 h 88"/>
                  <a:gd name="T10" fmla="*/ 0 w 192"/>
                  <a:gd name="T11" fmla="*/ 0 h 88"/>
                  <a:gd name="T12" fmla="*/ 0 w 192"/>
                  <a:gd name="T13" fmla="*/ 68 h 88"/>
                  <a:gd name="T14" fmla="*/ 36 w 192"/>
                  <a:gd name="T15" fmla="*/ 16 h 88"/>
                  <a:gd name="T16" fmla="*/ 156 w 192"/>
                  <a:gd name="T17" fmla="*/ 16 h 88"/>
                  <a:gd name="T18" fmla="*/ 160 w 192"/>
                  <a:gd name="T19" fmla="*/ 20 h 88"/>
                  <a:gd name="T20" fmla="*/ 156 w 192"/>
                  <a:gd name="T21" fmla="*/ 24 h 88"/>
                  <a:gd name="T22" fmla="*/ 36 w 192"/>
                  <a:gd name="T23" fmla="*/ 24 h 88"/>
                  <a:gd name="T24" fmla="*/ 32 w 192"/>
                  <a:gd name="T25" fmla="*/ 20 h 88"/>
                  <a:gd name="T26" fmla="*/ 36 w 192"/>
                  <a:gd name="T27" fmla="*/ 16 h 88"/>
                  <a:gd name="T28" fmla="*/ 36 w 192"/>
                  <a:gd name="T29" fmla="*/ 40 h 88"/>
                  <a:gd name="T30" fmla="*/ 156 w 192"/>
                  <a:gd name="T31" fmla="*/ 40 h 88"/>
                  <a:gd name="T32" fmla="*/ 160 w 192"/>
                  <a:gd name="T33" fmla="*/ 44 h 88"/>
                  <a:gd name="T34" fmla="*/ 156 w 192"/>
                  <a:gd name="T35" fmla="*/ 48 h 88"/>
                  <a:gd name="T36" fmla="*/ 36 w 192"/>
                  <a:gd name="T37" fmla="*/ 48 h 88"/>
                  <a:gd name="T38" fmla="*/ 32 w 192"/>
                  <a:gd name="T39" fmla="*/ 44 h 88"/>
                  <a:gd name="T40" fmla="*/ 36 w 192"/>
                  <a:gd name="T41"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88">
                    <a:moveTo>
                      <a:pt x="0" y="68"/>
                    </a:moveTo>
                    <a:cubicBezTo>
                      <a:pt x="0" y="79"/>
                      <a:pt x="9" y="88"/>
                      <a:pt x="20" y="88"/>
                    </a:cubicBezTo>
                    <a:cubicBezTo>
                      <a:pt x="172" y="88"/>
                      <a:pt x="172" y="88"/>
                      <a:pt x="172" y="88"/>
                    </a:cubicBezTo>
                    <a:cubicBezTo>
                      <a:pt x="183" y="88"/>
                      <a:pt x="192" y="79"/>
                      <a:pt x="192" y="68"/>
                    </a:cubicBezTo>
                    <a:cubicBezTo>
                      <a:pt x="192" y="0"/>
                      <a:pt x="192" y="0"/>
                      <a:pt x="192" y="0"/>
                    </a:cubicBezTo>
                    <a:cubicBezTo>
                      <a:pt x="0" y="0"/>
                      <a:pt x="0" y="0"/>
                      <a:pt x="0" y="0"/>
                    </a:cubicBezTo>
                    <a:lnTo>
                      <a:pt x="0" y="68"/>
                    </a:lnTo>
                    <a:close/>
                    <a:moveTo>
                      <a:pt x="36" y="16"/>
                    </a:moveTo>
                    <a:cubicBezTo>
                      <a:pt x="156" y="16"/>
                      <a:pt x="156" y="16"/>
                      <a:pt x="156" y="16"/>
                    </a:cubicBezTo>
                    <a:cubicBezTo>
                      <a:pt x="158" y="16"/>
                      <a:pt x="160" y="18"/>
                      <a:pt x="160" y="20"/>
                    </a:cubicBezTo>
                    <a:cubicBezTo>
                      <a:pt x="160" y="22"/>
                      <a:pt x="158" y="24"/>
                      <a:pt x="156" y="24"/>
                    </a:cubicBezTo>
                    <a:cubicBezTo>
                      <a:pt x="36" y="24"/>
                      <a:pt x="36" y="24"/>
                      <a:pt x="36" y="24"/>
                    </a:cubicBezTo>
                    <a:cubicBezTo>
                      <a:pt x="34" y="24"/>
                      <a:pt x="32" y="22"/>
                      <a:pt x="32" y="20"/>
                    </a:cubicBezTo>
                    <a:cubicBezTo>
                      <a:pt x="32" y="18"/>
                      <a:pt x="34" y="16"/>
                      <a:pt x="36" y="16"/>
                    </a:cubicBezTo>
                    <a:close/>
                    <a:moveTo>
                      <a:pt x="36" y="40"/>
                    </a:moveTo>
                    <a:cubicBezTo>
                      <a:pt x="156" y="40"/>
                      <a:pt x="156" y="40"/>
                      <a:pt x="156" y="40"/>
                    </a:cubicBezTo>
                    <a:cubicBezTo>
                      <a:pt x="158" y="40"/>
                      <a:pt x="160" y="42"/>
                      <a:pt x="160" y="44"/>
                    </a:cubicBezTo>
                    <a:cubicBezTo>
                      <a:pt x="160" y="46"/>
                      <a:pt x="158" y="48"/>
                      <a:pt x="156" y="48"/>
                    </a:cubicBezTo>
                    <a:cubicBezTo>
                      <a:pt x="36" y="48"/>
                      <a:pt x="36" y="48"/>
                      <a:pt x="36" y="48"/>
                    </a:cubicBezTo>
                    <a:cubicBezTo>
                      <a:pt x="34" y="48"/>
                      <a:pt x="32" y="46"/>
                      <a:pt x="32" y="44"/>
                    </a:cubicBezTo>
                    <a:cubicBezTo>
                      <a:pt x="32" y="42"/>
                      <a:pt x="34" y="40"/>
                      <a:pt x="36" y="4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sp>
        <p:nvSpPr>
          <p:cNvPr id="20" name="TextBox 19"/>
          <p:cNvSpPr txBox="1"/>
          <p:nvPr/>
        </p:nvSpPr>
        <p:spPr>
          <a:xfrm>
            <a:off x="1115616" y="2768171"/>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sp>
        <p:nvSpPr>
          <p:cNvPr id="21" name="矩形 20"/>
          <p:cNvSpPr/>
          <p:nvPr/>
        </p:nvSpPr>
        <p:spPr>
          <a:xfrm>
            <a:off x="1187624" y="2430093"/>
            <a:ext cx="1800200" cy="338554"/>
          </a:xfrm>
          <a:prstGeom prst="rect">
            <a:avLst/>
          </a:prstGeom>
          <a:noFill/>
        </p:spPr>
        <p:txBody>
          <a:bodyPr wrap="square">
            <a:spAutoFit/>
          </a:bodyPr>
          <a:lstStyle/>
          <a:p>
            <a:pPr algn="ctr"/>
            <a:r>
              <a:rPr lang="en-US" altLang="zh-CN" sz="1600" b="1" dirty="0">
                <a:solidFill>
                  <a:srgbClr val="800080"/>
                </a:solidFill>
              </a:rPr>
              <a:t>TEXT  HERE</a:t>
            </a:r>
            <a:endParaRPr lang="zh-CN" altLang="en-US" sz="1600" b="1" dirty="0">
              <a:solidFill>
                <a:srgbClr val="800080"/>
              </a:solidFill>
            </a:endParaRPr>
          </a:p>
        </p:txBody>
      </p:sp>
      <p:sp>
        <p:nvSpPr>
          <p:cNvPr id="22" name="TextBox 21"/>
          <p:cNvSpPr txBox="1"/>
          <p:nvPr/>
        </p:nvSpPr>
        <p:spPr>
          <a:xfrm>
            <a:off x="3615800" y="2768171"/>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sp>
        <p:nvSpPr>
          <p:cNvPr id="23" name="矩形 22"/>
          <p:cNvSpPr/>
          <p:nvPr/>
        </p:nvSpPr>
        <p:spPr>
          <a:xfrm>
            <a:off x="3687808" y="2430093"/>
            <a:ext cx="1800200" cy="338554"/>
          </a:xfrm>
          <a:prstGeom prst="rect">
            <a:avLst/>
          </a:prstGeom>
          <a:noFill/>
        </p:spPr>
        <p:txBody>
          <a:bodyPr wrap="square">
            <a:spAutoFit/>
          </a:bodyPr>
          <a:lstStyle/>
          <a:p>
            <a:pPr algn="ctr"/>
            <a:r>
              <a:rPr lang="en-US" altLang="zh-CN" sz="1600" b="1" dirty="0">
                <a:solidFill>
                  <a:srgbClr val="800080"/>
                </a:solidFill>
              </a:rPr>
              <a:t>TEXT  HERE</a:t>
            </a:r>
            <a:endParaRPr lang="zh-CN" altLang="en-US" sz="1600" b="1" dirty="0">
              <a:solidFill>
                <a:srgbClr val="800080"/>
              </a:solidFill>
            </a:endParaRPr>
          </a:p>
        </p:txBody>
      </p:sp>
      <p:sp>
        <p:nvSpPr>
          <p:cNvPr id="24" name="TextBox 23"/>
          <p:cNvSpPr txBox="1"/>
          <p:nvPr/>
        </p:nvSpPr>
        <p:spPr>
          <a:xfrm>
            <a:off x="6012160" y="2768171"/>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sp>
        <p:nvSpPr>
          <p:cNvPr id="25" name="矩形 24"/>
          <p:cNvSpPr/>
          <p:nvPr/>
        </p:nvSpPr>
        <p:spPr>
          <a:xfrm>
            <a:off x="6084168" y="2430093"/>
            <a:ext cx="1800200" cy="338554"/>
          </a:xfrm>
          <a:prstGeom prst="rect">
            <a:avLst/>
          </a:prstGeom>
          <a:noFill/>
        </p:spPr>
        <p:txBody>
          <a:bodyPr wrap="square">
            <a:spAutoFit/>
          </a:bodyPr>
          <a:lstStyle/>
          <a:p>
            <a:pPr algn="ctr"/>
            <a:r>
              <a:rPr lang="en-US" altLang="zh-CN" sz="1600" b="1" dirty="0">
                <a:solidFill>
                  <a:srgbClr val="800080"/>
                </a:solidFill>
              </a:rPr>
              <a:t>TEXT  HERE</a:t>
            </a:r>
            <a:endParaRPr lang="zh-CN" altLang="en-US" sz="1600" b="1" dirty="0">
              <a:solidFill>
                <a:srgbClr val="800080"/>
              </a:solidFill>
            </a:endParaRPr>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6"/>
                                        </p:tgtEl>
                                        <p:attrNameLst>
                                          <p:attrName>style.visibility</p:attrName>
                                        </p:attrNameLst>
                                      </p:cBhvr>
                                      <p:to>
                                        <p:strVal val="visible"/>
                                      </p:to>
                                    </p:set>
                                    <p:anim calcmode="lin" valueType="num">
                                      <p:cBhvr additive="base">
                                        <p:cTn id="11" dur="500" fill="hold"/>
                                        <p:tgtEl>
                                          <p:spTgt spid="26"/>
                                        </p:tgtEl>
                                        <p:attrNameLst>
                                          <p:attrName>ppt_x</p:attrName>
                                        </p:attrNameLst>
                                      </p:cBhvr>
                                      <p:tavLst>
                                        <p:tav tm="0">
                                          <p:val>
                                            <p:strVal val="#ppt_x"/>
                                          </p:val>
                                        </p:tav>
                                        <p:tav tm="100000">
                                          <p:val>
                                            <p:strVal val="#ppt_x"/>
                                          </p:val>
                                        </p:tav>
                                      </p:tavLst>
                                    </p:anim>
                                    <p:anim calcmode="lin" valueType="num">
                                      <p:cBhvr additive="base">
                                        <p:cTn id="12" dur="500" fill="hold"/>
                                        <p:tgtEl>
                                          <p:spTgt spid="26"/>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500" fill="hold"/>
                                        <p:tgtEl>
                                          <p:spTgt spid="27"/>
                                        </p:tgtEl>
                                        <p:attrNameLst>
                                          <p:attrName>ppt_x</p:attrName>
                                        </p:attrNameLst>
                                      </p:cBhvr>
                                      <p:tavLst>
                                        <p:tav tm="0">
                                          <p:val>
                                            <p:strVal val="#ppt_x"/>
                                          </p:val>
                                        </p:tav>
                                        <p:tav tm="100000">
                                          <p:val>
                                            <p:strVal val="#ppt_x"/>
                                          </p:val>
                                        </p:tav>
                                      </p:tavLst>
                                    </p:anim>
                                    <p:anim calcmode="lin" valueType="num">
                                      <p:cBhvr additive="base">
                                        <p:cTn id="16" dur="500" fill="hold"/>
                                        <p:tgtEl>
                                          <p:spTgt spid="27"/>
                                        </p:tgtEl>
                                        <p:attrNameLst>
                                          <p:attrName>ppt_y</p:attrName>
                                        </p:attrNameLst>
                                      </p:cBhvr>
                                      <p:tavLst>
                                        <p:tav tm="0">
                                          <p:val>
                                            <p:strVal val="1+#ppt_h/2"/>
                                          </p:val>
                                        </p:tav>
                                        <p:tav tm="100000">
                                          <p:val>
                                            <p:strVal val="#ppt_y"/>
                                          </p:val>
                                        </p:tav>
                                      </p:tavLst>
                                    </p:anim>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250"/>
                                        <p:tgtEl>
                                          <p:spTgt spid="21"/>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250"/>
                                        <p:tgtEl>
                                          <p:spTgt spid="20"/>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250"/>
                                        <p:tgtEl>
                                          <p:spTgt spid="23"/>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250"/>
                                        <p:tgtEl>
                                          <p:spTgt spid="22"/>
                                        </p:tgtEl>
                                      </p:cBhvr>
                                    </p:animEffect>
                                  </p:childTnLst>
                                </p:cTn>
                              </p:par>
                            </p:childTnLst>
                          </p:cTn>
                        </p:par>
                        <p:par>
                          <p:cTn id="33" fill="hold">
                            <p:stCondLst>
                              <p:cond delay="2500"/>
                            </p:stCondLst>
                            <p:childTnLst>
                              <p:par>
                                <p:cTn id="34" presetID="10" presetClass="entr" presetSubtype="0" fill="hold" grpId="0" nodeType="after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fade">
                                      <p:cBhvr>
                                        <p:cTn id="36" dur="250"/>
                                        <p:tgtEl>
                                          <p:spTgt spid="25"/>
                                        </p:tgtEl>
                                      </p:cBhvr>
                                    </p:animEffect>
                                  </p:childTnLst>
                                </p:cTn>
                              </p:par>
                            </p:childTnLst>
                          </p:cTn>
                        </p:par>
                        <p:par>
                          <p:cTn id="37" fill="hold">
                            <p:stCondLst>
                              <p:cond delay="3000"/>
                            </p:stCondLst>
                            <p:childTnLst>
                              <p:par>
                                <p:cTn id="38" presetID="10" presetClass="entr" presetSubtype="0" fill="hold" grpId="0" nodeType="afterEffect">
                                  <p:stCondLst>
                                    <p:cond delay="0"/>
                                  </p:stCondLst>
                                  <p:childTnLst>
                                    <p:set>
                                      <p:cBhvr>
                                        <p:cTn id="39" dur="1" fill="hold">
                                          <p:stCondLst>
                                            <p:cond delay="0"/>
                                          </p:stCondLst>
                                        </p:cTn>
                                        <p:tgtEl>
                                          <p:spTgt spid="24"/>
                                        </p:tgtEl>
                                        <p:attrNameLst>
                                          <p:attrName>style.visibility</p:attrName>
                                        </p:attrNameLst>
                                      </p:cBhvr>
                                      <p:to>
                                        <p:strVal val="visible"/>
                                      </p:to>
                                    </p:set>
                                    <p:animEffect transition="in" filter="fade">
                                      <p:cBhvr>
                                        <p:cTn id="40" dur="25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P spid="24" grpId="0"/>
      <p:bldP spid="2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I:\PPT素材\图片素材\百张low poly 高清背景图\62.jpg"/>
          <p:cNvPicPr>
            <a:picLocks noChangeAspect="1" noChangeArrowheads="1"/>
          </p:cNvPicPr>
          <p:nvPr/>
        </p:nvPicPr>
        <p:blipFill rotWithShape="1">
          <a:blip r:embed="rId2">
            <a:extLst>
              <a:ext uri="{28A0092B-C50C-407E-A947-70E740481C1C}">
                <a14:useLocalDpi xmlns:a14="http://schemas.microsoft.com/office/drawing/2010/main" val="0"/>
              </a:ext>
            </a:extLst>
          </a:blip>
          <a:srcRect l="44373" t="19203" r="11894" b="24177"/>
          <a:stretch>
            <a:fillRect/>
          </a:stretch>
        </p:blipFill>
        <p:spPr bwMode="auto">
          <a:xfrm>
            <a:off x="-26996" y="0"/>
            <a:ext cx="4821497" cy="5143501"/>
          </a:xfrm>
          <a:prstGeom prst="parallelogram">
            <a:avLst>
              <a:gd name="adj" fmla="val 0"/>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956244" y="1073576"/>
            <a:ext cx="2736304" cy="461665"/>
          </a:xfrm>
          <a:prstGeom prst="rect">
            <a:avLst/>
          </a:prstGeom>
          <a:solidFill>
            <a:schemeClr val="bg1"/>
          </a:solidFill>
        </p:spPr>
        <p:txBody>
          <a:bodyPr wrap="square" rtlCol="0">
            <a:spAutoFit/>
          </a:bodyPr>
          <a:lstStyle/>
          <a:p>
            <a:pPr algn="ctr"/>
            <a:r>
              <a:rPr lang="en-US" altLang="zh-CN" sz="2400" b="1" dirty="0">
                <a:solidFill>
                  <a:srgbClr val="800080"/>
                </a:solidFill>
              </a:rPr>
              <a:t>TEXT  HERE</a:t>
            </a:r>
            <a:endParaRPr lang="zh-CN" altLang="en-US" sz="2400" b="1" dirty="0">
              <a:solidFill>
                <a:srgbClr val="800080"/>
              </a:solidFill>
            </a:endParaRPr>
          </a:p>
        </p:txBody>
      </p:sp>
      <p:sp>
        <p:nvSpPr>
          <p:cNvPr id="4" name="TextBox 3"/>
          <p:cNvSpPr txBox="1"/>
          <p:nvPr/>
        </p:nvSpPr>
        <p:spPr>
          <a:xfrm>
            <a:off x="956244" y="1666673"/>
            <a:ext cx="3672408" cy="1938992"/>
          </a:xfrm>
          <a:prstGeom prst="rect">
            <a:avLst/>
          </a:prstGeom>
          <a:noFill/>
        </p:spPr>
        <p:txBody>
          <a:bodyPr wrap="square" rtlCol="0">
            <a:spAutoFit/>
          </a:bodyPr>
          <a:lstStyle/>
          <a:p>
            <a:pPr marL="285750" indent="-285750">
              <a:lnSpc>
                <a:spcPct val="150000"/>
              </a:lnSpc>
              <a:buClr>
                <a:schemeClr val="bg1"/>
              </a:buClr>
              <a:buFont typeface="Arial" panose="020B0604020202020204" pitchFamily="34" charset="0"/>
              <a:buChar char="•"/>
            </a:pPr>
            <a:r>
              <a:rPr lang="en-US" altLang="zh-CN" sz="1600" dirty="0">
                <a:solidFill>
                  <a:schemeClr val="bg1"/>
                </a:solidFill>
              </a:rPr>
              <a:t>You can click here to enter you text. </a:t>
            </a:r>
          </a:p>
          <a:p>
            <a:pPr marL="285750" indent="-285750">
              <a:lnSpc>
                <a:spcPct val="150000"/>
              </a:lnSpc>
              <a:buClr>
                <a:schemeClr val="bg1"/>
              </a:buClr>
              <a:buFont typeface="Arial" panose="020B0604020202020204" pitchFamily="34" charset="0"/>
              <a:buChar char="•"/>
            </a:pPr>
            <a:r>
              <a:rPr lang="en-US" altLang="zh-CN" sz="1600" dirty="0">
                <a:solidFill>
                  <a:schemeClr val="bg1"/>
                </a:solidFill>
              </a:rPr>
              <a:t>You can click here to enter you text. </a:t>
            </a:r>
          </a:p>
          <a:p>
            <a:pPr marL="285750" indent="-285750">
              <a:lnSpc>
                <a:spcPct val="150000"/>
              </a:lnSpc>
              <a:buClr>
                <a:schemeClr val="bg1"/>
              </a:buClr>
              <a:buFont typeface="Arial" panose="020B0604020202020204" pitchFamily="34" charset="0"/>
              <a:buChar char="•"/>
            </a:pPr>
            <a:r>
              <a:rPr lang="en-US" altLang="zh-CN" sz="1600" dirty="0">
                <a:solidFill>
                  <a:schemeClr val="bg1"/>
                </a:solidFill>
              </a:rPr>
              <a:t>You can click here to enter you text.</a:t>
            </a:r>
          </a:p>
          <a:p>
            <a:pPr marL="285750" indent="-285750">
              <a:lnSpc>
                <a:spcPct val="150000"/>
              </a:lnSpc>
              <a:buClr>
                <a:schemeClr val="bg1"/>
              </a:buClr>
              <a:buFont typeface="Arial" panose="020B0604020202020204" pitchFamily="34" charset="0"/>
              <a:buChar char="•"/>
            </a:pPr>
            <a:r>
              <a:rPr lang="en-US" altLang="zh-CN" sz="1600" dirty="0">
                <a:solidFill>
                  <a:schemeClr val="bg1"/>
                </a:solidFill>
              </a:rPr>
              <a:t>You can click here to enter you text. </a:t>
            </a:r>
          </a:p>
          <a:p>
            <a:pPr marL="285750" indent="-285750">
              <a:lnSpc>
                <a:spcPct val="150000"/>
              </a:lnSpc>
              <a:buClr>
                <a:schemeClr val="bg1"/>
              </a:buClr>
              <a:buFont typeface="Arial" panose="020B0604020202020204" pitchFamily="34" charset="0"/>
              <a:buChar char="•"/>
            </a:pPr>
            <a:r>
              <a:rPr lang="en-US" altLang="zh-CN" sz="1600" dirty="0">
                <a:solidFill>
                  <a:schemeClr val="bg1"/>
                </a:solidFill>
              </a:rPr>
              <a:t>You can click here to enter you text. </a:t>
            </a:r>
            <a:endParaRPr lang="zh-CN" altLang="en-US" sz="1600" dirty="0">
              <a:solidFill>
                <a:schemeClr val="bg1"/>
              </a:solidFill>
            </a:endParaRPr>
          </a:p>
        </p:txBody>
      </p:sp>
      <p:grpSp>
        <p:nvGrpSpPr>
          <p:cNvPr id="5" name="组合 4"/>
          <p:cNvGrpSpPr/>
          <p:nvPr/>
        </p:nvGrpSpPr>
        <p:grpSpPr>
          <a:xfrm flipH="1">
            <a:off x="3682642" y="1073576"/>
            <a:ext cx="519515" cy="457509"/>
            <a:chOff x="7004888" y="2091225"/>
            <a:chExt cx="519515" cy="457509"/>
          </a:xfrm>
        </p:grpSpPr>
        <p:sp>
          <p:nvSpPr>
            <p:cNvPr id="6" name="等腰三角形 5"/>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等腰三角形 6"/>
            <p:cNvSpPr/>
            <p:nvPr/>
          </p:nvSpPr>
          <p:spPr>
            <a:xfrm rot="8122854" flipH="1">
              <a:off x="7303361" y="209122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等腰三角形 7"/>
            <p:cNvSpPr/>
            <p:nvPr/>
          </p:nvSpPr>
          <p:spPr>
            <a:xfrm rot="8122854" flipH="1">
              <a:off x="7004888" y="209661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等腰三角形 8"/>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圆角矩形 9"/>
          <p:cNvSpPr/>
          <p:nvPr/>
        </p:nvSpPr>
        <p:spPr>
          <a:xfrm>
            <a:off x="5364088" y="1124931"/>
            <a:ext cx="3384376" cy="251764"/>
          </a:xfrm>
          <a:prstGeom prst="roundRect">
            <a:avLst>
              <a:gd name="adj" fmla="val 50000"/>
            </a:avLst>
          </a:prstGeom>
          <a:solidFill>
            <a:schemeClr val="accent4">
              <a:lumMod val="40000"/>
              <a:lumOff val="6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圆角矩形 10"/>
          <p:cNvSpPr/>
          <p:nvPr/>
        </p:nvSpPr>
        <p:spPr>
          <a:xfrm>
            <a:off x="5364088" y="1904489"/>
            <a:ext cx="3384376" cy="251764"/>
          </a:xfrm>
          <a:prstGeom prst="roundRect">
            <a:avLst>
              <a:gd name="adj" fmla="val 50000"/>
            </a:avLst>
          </a:prstGeom>
          <a:solidFill>
            <a:schemeClr val="accent4">
              <a:lumMod val="40000"/>
              <a:lumOff val="6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5364088" y="2684047"/>
            <a:ext cx="3384376" cy="251764"/>
          </a:xfrm>
          <a:prstGeom prst="roundRect">
            <a:avLst>
              <a:gd name="adj" fmla="val 50000"/>
            </a:avLst>
          </a:prstGeom>
          <a:solidFill>
            <a:schemeClr val="accent4">
              <a:lumMod val="40000"/>
              <a:lumOff val="6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圆角矩形 12"/>
          <p:cNvSpPr/>
          <p:nvPr/>
        </p:nvSpPr>
        <p:spPr>
          <a:xfrm>
            <a:off x="5364088" y="3463604"/>
            <a:ext cx="3384376" cy="251764"/>
          </a:xfrm>
          <a:prstGeom prst="roundRect">
            <a:avLst>
              <a:gd name="adj" fmla="val 50000"/>
            </a:avLst>
          </a:prstGeom>
          <a:solidFill>
            <a:schemeClr val="accent4">
              <a:lumMod val="40000"/>
              <a:lumOff val="6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4" name="组合 13"/>
          <p:cNvGrpSpPr/>
          <p:nvPr/>
        </p:nvGrpSpPr>
        <p:grpSpPr>
          <a:xfrm>
            <a:off x="5255603" y="1026246"/>
            <a:ext cx="540533" cy="432048"/>
            <a:chOff x="5741893" y="1026246"/>
            <a:chExt cx="540533" cy="432048"/>
          </a:xfrm>
        </p:grpSpPr>
        <p:sp>
          <p:nvSpPr>
            <p:cNvPr id="16" name="椭圆 15"/>
            <p:cNvSpPr/>
            <p:nvPr/>
          </p:nvSpPr>
          <p:spPr>
            <a:xfrm>
              <a:off x="5796136" y="1026246"/>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20700000">
              <a:off x="5741893" y="1051757"/>
              <a:ext cx="540533" cy="338554"/>
            </a:xfrm>
            <a:prstGeom prst="rect">
              <a:avLst/>
            </a:prstGeom>
          </p:spPr>
          <p:txBody>
            <a:bodyPr wrap="none">
              <a:spAutoFit/>
            </a:bodyPr>
            <a:lstStyle/>
            <a:p>
              <a:pPr algn="ctr"/>
              <a:r>
                <a:rPr lang="en-US" altLang="zh-CN" sz="1600" dirty="0">
                  <a:solidFill>
                    <a:schemeClr val="bg1"/>
                  </a:solidFill>
                </a:rPr>
                <a:t>15%</a:t>
              </a:r>
              <a:endParaRPr lang="zh-CN" altLang="en-US" sz="1600" dirty="0">
                <a:solidFill>
                  <a:schemeClr val="bg1"/>
                </a:solidFill>
              </a:endParaRPr>
            </a:p>
          </p:txBody>
        </p:sp>
      </p:grpSp>
      <p:grpSp>
        <p:nvGrpSpPr>
          <p:cNvPr id="15" name="组合 14"/>
          <p:cNvGrpSpPr/>
          <p:nvPr/>
        </p:nvGrpSpPr>
        <p:grpSpPr>
          <a:xfrm>
            <a:off x="5255603" y="1776968"/>
            <a:ext cx="540533" cy="432048"/>
            <a:chOff x="6351633" y="1835583"/>
            <a:chExt cx="540533" cy="432048"/>
          </a:xfrm>
        </p:grpSpPr>
        <p:sp>
          <p:nvSpPr>
            <p:cNvPr id="18" name="椭圆 17"/>
            <p:cNvSpPr/>
            <p:nvPr/>
          </p:nvSpPr>
          <p:spPr>
            <a:xfrm>
              <a:off x="6405876" y="1835583"/>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9" name="矩形 18"/>
            <p:cNvSpPr/>
            <p:nvPr/>
          </p:nvSpPr>
          <p:spPr>
            <a:xfrm rot="20700000">
              <a:off x="6351633" y="1861094"/>
              <a:ext cx="540533" cy="338554"/>
            </a:xfrm>
            <a:prstGeom prst="rect">
              <a:avLst/>
            </a:prstGeom>
          </p:spPr>
          <p:txBody>
            <a:bodyPr wrap="none">
              <a:spAutoFit/>
            </a:bodyPr>
            <a:lstStyle/>
            <a:p>
              <a:pPr algn="ctr"/>
              <a:r>
                <a:rPr lang="en-US" altLang="zh-CN" sz="1600" dirty="0">
                  <a:solidFill>
                    <a:schemeClr val="bg1"/>
                  </a:solidFill>
                </a:rPr>
                <a:t>35%</a:t>
              </a:r>
              <a:endParaRPr lang="zh-CN" altLang="en-US" sz="1600" dirty="0">
                <a:solidFill>
                  <a:schemeClr val="bg1"/>
                </a:solidFill>
              </a:endParaRPr>
            </a:p>
          </p:txBody>
        </p:sp>
      </p:grpSp>
      <p:grpSp>
        <p:nvGrpSpPr>
          <p:cNvPr id="25" name="组合 24"/>
          <p:cNvGrpSpPr/>
          <p:nvPr/>
        </p:nvGrpSpPr>
        <p:grpSpPr>
          <a:xfrm>
            <a:off x="5255603" y="2562485"/>
            <a:ext cx="540533" cy="432048"/>
            <a:chOff x="7675297" y="2562485"/>
            <a:chExt cx="540533" cy="432048"/>
          </a:xfrm>
        </p:grpSpPr>
        <p:sp>
          <p:nvSpPr>
            <p:cNvPr id="20" name="椭圆 19"/>
            <p:cNvSpPr/>
            <p:nvPr/>
          </p:nvSpPr>
          <p:spPr>
            <a:xfrm>
              <a:off x="7729540" y="2562485"/>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21" name="矩形 20"/>
            <p:cNvSpPr/>
            <p:nvPr/>
          </p:nvSpPr>
          <p:spPr>
            <a:xfrm rot="20700000">
              <a:off x="7675297" y="2587996"/>
              <a:ext cx="540533" cy="338554"/>
            </a:xfrm>
            <a:prstGeom prst="rect">
              <a:avLst/>
            </a:prstGeom>
          </p:spPr>
          <p:txBody>
            <a:bodyPr wrap="none">
              <a:spAutoFit/>
            </a:bodyPr>
            <a:lstStyle/>
            <a:p>
              <a:pPr algn="ctr"/>
              <a:r>
                <a:rPr lang="en-US" altLang="zh-CN" sz="1600" dirty="0">
                  <a:solidFill>
                    <a:schemeClr val="bg1"/>
                  </a:solidFill>
                </a:rPr>
                <a:t>85%</a:t>
              </a:r>
              <a:endParaRPr lang="zh-CN" altLang="en-US" sz="1600" dirty="0">
                <a:solidFill>
                  <a:schemeClr val="bg1"/>
                </a:solidFill>
              </a:endParaRPr>
            </a:p>
          </p:txBody>
        </p:sp>
      </p:grpSp>
      <p:grpSp>
        <p:nvGrpSpPr>
          <p:cNvPr id="26" name="组合 25"/>
          <p:cNvGrpSpPr/>
          <p:nvPr/>
        </p:nvGrpSpPr>
        <p:grpSpPr>
          <a:xfrm>
            <a:off x="5255603" y="3394698"/>
            <a:ext cx="540533" cy="432048"/>
            <a:chOff x="6786009" y="3394698"/>
            <a:chExt cx="540533" cy="432048"/>
          </a:xfrm>
        </p:grpSpPr>
        <p:sp>
          <p:nvSpPr>
            <p:cNvPr id="22" name="椭圆 21"/>
            <p:cNvSpPr/>
            <p:nvPr/>
          </p:nvSpPr>
          <p:spPr>
            <a:xfrm>
              <a:off x="6840252" y="3394698"/>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23" name="矩形 22"/>
            <p:cNvSpPr/>
            <p:nvPr/>
          </p:nvSpPr>
          <p:spPr>
            <a:xfrm rot="20700000">
              <a:off x="6786009" y="3420209"/>
              <a:ext cx="540533" cy="338554"/>
            </a:xfrm>
            <a:prstGeom prst="rect">
              <a:avLst/>
            </a:prstGeom>
          </p:spPr>
          <p:txBody>
            <a:bodyPr wrap="none">
              <a:spAutoFit/>
            </a:bodyPr>
            <a:lstStyle/>
            <a:p>
              <a:pPr algn="ctr"/>
              <a:r>
                <a:rPr lang="en-US" altLang="zh-CN" sz="1600" dirty="0">
                  <a:solidFill>
                    <a:schemeClr val="bg1"/>
                  </a:solidFill>
                </a:rPr>
                <a:t>55%</a:t>
              </a:r>
              <a:endParaRPr lang="zh-CN" altLang="en-US" sz="1600" dirty="0">
                <a:solidFill>
                  <a:schemeClr val="bg1"/>
                </a:solidFill>
              </a:endParaRPr>
            </a:p>
          </p:txBody>
        </p:sp>
      </p:grpSp>
      <p:sp>
        <p:nvSpPr>
          <p:cNvPr id="24" name="TextBox 23"/>
          <p:cNvSpPr txBox="1"/>
          <p:nvPr/>
        </p:nvSpPr>
        <p:spPr>
          <a:xfrm>
            <a:off x="2623657" y="154813"/>
            <a:ext cx="3998242" cy="584775"/>
          </a:xfrm>
          <a:prstGeom prst="rect">
            <a:avLst/>
          </a:prstGeom>
          <a:noFill/>
        </p:spPr>
        <p:txBody>
          <a:bodyPr wrap="square" rtlCol="0">
            <a:spAutoFit/>
          </a:bodyPr>
          <a:lstStyle/>
          <a:p>
            <a:pPr algn="ctr"/>
            <a:r>
              <a:rPr lang="en-US" altLang="zh-CN" sz="3200" b="1" dirty="0">
                <a:solidFill>
                  <a:schemeClr val="bg1"/>
                </a:solidFill>
                <a:latin typeface="Adobe Gothic Std B" pitchFamily="34" charset="-128"/>
                <a:ea typeface="Adobe Gothic Std B" pitchFamily="34" charset="-128"/>
              </a:rPr>
              <a:t>ADD YOU</a:t>
            </a:r>
            <a:r>
              <a:rPr lang="en-US" altLang="zh-CN" sz="3200" b="1" dirty="0">
                <a:solidFill>
                  <a:srgbClr val="800080"/>
                </a:solidFill>
                <a:latin typeface="Adobe Gothic Std B" pitchFamily="34" charset="-128"/>
                <a:ea typeface="Adobe Gothic Std B" pitchFamily="34" charset="-128"/>
              </a:rPr>
              <a:t>R TEXT</a:t>
            </a:r>
            <a:endParaRPr lang="zh-CN" altLang="en-US" sz="3200" b="1" dirty="0">
              <a:solidFill>
                <a:srgbClr val="800080"/>
              </a:solidFill>
              <a:latin typeface="Adobe Gothic Std B" pitchFamily="34" charset="-128"/>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barn(outVertical)">
                                      <p:cBhvr>
                                        <p:cTn id="7" dur="500"/>
                                        <p:tgtEl>
                                          <p:spTgt spid="24"/>
                                        </p:tgtEl>
                                      </p:cBhvr>
                                    </p:animEffect>
                                  </p:childTnLst>
                                </p:cTn>
                              </p:par>
                            </p:childTnLst>
                          </p:cTn>
                        </p:par>
                        <p:par>
                          <p:cTn id="8" fill="hold">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anim calcmode="lin" valueType="num">
                                      <p:cBhvr>
                                        <p:cTn id="12" dur="500" fill="hold"/>
                                        <p:tgtEl>
                                          <p:spTgt spid="3"/>
                                        </p:tgtEl>
                                        <p:attrNameLst>
                                          <p:attrName>ppt_x</p:attrName>
                                        </p:attrNameLst>
                                      </p:cBhvr>
                                      <p:tavLst>
                                        <p:tav tm="0">
                                          <p:val>
                                            <p:strVal val="#ppt_x"/>
                                          </p:val>
                                        </p:tav>
                                        <p:tav tm="100000">
                                          <p:val>
                                            <p:strVal val="#ppt_x"/>
                                          </p:val>
                                        </p:tav>
                                      </p:tavLst>
                                    </p:anim>
                                    <p:anim calcmode="lin" valueType="num">
                                      <p:cBhvr>
                                        <p:cTn id="13" dur="500" fill="hold"/>
                                        <p:tgtEl>
                                          <p:spTgt spid="3"/>
                                        </p:tgtEl>
                                        <p:attrNameLst>
                                          <p:attrName>ppt_y</p:attrName>
                                        </p:attrNameLst>
                                      </p:cBhvr>
                                      <p:tavLst>
                                        <p:tav tm="0">
                                          <p:val>
                                            <p:strVal val="#ppt_y+.1"/>
                                          </p:val>
                                        </p:tav>
                                        <p:tav tm="100000">
                                          <p:val>
                                            <p:strVal val="#ppt_y"/>
                                          </p:val>
                                        </p:tav>
                                      </p:tavLst>
                                    </p:anim>
                                  </p:childTnLst>
                                </p:cTn>
                              </p:par>
                            </p:childTnLst>
                          </p:cTn>
                        </p:par>
                        <p:par>
                          <p:cTn id="14" fill="hold">
                            <p:stCondLst>
                              <p:cond delay="1000"/>
                            </p:stCondLst>
                            <p:childTnLst>
                              <p:par>
                                <p:cTn id="15" presetID="42" presetClass="entr" presetSubtype="0" fill="hold"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anim calcmode="lin" valueType="num">
                                      <p:cBhvr>
                                        <p:cTn id="18" dur="500" fill="hold"/>
                                        <p:tgtEl>
                                          <p:spTgt spid="5"/>
                                        </p:tgtEl>
                                        <p:attrNameLst>
                                          <p:attrName>ppt_x</p:attrName>
                                        </p:attrNameLst>
                                      </p:cBhvr>
                                      <p:tavLst>
                                        <p:tav tm="0">
                                          <p:val>
                                            <p:strVal val="#ppt_x"/>
                                          </p:val>
                                        </p:tav>
                                        <p:tav tm="100000">
                                          <p:val>
                                            <p:strVal val="#ppt_x"/>
                                          </p:val>
                                        </p:tav>
                                      </p:tavLst>
                                    </p:anim>
                                    <p:anim calcmode="lin" valueType="num">
                                      <p:cBhvr>
                                        <p:cTn id="19" dur="500" fill="hold"/>
                                        <p:tgtEl>
                                          <p:spTgt spid="5"/>
                                        </p:tgtEl>
                                        <p:attrNameLst>
                                          <p:attrName>ppt_y</p:attrName>
                                        </p:attrNameLst>
                                      </p:cBhvr>
                                      <p:tavLst>
                                        <p:tav tm="0">
                                          <p:val>
                                            <p:strVal val="#ppt_y+.1"/>
                                          </p:val>
                                        </p:tav>
                                        <p:tav tm="100000">
                                          <p:val>
                                            <p:strVal val="#ppt_y"/>
                                          </p:val>
                                        </p:tav>
                                      </p:tavLst>
                                    </p:anim>
                                  </p:childTnLst>
                                </p:cTn>
                              </p:par>
                            </p:childTnLst>
                          </p:cTn>
                        </p:par>
                        <p:par>
                          <p:cTn id="20" fill="hold">
                            <p:stCondLst>
                              <p:cond delay="1500"/>
                            </p:stCondLst>
                            <p:childTnLst>
                              <p:par>
                                <p:cTn id="21" presetID="10" presetClass="entr" presetSubtype="0" fill="hold" grpId="0"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par>
                          <p:cTn id="24" fill="hold">
                            <p:stCondLst>
                              <p:cond delay="2000"/>
                            </p:stCondLst>
                            <p:childTnLst>
                              <p:par>
                                <p:cTn id="25" presetID="22" presetClass="entr" presetSubtype="8"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left)">
                                      <p:cBhvr>
                                        <p:cTn id="27" dur="500"/>
                                        <p:tgtEl>
                                          <p:spTgt spid="10"/>
                                        </p:tgtEl>
                                      </p:cBhvr>
                                    </p:animEffect>
                                  </p:childTnLst>
                                </p:cTn>
                              </p:par>
                              <p:par>
                                <p:cTn id="28" presetID="22" presetClass="entr" presetSubtype="8" fill="hold" grpId="0" nodeType="withEffect">
                                  <p:stCondLst>
                                    <p:cond delay="250"/>
                                  </p:stCondLst>
                                  <p:childTnLst>
                                    <p:set>
                                      <p:cBhvr>
                                        <p:cTn id="29" dur="1" fill="hold">
                                          <p:stCondLst>
                                            <p:cond delay="0"/>
                                          </p:stCondLst>
                                        </p:cTn>
                                        <p:tgtEl>
                                          <p:spTgt spid="11"/>
                                        </p:tgtEl>
                                        <p:attrNameLst>
                                          <p:attrName>style.visibility</p:attrName>
                                        </p:attrNameLst>
                                      </p:cBhvr>
                                      <p:to>
                                        <p:strVal val="visible"/>
                                      </p:to>
                                    </p:set>
                                    <p:animEffect transition="in" filter="wipe(left)">
                                      <p:cBhvr>
                                        <p:cTn id="30" dur="500"/>
                                        <p:tgtEl>
                                          <p:spTgt spid="11"/>
                                        </p:tgtEl>
                                      </p:cBhvr>
                                    </p:animEffect>
                                  </p:childTnLst>
                                </p:cTn>
                              </p:par>
                              <p:par>
                                <p:cTn id="31" presetID="22" presetClass="entr" presetSubtype="8" fill="hold" grpId="0" nodeType="withEffect">
                                  <p:stCondLst>
                                    <p:cond delay="500"/>
                                  </p:stCondLst>
                                  <p:childTnLst>
                                    <p:set>
                                      <p:cBhvr>
                                        <p:cTn id="32" dur="1" fill="hold">
                                          <p:stCondLst>
                                            <p:cond delay="0"/>
                                          </p:stCondLst>
                                        </p:cTn>
                                        <p:tgtEl>
                                          <p:spTgt spid="12"/>
                                        </p:tgtEl>
                                        <p:attrNameLst>
                                          <p:attrName>style.visibility</p:attrName>
                                        </p:attrNameLst>
                                      </p:cBhvr>
                                      <p:to>
                                        <p:strVal val="visible"/>
                                      </p:to>
                                    </p:set>
                                    <p:animEffect transition="in" filter="wipe(left)">
                                      <p:cBhvr>
                                        <p:cTn id="33" dur="500"/>
                                        <p:tgtEl>
                                          <p:spTgt spid="12"/>
                                        </p:tgtEl>
                                      </p:cBhvr>
                                    </p:animEffect>
                                  </p:childTnLst>
                                </p:cTn>
                              </p:par>
                              <p:par>
                                <p:cTn id="34" presetID="22" presetClass="entr" presetSubtype="8" fill="hold" grpId="0" nodeType="withEffect">
                                  <p:stCondLst>
                                    <p:cond delay="750"/>
                                  </p:stCondLst>
                                  <p:childTnLst>
                                    <p:set>
                                      <p:cBhvr>
                                        <p:cTn id="35" dur="1" fill="hold">
                                          <p:stCondLst>
                                            <p:cond delay="0"/>
                                          </p:stCondLst>
                                        </p:cTn>
                                        <p:tgtEl>
                                          <p:spTgt spid="13"/>
                                        </p:tgtEl>
                                        <p:attrNameLst>
                                          <p:attrName>style.visibility</p:attrName>
                                        </p:attrNameLst>
                                      </p:cBhvr>
                                      <p:to>
                                        <p:strVal val="visible"/>
                                      </p:to>
                                    </p:set>
                                    <p:animEffect transition="in" filter="wipe(left)">
                                      <p:cBhvr>
                                        <p:cTn id="36" dur="500"/>
                                        <p:tgtEl>
                                          <p:spTgt spid="13"/>
                                        </p:tgtEl>
                                      </p:cBhvr>
                                    </p:animEffect>
                                  </p:childTnLst>
                                </p:cTn>
                              </p:par>
                            </p:childTnLst>
                          </p:cTn>
                        </p:par>
                        <p:par>
                          <p:cTn id="37" fill="hold">
                            <p:stCondLst>
                              <p:cond delay="2500"/>
                            </p:stCondLst>
                            <p:childTnLst>
                              <p:par>
                                <p:cTn id="38" presetID="1" presetClass="entr" presetSubtype="0" fill="hold" nodeType="afterEffect">
                                  <p:stCondLst>
                                    <p:cond delay="0"/>
                                  </p:stCondLst>
                                  <p:childTnLst>
                                    <p:set>
                                      <p:cBhvr>
                                        <p:cTn id="39" dur="1" fill="hold">
                                          <p:stCondLst>
                                            <p:cond delay="0"/>
                                          </p:stCondLst>
                                        </p:cTn>
                                        <p:tgtEl>
                                          <p:spTgt spid="14"/>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15"/>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25"/>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26"/>
                                        </p:tgtEl>
                                        <p:attrNameLst>
                                          <p:attrName>style.visibility</p:attrName>
                                        </p:attrNameLst>
                                      </p:cBhvr>
                                      <p:to>
                                        <p:strVal val="visible"/>
                                      </p:to>
                                    </p:set>
                                  </p:childTnLst>
                                </p:cTn>
                              </p:par>
                              <p:par>
                                <p:cTn id="46" presetID="63" presetClass="path" presetSubtype="0" accel="50000" decel="50000" fill="hold" nodeType="withEffect">
                                  <p:stCondLst>
                                    <p:cond delay="0"/>
                                  </p:stCondLst>
                                  <p:childTnLst>
                                    <p:animMotion origin="layout" path="M -2.77778E-7 8.69833E-7 L 0.08472 -0.0074 " pathEditMode="relative" rAng="0" ptsTypes="AA">
                                      <p:cBhvr>
                                        <p:cTn id="47" dur="1500" fill="hold"/>
                                        <p:tgtEl>
                                          <p:spTgt spid="14"/>
                                        </p:tgtEl>
                                        <p:attrNameLst>
                                          <p:attrName>ppt_x</p:attrName>
                                          <p:attrName>ppt_y</p:attrName>
                                        </p:attrNameLst>
                                      </p:cBhvr>
                                      <p:rCtr x="4236" y="-370"/>
                                    </p:animMotion>
                                  </p:childTnLst>
                                </p:cTn>
                              </p:par>
                              <p:par>
                                <p:cTn id="48" presetID="63" presetClass="path" presetSubtype="0" accel="50000" decel="50000" fill="hold" nodeType="withEffect">
                                  <p:stCondLst>
                                    <p:cond delay="0"/>
                                  </p:stCondLst>
                                  <p:childTnLst>
                                    <p:animMotion origin="layout" path="M -2.77778E-7 3.27576E-6 L 0.12396 3.27576E-6 " pathEditMode="relative" rAng="0" ptsTypes="AA">
                                      <p:cBhvr>
                                        <p:cTn id="49" dur="1500" fill="hold"/>
                                        <p:tgtEl>
                                          <p:spTgt spid="15"/>
                                        </p:tgtEl>
                                        <p:attrNameLst>
                                          <p:attrName>ppt_x</p:attrName>
                                          <p:attrName>ppt_y</p:attrName>
                                        </p:attrNameLst>
                                      </p:cBhvr>
                                      <p:rCtr x="6198" y="0"/>
                                    </p:animMotion>
                                  </p:childTnLst>
                                </p:cTn>
                              </p:par>
                              <p:par>
                                <p:cTn id="50" presetID="63" presetClass="path" presetSubtype="0" accel="50000" decel="50000" fill="hold" nodeType="withEffect">
                                  <p:stCondLst>
                                    <p:cond delay="0"/>
                                  </p:stCondLst>
                                  <p:childTnLst>
                                    <p:animMotion origin="layout" path="M -2.77778E-7 -2.5293E-7 L 0.28941 -2.5293E-7 " pathEditMode="relative" rAng="0" ptsTypes="AA">
                                      <p:cBhvr>
                                        <p:cTn id="51" dur="1500" fill="hold"/>
                                        <p:tgtEl>
                                          <p:spTgt spid="25"/>
                                        </p:tgtEl>
                                        <p:attrNameLst>
                                          <p:attrName>ppt_x</p:attrName>
                                          <p:attrName>ppt_y</p:attrName>
                                        </p:attrNameLst>
                                      </p:cBhvr>
                                      <p:rCtr x="14462" y="0"/>
                                    </p:animMotion>
                                  </p:childTnLst>
                                </p:cTn>
                              </p:par>
                              <p:par>
                                <p:cTn id="52" presetID="63" presetClass="path" presetSubtype="0" accel="50000" decel="50000" fill="hold" nodeType="withEffect">
                                  <p:stCondLst>
                                    <p:cond delay="0"/>
                                  </p:stCondLst>
                                  <p:childTnLst>
                                    <p:animMotion origin="layout" path="M -2.77778E-7 1.12276E-6 L 0.19497 1.12276E-6 " pathEditMode="relative" rAng="0" ptsTypes="AA">
                                      <p:cBhvr>
                                        <p:cTn id="53" dur="1500" fill="hold"/>
                                        <p:tgtEl>
                                          <p:spTgt spid="26"/>
                                        </p:tgtEl>
                                        <p:attrNameLst>
                                          <p:attrName>ppt_x</p:attrName>
                                          <p:attrName>ppt_y</p:attrName>
                                        </p:attrNameLst>
                                      </p:cBhvr>
                                      <p:rCtr x="974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10" grpId="0" animBg="1"/>
      <p:bldP spid="11" grpId="0" animBg="1"/>
      <p:bldP spid="12" grpId="0" animBg="1"/>
      <p:bldP spid="13" grpId="0" animBg="1"/>
      <p:bldP spid="2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5967" b="-308"/>
          <a:stretch>
            <a:fillRect/>
          </a:stretch>
        </p:blipFill>
        <p:spPr bwMode="auto">
          <a:xfrm>
            <a:off x="3119729" y="1218518"/>
            <a:ext cx="2808312" cy="2355007"/>
          </a:xfrm>
          <a:prstGeom prst="triangle">
            <a:avLst/>
          </a:prstGeom>
          <a:noFill/>
          <a:extLst>
            <a:ext uri="{909E8E84-426E-40DD-AFC4-6F175D3DCCD1}">
              <a14:hiddenFill xmlns:a14="http://schemas.microsoft.com/office/drawing/2010/main">
                <a:solidFill>
                  <a:srgbClr val="FFFFFF"/>
                </a:solidFill>
              </a14:hiddenFill>
            </a:ext>
          </a:extLst>
        </p:spPr>
      </p:pic>
      <p:sp>
        <p:nvSpPr>
          <p:cNvPr id="58" name="等腰三角形 57"/>
          <p:cNvSpPr/>
          <p:nvPr/>
        </p:nvSpPr>
        <p:spPr>
          <a:xfrm>
            <a:off x="2880462" y="858478"/>
            <a:ext cx="3286845" cy="2833487"/>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TextBox 58"/>
          <p:cNvSpPr txBox="1"/>
          <p:nvPr/>
        </p:nvSpPr>
        <p:spPr>
          <a:xfrm>
            <a:off x="4006660" y="2010606"/>
            <a:ext cx="1034450" cy="1323439"/>
          </a:xfrm>
          <a:prstGeom prst="rect">
            <a:avLst/>
          </a:prstGeom>
          <a:noFill/>
        </p:spPr>
        <p:txBody>
          <a:bodyPr wrap="none" rtlCol="0">
            <a:spAutoFit/>
          </a:bodyPr>
          <a:lstStyle/>
          <a:p>
            <a:pPr algn="ctr"/>
            <a:r>
              <a:rPr lang="en-US" altLang="zh-CN" sz="4000" dirty="0">
                <a:solidFill>
                  <a:schemeClr val="bg1"/>
                </a:solidFill>
              </a:rPr>
              <a:t>Part</a:t>
            </a:r>
          </a:p>
          <a:p>
            <a:pPr algn="ctr"/>
            <a:r>
              <a:rPr lang="en-US" altLang="zh-CN" sz="4000" b="1" dirty="0">
                <a:solidFill>
                  <a:schemeClr val="bg1"/>
                </a:solidFill>
              </a:rPr>
              <a:t>04</a:t>
            </a:r>
            <a:endParaRPr lang="zh-CN" altLang="en-US" sz="4000" b="1" dirty="0">
              <a:solidFill>
                <a:schemeClr val="bg1"/>
              </a:solidFill>
            </a:endParaRPr>
          </a:p>
        </p:txBody>
      </p:sp>
      <p:sp>
        <p:nvSpPr>
          <p:cNvPr id="62" name="TextBox 61"/>
          <p:cNvSpPr txBox="1"/>
          <p:nvPr/>
        </p:nvSpPr>
        <p:spPr>
          <a:xfrm>
            <a:off x="2709083" y="3667362"/>
            <a:ext cx="3699987" cy="707886"/>
          </a:xfrm>
          <a:prstGeom prst="rect">
            <a:avLst/>
          </a:prstGeom>
          <a:noFill/>
        </p:spPr>
        <p:txBody>
          <a:bodyPr wrap="none" rtlCol="0">
            <a:spAutoFit/>
          </a:bodyPr>
          <a:lstStyle/>
          <a:p>
            <a:pPr algn="ctr"/>
            <a:r>
              <a:rPr lang="en-US" altLang="zh-CN" sz="4000" b="1" dirty="0">
                <a:gradFill flip="none" rotWithShape="1">
                  <a:gsLst>
                    <a:gs pos="417">
                      <a:srgbClr val="00B0F0"/>
                    </a:gs>
                    <a:gs pos="99167">
                      <a:srgbClr val="FFFF00"/>
                    </a:gs>
                    <a:gs pos="37000">
                      <a:srgbClr val="71158D"/>
                    </a:gs>
                    <a:gs pos="64000">
                      <a:srgbClr val="800080"/>
                    </a:gs>
                  </a:gsLst>
                  <a:lin ang="0" scaled="1"/>
                  <a:tileRect/>
                </a:gradFill>
              </a:rPr>
              <a:t>ADD YOUR TITLE</a:t>
            </a:r>
            <a:endParaRPr lang="zh-CN" altLang="en-US" sz="4000" b="1" dirty="0">
              <a:gradFill flip="none" rotWithShape="1">
                <a:gsLst>
                  <a:gs pos="417">
                    <a:srgbClr val="00B0F0"/>
                  </a:gs>
                  <a:gs pos="99167">
                    <a:srgbClr val="FFFF00"/>
                  </a:gs>
                  <a:gs pos="37000">
                    <a:srgbClr val="71158D"/>
                  </a:gs>
                  <a:gs pos="64000">
                    <a:srgbClr val="800080"/>
                  </a:gs>
                </a:gsLst>
                <a:lin ang="0" scaled="1"/>
                <a:tileRect/>
              </a:gradFill>
            </a:endParaRPr>
          </a:p>
        </p:txBody>
      </p:sp>
      <p:grpSp>
        <p:nvGrpSpPr>
          <p:cNvPr id="63" name="组合 62"/>
          <p:cNvGrpSpPr/>
          <p:nvPr/>
        </p:nvGrpSpPr>
        <p:grpSpPr>
          <a:xfrm>
            <a:off x="6187103" y="3363301"/>
            <a:ext cx="519515" cy="457509"/>
            <a:chOff x="7004888" y="2091225"/>
            <a:chExt cx="519515" cy="457509"/>
          </a:xfrm>
        </p:grpSpPr>
        <p:sp>
          <p:nvSpPr>
            <p:cNvPr id="64" name="等腰三角形 6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等腰三角形 64"/>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等腰三角形 65"/>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等腰三角形 6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3" name="组合 72"/>
          <p:cNvGrpSpPr/>
          <p:nvPr/>
        </p:nvGrpSpPr>
        <p:grpSpPr>
          <a:xfrm flipH="1">
            <a:off x="2350714" y="3363301"/>
            <a:ext cx="519515" cy="457509"/>
            <a:chOff x="7004888" y="2091225"/>
            <a:chExt cx="519515" cy="457509"/>
          </a:xfrm>
        </p:grpSpPr>
        <p:sp>
          <p:nvSpPr>
            <p:cNvPr id="74" name="等腰三角形 7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等腰三角形 74"/>
            <p:cNvSpPr/>
            <p:nvPr/>
          </p:nvSpPr>
          <p:spPr>
            <a:xfrm rot="8122854" flipH="1">
              <a:off x="7303361" y="209122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等腰三角形 75"/>
            <p:cNvSpPr/>
            <p:nvPr/>
          </p:nvSpPr>
          <p:spPr>
            <a:xfrm rot="8122854" flipH="1">
              <a:off x="7004888" y="209661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等腰三角形 7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p:cTn id="7" dur="500" fill="hold"/>
                                        <p:tgtEl>
                                          <p:spTgt spid="57"/>
                                        </p:tgtEl>
                                        <p:attrNameLst>
                                          <p:attrName>ppt_w</p:attrName>
                                        </p:attrNameLst>
                                      </p:cBhvr>
                                      <p:tavLst>
                                        <p:tav tm="0">
                                          <p:val>
                                            <p:fltVal val="0"/>
                                          </p:val>
                                        </p:tav>
                                        <p:tav tm="100000">
                                          <p:val>
                                            <p:strVal val="#ppt_w"/>
                                          </p:val>
                                        </p:tav>
                                      </p:tavLst>
                                    </p:anim>
                                    <p:anim calcmode="lin" valueType="num">
                                      <p:cBhvr>
                                        <p:cTn id="8" dur="500" fill="hold"/>
                                        <p:tgtEl>
                                          <p:spTgt spid="57"/>
                                        </p:tgtEl>
                                        <p:attrNameLst>
                                          <p:attrName>ppt_h</p:attrName>
                                        </p:attrNameLst>
                                      </p:cBhvr>
                                      <p:tavLst>
                                        <p:tav tm="0">
                                          <p:val>
                                            <p:fltVal val="0"/>
                                          </p:val>
                                        </p:tav>
                                        <p:tav tm="100000">
                                          <p:val>
                                            <p:strVal val="#ppt_h"/>
                                          </p:val>
                                        </p:tav>
                                      </p:tavLst>
                                    </p:anim>
                                    <p:animEffect transition="in" filter="fade">
                                      <p:cBhvr>
                                        <p:cTn id="9" dur="500"/>
                                        <p:tgtEl>
                                          <p:spTgt spid="57"/>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58"/>
                                        </p:tgtEl>
                                        <p:attrNameLst>
                                          <p:attrName>style.visibility</p:attrName>
                                        </p:attrNameLst>
                                      </p:cBhvr>
                                      <p:to>
                                        <p:strVal val="visible"/>
                                      </p:to>
                                    </p:set>
                                    <p:anim calcmode="lin" valueType="num">
                                      <p:cBhvr>
                                        <p:cTn id="12" dur="500" fill="hold"/>
                                        <p:tgtEl>
                                          <p:spTgt spid="58"/>
                                        </p:tgtEl>
                                        <p:attrNameLst>
                                          <p:attrName>ppt_w</p:attrName>
                                        </p:attrNameLst>
                                      </p:cBhvr>
                                      <p:tavLst>
                                        <p:tav tm="0">
                                          <p:val>
                                            <p:fltVal val="0"/>
                                          </p:val>
                                        </p:tav>
                                        <p:tav tm="100000">
                                          <p:val>
                                            <p:strVal val="#ppt_w"/>
                                          </p:val>
                                        </p:tav>
                                      </p:tavLst>
                                    </p:anim>
                                    <p:anim calcmode="lin" valueType="num">
                                      <p:cBhvr>
                                        <p:cTn id="13" dur="500" fill="hold"/>
                                        <p:tgtEl>
                                          <p:spTgt spid="58"/>
                                        </p:tgtEl>
                                        <p:attrNameLst>
                                          <p:attrName>ppt_h</p:attrName>
                                        </p:attrNameLst>
                                      </p:cBhvr>
                                      <p:tavLst>
                                        <p:tav tm="0">
                                          <p:val>
                                            <p:fltVal val="0"/>
                                          </p:val>
                                        </p:tav>
                                        <p:tav tm="100000">
                                          <p:val>
                                            <p:strVal val="#ppt_h"/>
                                          </p:val>
                                        </p:tav>
                                      </p:tavLst>
                                    </p:anim>
                                    <p:animEffect transition="in" filter="fade">
                                      <p:cBhvr>
                                        <p:cTn id="14" dur="500"/>
                                        <p:tgtEl>
                                          <p:spTgt spid="58"/>
                                        </p:tgtEl>
                                      </p:cBhvr>
                                    </p:animEffec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59"/>
                                        </p:tgtEl>
                                        <p:attrNameLst>
                                          <p:attrName>style.visibility</p:attrName>
                                        </p:attrNameLst>
                                      </p:cBhvr>
                                      <p:to>
                                        <p:strVal val="visible"/>
                                      </p:to>
                                    </p:set>
                                    <p:animEffect transition="in" filter="fade">
                                      <p:cBhvr>
                                        <p:cTn id="18" dur="500"/>
                                        <p:tgtEl>
                                          <p:spTgt spid="59"/>
                                        </p:tgtEl>
                                      </p:cBhvr>
                                    </p:animEffect>
                                  </p:childTnLst>
                                </p:cTn>
                              </p:par>
                            </p:childTnLst>
                          </p:cTn>
                        </p:par>
                        <p:par>
                          <p:cTn id="19" fill="hold">
                            <p:stCondLst>
                              <p:cond delay="1000"/>
                            </p:stCondLst>
                            <p:childTnLst>
                              <p:par>
                                <p:cTn id="20" presetID="31" presetClass="entr" presetSubtype="0" fill="hold" nodeType="afterEffect">
                                  <p:stCondLst>
                                    <p:cond delay="0"/>
                                  </p:stCondLst>
                                  <p:childTnLst>
                                    <p:set>
                                      <p:cBhvr>
                                        <p:cTn id="21" dur="1" fill="hold">
                                          <p:stCondLst>
                                            <p:cond delay="0"/>
                                          </p:stCondLst>
                                        </p:cTn>
                                        <p:tgtEl>
                                          <p:spTgt spid="63"/>
                                        </p:tgtEl>
                                        <p:attrNameLst>
                                          <p:attrName>style.visibility</p:attrName>
                                        </p:attrNameLst>
                                      </p:cBhvr>
                                      <p:to>
                                        <p:strVal val="visible"/>
                                      </p:to>
                                    </p:set>
                                    <p:anim calcmode="lin" valueType="num">
                                      <p:cBhvr>
                                        <p:cTn id="22" dur="750" fill="hold"/>
                                        <p:tgtEl>
                                          <p:spTgt spid="63"/>
                                        </p:tgtEl>
                                        <p:attrNameLst>
                                          <p:attrName>ppt_w</p:attrName>
                                        </p:attrNameLst>
                                      </p:cBhvr>
                                      <p:tavLst>
                                        <p:tav tm="0">
                                          <p:val>
                                            <p:fltVal val="0"/>
                                          </p:val>
                                        </p:tav>
                                        <p:tav tm="100000">
                                          <p:val>
                                            <p:strVal val="#ppt_w"/>
                                          </p:val>
                                        </p:tav>
                                      </p:tavLst>
                                    </p:anim>
                                    <p:anim calcmode="lin" valueType="num">
                                      <p:cBhvr>
                                        <p:cTn id="23" dur="750" fill="hold"/>
                                        <p:tgtEl>
                                          <p:spTgt spid="63"/>
                                        </p:tgtEl>
                                        <p:attrNameLst>
                                          <p:attrName>ppt_h</p:attrName>
                                        </p:attrNameLst>
                                      </p:cBhvr>
                                      <p:tavLst>
                                        <p:tav tm="0">
                                          <p:val>
                                            <p:fltVal val="0"/>
                                          </p:val>
                                        </p:tav>
                                        <p:tav tm="100000">
                                          <p:val>
                                            <p:strVal val="#ppt_h"/>
                                          </p:val>
                                        </p:tav>
                                      </p:tavLst>
                                    </p:anim>
                                    <p:anim calcmode="lin" valueType="num">
                                      <p:cBhvr>
                                        <p:cTn id="24" dur="750" fill="hold"/>
                                        <p:tgtEl>
                                          <p:spTgt spid="63"/>
                                        </p:tgtEl>
                                        <p:attrNameLst>
                                          <p:attrName>style.rotation</p:attrName>
                                        </p:attrNameLst>
                                      </p:cBhvr>
                                      <p:tavLst>
                                        <p:tav tm="0">
                                          <p:val>
                                            <p:fltVal val="90"/>
                                          </p:val>
                                        </p:tav>
                                        <p:tav tm="100000">
                                          <p:val>
                                            <p:fltVal val="0"/>
                                          </p:val>
                                        </p:tav>
                                      </p:tavLst>
                                    </p:anim>
                                    <p:animEffect transition="in" filter="fade">
                                      <p:cBhvr>
                                        <p:cTn id="25" dur="750"/>
                                        <p:tgtEl>
                                          <p:spTgt spid="63"/>
                                        </p:tgtEl>
                                      </p:cBhvr>
                                    </p:animEffect>
                                  </p:childTnLst>
                                </p:cTn>
                              </p:par>
                              <p:par>
                                <p:cTn id="26" presetID="31" presetClass="entr" presetSubtype="0" fill="hold" nodeType="withEffect">
                                  <p:stCondLst>
                                    <p:cond delay="0"/>
                                  </p:stCondLst>
                                  <p:childTnLst>
                                    <p:set>
                                      <p:cBhvr>
                                        <p:cTn id="27" dur="1" fill="hold">
                                          <p:stCondLst>
                                            <p:cond delay="0"/>
                                          </p:stCondLst>
                                        </p:cTn>
                                        <p:tgtEl>
                                          <p:spTgt spid="73"/>
                                        </p:tgtEl>
                                        <p:attrNameLst>
                                          <p:attrName>style.visibility</p:attrName>
                                        </p:attrNameLst>
                                      </p:cBhvr>
                                      <p:to>
                                        <p:strVal val="visible"/>
                                      </p:to>
                                    </p:set>
                                    <p:anim calcmode="lin" valueType="num">
                                      <p:cBhvr>
                                        <p:cTn id="28" dur="750" fill="hold"/>
                                        <p:tgtEl>
                                          <p:spTgt spid="73"/>
                                        </p:tgtEl>
                                        <p:attrNameLst>
                                          <p:attrName>ppt_w</p:attrName>
                                        </p:attrNameLst>
                                      </p:cBhvr>
                                      <p:tavLst>
                                        <p:tav tm="0">
                                          <p:val>
                                            <p:fltVal val="0"/>
                                          </p:val>
                                        </p:tav>
                                        <p:tav tm="100000">
                                          <p:val>
                                            <p:strVal val="#ppt_w"/>
                                          </p:val>
                                        </p:tav>
                                      </p:tavLst>
                                    </p:anim>
                                    <p:anim calcmode="lin" valueType="num">
                                      <p:cBhvr>
                                        <p:cTn id="29" dur="750" fill="hold"/>
                                        <p:tgtEl>
                                          <p:spTgt spid="73"/>
                                        </p:tgtEl>
                                        <p:attrNameLst>
                                          <p:attrName>ppt_h</p:attrName>
                                        </p:attrNameLst>
                                      </p:cBhvr>
                                      <p:tavLst>
                                        <p:tav tm="0">
                                          <p:val>
                                            <p:fltVal val="0"/>
                                          </p:val>
                                        </p:tav>
                                        <p:tav tm="100000">
                                          <p:val>
                                            <p:strVal val="#ppt_h"/>
                                          </p:val>
                                        </p:tav>
                                      </p:tavLst>
                                    </p:anim>
                                    <p:anim calcmode="lin" valueType="num">
                                      <p:cBhvr>
                                        <p:cTn id="30" dur="750" fill="hold"/>
                                        <p:tgtEl>
                                          <p:spTgt spid="73"/>
                                        </p:tgtEl>
                                        <p:attrNameLst>
                                          <p:attrName>style.rotation</p:attrName>
                                        </p:attrNameLst>
                                      </p:cBhvr>
                                      <p:tavLst>
                                        <p:tav tm="0">
                                          <p:val>
                                            <p:fltVal val="90"/>
                                          </p:val>
                                        </p:tav>
                                        <p:tav tm="100000">
                                          <p:val>
                                            <p:fltVal val="0"/>
                                          </p:val>
                                        </p:tav>
                                      </p:tavLst>
                                    </p:anim>
                                    <p:animEffect transition="in" filter="fade">
                                      <p:cBhvr>
                                        <p:cTn id="31" dur="750"/>
                                        <p:tgtEl>
                                          <p:spTgt spid="73"/>
                                        </p:tgtEl>
                                      </p:cBhvr>
                                    </p:animEffect>
                                  </p:childTnLst>
                                </p:cTn>
                              </p:par>
                            </p:childTnLst>
                          </p:cTn>
                        </p:par>
                        <p:par>
                          <p:cTn id="32" fill="hold">
                            <p:stCondLst>
                              <p:cond delay="2000"/>
                            </p:stCondLst>
                            <p:childTnLst>
                              <p:par>
                                <p:cTn id="33" presetID="12" presetClass="entr" presetSubtype="4" fill="hold" grpId="0" nodeType="afterEffect">
                                  <p:stCondLst>
                                    <p:cond delay="0"/>
                                  </p:stCondLst>
                                  <p:childTnLst>
                                    <p:set>
                                      <p:cBhvr>
                                        <p:cTn id="34" dur="1" fill="hold">
                                          <p:stCondLst>
                                            <p:cond delay="0"/>
                                          </p:stCondLst>
                                        </p:cTn>
                                        <p:tgtEl>
                                          <p:spTgt spid="62"/>
                                        </p:tgtEl>
                                        <p:attrNameLst>
                                          <p:attrName>style.visibility</p:attrName>
                                        </p:attrNameLst>
                                      </p:cBhvr>
                                      <p:to>
                                        <p:strVal val="visible"/>
                                      </p:to>
                                    </p:set>
                                    <p:anim calcmode="lin" valueType="num">
                                      <p:cBhvr additive="base">
                                        <p:cTn id="35" dur="500"/>
                                        <p:tgtEl>
                                          <p:spTgt spid="62"/>
                                        </p:tgtEl>
                                        <p:attrNameLst>
                                          <p:attrName>ppt_y</p:attrName>
                                        </p:attrNameLst>
                                      </p:cBhvr>
                                      <p:tavLst>
                                        <p:tav tm="0">
                                          <p:val>
                                            <p:strVal val="#ppt_y+#ppt_h*1.125000"/>
                                          </p:val>
                                        </p:tav>
                                        <p:tav tm="100000">
                                          <p:val>
                                            <p:strVal val="#ppt_y"/>
                                          </p:val>
                                        </p:tav>
                                      </p:tavLst>
                                    </p:anim>
                                    <p:animEffect transition="in" filter="wipe(up)">
                                      <p:cBhvr>
                                        <p:cTn id="36"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9" grpId="0"/>
      <p:bldP spid="6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I:\PPT素材\图片素材\百张low poly 高清背景图\62.jpg"/>
          <p:cNvPicPr>
            <a:picLocks noChangeAspect="1" noChangeArrowheads="1"/>
          </p:cNvPicPr>
          <p:nvPr/>
        </p:nvPicPr>
        <p:blipFill rotWithShape="1">
          <a:blip r:embed="rId2">
            <a:extLst>
              <a:ext uri="{28A0092B-C50C-407E-A947-70E740481C1C}">
                <a14:useLocalDpi xmlns:a14="http://schemas.microsoft.com/office/drawing/2010/main" val="0"/>
              </a:ext>
            </a:extLst>
          </a:blip>
          <a:srcRect l="10527" t="19203" r="11894" b="24177"/>
          <a:stretch>
            <a:fillRect/>
          </a:stretch>
        </p:blipFill>
        <p:spPr bwMode="auto">
          <a:xfrm>
            <a:off x="-3303087" y="0"/>
            <a:ext cx="7928386" cy="5143501"/>
          </a:xfrm>
          <a:prstGeom prst="parallelogram">
            <a:avLst>
              <a:gd name="adj" fmla="val 36294"/>
            </a:avLst>
          </a:prstGeom>
          <a:noFill/>
          <a:extLst>
            <a:ext uri="{909E8E84-426E-40DD-AFC4-6F175D3DCCD1}">
              <a14:hiddenFill xmlns:a14="http://schemas.microsoft.com/office/drawing/2010/main">
                <a:solidFill>
                  <a:srgbClr val="FFFFFF"/>
                </a:solidFill>
              </a14:hiddenFill>
            </a:ext>
          </a:extLst>
        </p:spPr>
      </p:pic>
      <p:sp>
        <p:nvSpPr>
          <p:cNvPr id="5" name="矩形 4"/>
          <p:cNvSpPr/>
          <p:nvPr/>
        </p:nvSpPr>
        <p:spPr>
          <a:xfrm>
            <a:off x="5013344" y="498794"/>
            <a:ext cx="2865103"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5400" b="1" dirty="0">
                <a:gradFill flip="none" rotWithShape="1">
                  <a:gsLst>
                    <a:gs pos="417">
                      <a:srgbClr val="00B0F0"/>
                    </a:gs>
                    <a:gs pos="99167">
                      <a:srgbClr val="FFFF00"/>
                    </a:gs>
                    <a:gs pos="37000">
                      <a:srgbClr val="71158D"/>
                    </a:gs>
                    <a:gs pos="64000">
                      <a:srgbClr val="800080"/>
                    </a:gs>
                  </a:gsLst>
                  <a:lin ang="0" scaled="1"/>
                  <a:tileRect/>
                </a:gradFill>
                <a:latin typeface="Agency FB" pitchFamily="34" charset="0"/>
              </a:rPr>
              <a:t>CONTENT</a:t>
            </a:r>
            <a:endParaRPr lang="zh-CN" altLang="en-US" sz="5400" b="1" dirty="0">
              <a:gradFill flip="none" rotWithShape="1">
                <a:gsLst>
                  <a:gs pos="417">
                    <a:srgbClr val="00B0F0"/>
                  </a:gs>
                  <a:gs pos="99167">
                    <a:srgbClr val="FFFF00"/>
                  </a:gs>
                  <a:gs pos="37000">
                    <a:srgbClr val="71158D"/>
                  </a:gs>
                  <a:gs pos="64000">
                    <a:srgbClr val="800080"/>
                  </a:gs>
                </a:gsLst>
                <a:lin ang="0" scaled="1"/>
                <a:tileRect/>
              </a:gradFill>
              <a:latin typeface="Agency FB" pitchFamily="34" charset="0"/>
            </a:endParaRPr>
          </a:p>
        </p:txBody>
      </p:sp>
      <p:grpSp>
        <p:nvGrpSpPr>
          <p:cNvPr id="6" name="组合 5"/>
          <p:cNvGrpSpPr/>
          <p:nvPr/>
        </p:nvGrpSpPr>
        <p:grpSpPr>
          <a:xfrm>
            <a:off x="3485184" y="1563638"/>
            <a:ext cx="4255168" cy="728663"/>
            <a:chOff x="2519364" y="1685925"/>
            <a:chExt cx="5678559" cy="728663"/>
          </a:xfrm>
        </p:grpSpPr>
        <p:sp>
          <p:nvSpPr>
            <p:cNvPr id="7" name="任意多边形 6"/>
            <p:cNvSpPr/>
            <p:nvPr/>
          </p:nvSpPr>
          <p:spPr bwMode="auto">
            <a:xfrm>
              <a:off x="2519364" y="1685925"/>
              <a:ext cx="844550" cy="728663"/>
            </a:xfrm>
            <a:custGeom>
              <a:avLst/>
              <a:gdLst>
                <a:gd name="connsiteX0" fmla="*/ 486054 w 844684"/>
                <a:gd name="connsiteY0" fmla="*/ 0 h 972108"/>
                <a:gd name="connsiteX1" fmla="*/ 829746 w 844684"/>
                <a:gd name="connsiteY1" fmla="*/ 142362 h 972108"/>
                <a:gd name="connsiteX2" fmla="*/ 844684 w 844684"/>
                <a:gd name="connsiteY2" fmla="*/ 160467 h 972108"/>
                <a:gd name="connsiteX3" fmla="*/ 832222 w 844684"/>
                <a:gd name="connsiteY3" fmla="*/ 150184 h 972108"/>
                <a:gd name="connsiteX4" fmla="*/ 605757 w 844684"/>
                <a:gd name="connsiteY4" fmla="*/ 81009 h 972108"/>
                <a:gd name="connsiteX5" fmla="*/ 200712 w 844684"/>
                <a:gd name="connsiteY5" fmla="*/ 486054 h 972108"/>
                <a:gd name="connsiteX6" fmla="*/ 605757 w 844684"/>
                <a:gd name="connsiteY6" fmla="*/ 891099 h 972108"/>
                <a:gd name="connsiteX7" fmla="*/ 832222 w 844684"/>
                <a:gd name="connsiteY7" fmla="*/ 821924 h 972108"/>
                <a:gd name="connsiteX8" fmla="*/ 844684 w 844684"/>
                <a:gd name="connsiteY8" fmla="*/ 811641 h 972108"/>
                <a:gd name="connsiteX9" fmla="*/ 829746 w 844684"/>
                <a:gd name="connsiteY9" fmla="*/ 829746 h 972108"/>
                <a:gd name="connsiteX10" fmla="*/ 486054 w 844684"/>
                <a:gd name="connsiteY10" fmla="*/ 972108 h 972108"/>
                <a:gd name="connsiteX11" fmla="*/ 0 w 844684"/>
                <a:gd name="connsiteY11" fmla="*/ 486054 h 972108"/>
                <a:gd name="connsiteX12" fmla="*/ 486054 w 844684"/>
                <a:gd name="connsiteY12" fmla="*/ 0 h 97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4684" h="972108">
                  <a:moveTo>
                    <a:pt x="486054" y="0"/>
                  </a:moveTo>
                  <a:cubicBezTo>
                    <a:pt x="620274" y="0"/>
                    <a:pt x="741788" y="54404"/>
                    <a:pt x="829746" y="142362"/>
                  </a:cubicBezTo>
                  <a:lnTo>
                    <a:pt x="844684" y="160467"/>
                  </a:lnTo>
                  <a:lnTo>
                    <a:pt x="832222" y="150184"/>
                  </a:lnTo>
                  <a:cubicBezTo>
                    <a:pt x="767576" y="106511"/>
                    <a:pt x="689645" y="81009"/>
                    <a:pt x="605757" y="81009"/>
                  </a:cubicBezTo>
                  <a:cubicBezTo>
                    <a:pt x="382057" y="81009"/>
                    <a:pt x="200712" y="262354"/>
                    <a:pt x="200712" y="486054"/>
                  </a:cubicBezTo>
                  <a:cubicBezTo>
                    <a:pt x="200712" y="709754"/>
                    <a:pt x="382057" y="891099"/>
                    <a:pt x="605757" y="891099"/>
                  </a:cubicBezTo>
                  <a:cubicBezTo>
                    <a:pt x="689645" y="891099"/>
                    <a:pt x="767576" y="865597"/>
                    <a:pt x="832222" y="821924"/>
                  </a:cubicBezTo>
                  <a:lnTo>
                    <a:pt x="844684" y="811641"/>
                  </a:lnTo>
                  <a:lnTo>
                    <a:pt x="829746" y="829746"/>
                  </a:lnTo>
                  <a:cubicBezTo>
                    <a:pt x="741788" y="917705"/>
                    <a:pt x="620274" y="972108"/>
                    <a:pt x="486054" y="972108"/>
                  </a:cubicBezTo>
                  <a:cubicBezTo>
                    <a:pt x="217614" y="972108"/>
                    <a:pt x="0" y="754494"/>
                    <a:pt x="0" y="486054"/>
                  </a:cubicBezTo>
                  <a:cubicBezTo>
                    <a:pt x="0" y="217614"/>
                    <a:pt x="217614" y="0"/>
                    <a:pt x="486054" y="0"/>
                  </a:cubicBezTo>
                  <a:close/>
                </a:path>
              </a:pathLst>
            </a:custGeom>
            <a:solidFill>
              <a:srgbClr val="800080"/>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mn-lt"/>
                <a:ea typeface="+mn-ea"/>
              </a:endParaRPr>
            </a:p>
          </p:txBody>
        </p:sp>
        <p:sp>
          <p:nvSpPr>
            <p:cNvPr id="8" name="圆角矩形 7"/>
            <p:cNvSpPr/>
            <p:nvPr/>
          </p:nvSpPr>
          <p:spPr bwMode="auto">
            <a:xfrm>
              <a:off x="3125789" y="1822847"/>
              <a:ext cx="5072134" cy="446484"/>
            </a:xfrm>
            <a:prstGeom prst="roundRect">
              <a:avLst>
                <a:gd name="adj" fmla="val 50000"/>
              </a:avLst>
            </a:prstGeom>
            <a:solidFill>
              <a:schemeClr val="bg1">
                <a:lumMod val="95000"/>
              </a:schemeClr>
            </a:solidFill>
            <a:ln w="25400" cap="flat" cmpd="sng" algn="ctr">
              <a:solidFill>
                <a:sysClr val="window" lastClr="FFFFFF"/>
              </a:solidFill>
              <a:prstDash val="solid"/>
            </a:ln>
            <a:effectLst/>
          </p:spPr>
          <p:txBody>
            <a:bodyPr anchor="ctr"/>
            <a:lstStyle/>
            <a:p>
              <a:pPr algn="ctr" eaLnBrk="1" fontAlgn="auto" hangingPunct="1">
                <a:lnSpc>
                  <a:spcPct val="130000"/>
                </a:lnSpc>
                <a:spcBef>
                  <a:spcPts val="0"/>
                </a:spcBef>
                <a:spcAft>
                  <a:spcPts val="0"/>
                </a:spcAft>
                <a:defRPr/>
              </a:pPr>
              <a:r>
                <a:rPr lang="en-US" altLang="zh-CN" sz="1350" b="1" kern="0" dirty="0">
                  <a:solidFill>
                    <a:prstClr val="black">
                      <a:lumMod val="65000"/>
                      <a:lumOff val="35000"/>
                    </a:prstClr>
                  </a:solidFill>
                  <a:latin typeface="微软雅黑" panose="020B0503020204020204" pitchFamily="34" charset="-122"/>
                  <a:ea typeface="微软雅黑" panose="020B0503020204020204" pitchFamily="34" charset="-122"/>
                </a:rPr>
                <a:t>ADD YOUR TEXT</a:t>
              </a:r>
              <a:endParaRPr lang="en-US" sz="1350" b="1" kern="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9" name="椭圆 8"/>
            <p:cNvSpPr/>
            <p:nvPr/>
          </p:nvSpPr>
          <p:spPr bwMode="auto">
            <a:xfrm>
              <a:off x="2841626" y="1807369"/>
              <a:ext cx="650875" cy="486966"/>
            </a:xfrm>
            <a:prstGeom prst="ellipse">
              <a:avLst/>
            </a:prstGeom>
            <a:solidFill>
              <a:srgbClr val="CC0099"/>
            </a:solidFill>
            <a:ln w="25400" cap="flat" cmpd="sng" algn="ctr">
              <a:noFill/>
              <a:prstDash val="solid"/>
            </a:ln>
            <a:effectLst/>
          </p:spPr>
          <p:txBody>
            <a:bodyPr anchor="ctr"/>
            <a:lstStyle/>
            <a:p>
              <a:pPr algn="ctr" eaLnBrk="1" fontAlgn="auto" hangingPunct="1">
                <a:spcBef>
                  <a:spcPts val="0"/>
                </a:spcBef>
                <a:spcAft>
                  <a:spcPts val="0"/>
                </a:spcAft>
                <a:defRPr/>
              </a:pPr>
              <a:r>
                <a:rPr lang="en-US" sz="2800" kern="0" dirty="0">
                  <a:solidFill>
                    <a:sysClr val="window" lastClr="FFFFFF"/>
                  </a:solidFill>
                  <a:latin typeface="Arial Black" panose="020B0A04020102020204" pitchFamily="34" charset="0"/>
                  <a:ea typeface="+mn-ea"/>
                </a:rPr>
                <a:t>1</a:t>
              </a:r>
            </a:p>
          </p:txBody>
        </p:sp>
      </p:grpSp>
      <p:grpSp>
        <p:nvGrpSpPr>
          <p:cNvPr id="10" name="组合 9"/>
          <p:cNvGrpSpPr/>
          <p:nvPr/>
        </p:nvGrpSpPr>
        <p:grpSpPr>
          <a:xfrm>
            <a:off x="3197152" y="2388319"/>
            <a:ext cx="3967136" cy="728663"/>
            <a:chOff x="2519364" y="1685925"/>
            <a:chExt cx="4806950" cy="728663"/>
          </a:xfrm>
        </p:grpSpPr>
        <p:sp>
          <p:nvSpPr>
            <p:cNvPr id="11" name="任意多边形 10"/>
            <p:cNvSpPr/>
            <p:nvPr/>
          </p:nvSpPr>
          <p:spPr bwMode="auto">
            <a:xfrm>
              <a:off x="2519364" y="1685925"/>
              <a:ext cx="844550" cy="728663"/>
            </a:xfrm>
            <a:custGeom>
              <a:avLst/>
              <a:gdLst>
                <a:gd name="connsiteX0" fmla="*/ 486054 w 844684"/>
                <a:gd name="connsiteY0" fmla="*/ 0 h 972108"/>
                <a:gd name="connsiteX1" fmla="*/ 829746 w 844684"/>
                <a:gd name="connsiteY1" fmla="*/ 142362 h 972108"/>
                <a:gd name="connsiteX2" fmla="*/ 844684 w 844684"/>
                <a:gd name="connsiteY2" fmla="*/ 160467 h 972108"/>
                <a:gd name="connsiteX3" fmla="*/ 832222 w 844684"/>
                <a:gd name="connsiteY3" fmla="*/ 150184 h 972108"/>
                <a:gd name="connsiteX4" fmla="*/ 605757 w 844684"/>
                <a:gd name="connsiteY4" fmla="*/ 81009 h 972108"/>
                <a:gd name="connsiteX5" fmla="*/ 200712 w 844684"/>
                <a:gd name="connsiteY5" fmla="*/ 486054 h 972108"/>
                <a:gd name="connsiteX6" fmla="*/ 605757 w 844684"/>
                <a:gd name="connsiteY6" fmla="*/ 891099 h 972108"/>
                <a:gd name="connsiteX7" fmla="*/ 832222 w 844684"/>
                <a:gd name="connsiteY7" fmla="*/ 821924 h 972108"/>
                <a:gd name="connsiteX8" fmla="*/ 844684 w 844684"/>
                <a:gd name="connsiteY8" fmla="*/ 811641 h 972108"/>
                <a:gd name="connsiteX9" fmla="*/ 829746 w 844684"/>
                <a:gd name="connsiteY9" fmla="*/ 829746 h 972108"/>
                <a:gd name="connsiteX10" fmla="*/ 486054 w 844684"/>
                <a:gd name="connsiteY10" fmla="*/ 972108 h 972108"/>
                <a:gd name="connsiteX11" fmla="*/ 0 w 844684"/>
                <a:gd name="connsiteY11" fmla="*/ 486054 h 972108"/>
                <a:gd name="connsiteX12" fmla="*/ 486054 w 844684"/>
                <a:gd name="connsiteY12" fmla="*/ 0 h 97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4684" h="972108">
                  <a:moveTo>
                    <a:pt x="486054" y="0"/>
                  </a:moveTo>
                  <a:cubicBezTo>
                    <a:pt x="620274" y="0"/>
                    <a:pt x="741788" y="54404"/>
                    <a:pt x="829746" y="142362"/>
                  </a:cubicBezTo>
                  <a:lnTo>
                    <a:pt x="844684" y="160467"/>
                  </a:lnTo>
                  <a:lnTo>
                    <a:pt x="832222" y="150184"/>
                  </a:lnTo>
                  <a:cubicBezTo>
                    <a:pt x="767576" y="106511"/>
                    <a:pt x="689645" y="81009"/>
                    <a:pt x="605757" y="81009"/>
                  </a:cubicBezTo>
                  <a:cubicBezTo>
                    <a:pt x="382057" y="81009"/>
                    <a:pt x="200712" y="262354"/>
                    <a:pt x="200712" y="486054"/>
                  </a:cubicBezTo>
                  <a:cubicBezTo>
                    <a:pt x="200712" y="709754"/>
                    <a:pt x="382057" y="891099"/>
                    <a:pt x="605757" y="891099"/>
                  </a:cubicBezTo>
                  <a:cubicBezTo>
                    <a:pt x="689645" y="891099"/>
                    <a:pt x="767576" y="865597"/>
                    <a:pt x="832222" y="821924"/>
                  </a:cubicBezTo>
                  <a:lnTo>
                    <a:pt x="844684" y="811641"/>
                  </a:lnTo>
                  <a:lnTo>
                    <a:pt x="829746" y="829746"/>
                  </a:lnTo>
                  <a:cubicBezTo>
                    <a:pt x="741788" y="917705"/>
                    <a:pt x="620274" y="972108"/>
                    <a:pt x="486054" y="972108"/>
                  </a:cubicBezTo>
                  <a:cubicBezTo>
                    <a:pt x="217614" y="972108"/>
                    <a:pt x="0" y="754494"/>
                    <a:pt x="0" y="486054"/>
                  </a:cubicBezTo>
                  <a:cubicBezTo>
                    <a:pt x="0" y="217614"/>
                    <a:pt x="217614" y="0"/>
                    <a:pt x="486054" y="0"/>
                  </a:cubicBezTo>
                  <a:close/>
                </a:path>
              </a:pathLst>
            </a:custGeom>
            <a:solidFill>
              <a:srgbClr val="800080"/>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mn-lt"/>
                <a:ea typeface="+mn-ea"/>
              </a:endParaRPr>
            </a:p>
          </p:txBody>
        </p:sp>
        <p:sp>
          <p:nvSpPr>
            <p:cNvPr id="12" name="圆角矩形 11"/>
            <p:cNvSpPr/>
            <p:nvPr/>
          </p:nvSpPr>
          <p:spPr bwMode="auto">
            <a:xfrm>
              <a:off x="3125789" y="1822847"/>
              <a:ext cx="4200525" cy="446484"/>
            </a:xfrm>
            <a:prstGeom prst="roundRect">
              <a:avLst>
                <a:gd name="adj" fmla="val 50000"/>
              </a:avLst>
            </a:prstGeom>
            <a:solidFill>
              <a:schemeClr val="bg1">
                <a:lumMod val="95000"/>
              </a:schemeClr>
            </a:solidFill>
            <a:ln w="25400" cap="flat" cmpd="sng" algn="ctr">
              <a:solidFill>
                <a:sysClr val="window" lastClr="FFFFFF"/>
              </a:solidFill>
              <a:prstDash val="solid"/>
            </a:ln>
            <a:effectLst/>
          </p:spPr>
          <p:txBody>
            <a:bodyPr anchor="ctr"/>
            <a:lstStyle/>
            <a:p>
              <a:pPr algn="ctr">
                <a:lnSpc>
                  <a:spcPct val="130000"/>
                </a:lnSpc>
                <a:defRPr/>
              </a:pPr>
              <a:r>
                <a:rPr lang="en-US" altLang="zh-CN" sz="1350" b="1" kern="0" dirty="0">
                  <a:solidFill>
                    <a:prstClr val="black">
                      <a:lumMod val="65000"/>
                      <a:lumOff val="35000"/>
                    </a:prstClr>
                  </a:solidFill>
                  <a:latin typeface="微软雅黑" panose="020B0503020204020204" pitchFamily="34" charset="-122"/>
                  <a:ea typeface="微软雅黑" panose="020B0503020204020204" pitchFamily="34" charset="-122"/>
                </a:rPr>
                <a:t>ADD YOUR TEXT</a:t>
              </a:r>
            </a:p>
          </p:txBody>
        </p:sp>
        <p:sp>
          <p:nvSpPr>
            <p:cNvPr id="13" name="椭圆 12"/>
            <p:cNvSpPr/>
            <p:nvPr/>
          </p:nvSpPr>
          <p:spPr bwMode="auto">
            <a:xfrm>
              <a:off x="2841626" y="1807369"/>
              <a:ext cx="650875" cy="486966"/>
            </a:xfrm>
            <a:prstGeom prst="ellipse">
              <a:avLst/>
            </a:prstGeom>
            <a:solidFill>
              <a:srgbClr val="CC0099"/>
            </a:solidFill>
            <a:ln w="25400" cap="flat" cmpd="sng" algn="ctr">
              <a:noFill/>
              <a:prstDash val="solid"/>
            </a:ln>
            <a:effectLst/>
          </p:spPr>
          <p:txBody>
            <a:bodyPr anchor="ctr"/>
            <a:lstStyle/>
            <a:p>
              <a:pPr algn="ctr" eaLnBrk="1" fontAlgn="auto" hangingPunct="1">
                <a:spcBef>
                  <a:spcPts val="0"/>
                </a:spcBef>
                <a:spcAft>
                  <a:spcPts val="0"/>
                </a:spcAft>
                <a:defRPr/>
              </a:pPr>
              <a:r>
                <a:rPr lang="en-US" sz="2800" kern="0" dirty="0">
                  <a:solidFill>
                    <a:sysClr val="window" lastClr="FFFFFF"/>
                  </a:solidFill>
                  <a:latin typeface="Arial Black" panose="020B0A04020102020204" pitchFamily="34" charset="0"/>
                  <a:ea typeface="+mn-ea"/>
                </a:rPr>
                <a:t>2</a:t>
              </a:r>
            </a:p>
          </p:txBody>
        </p:sp>
      </p:grpSp>
      <p:grpSp>
        <p:nvGrpSpPr>
          <p:cNvPr id="14" name="组合 13"/>
          <p:cNvGrpSpPr/>
          <p:nvPr/>
        </p:nvGrpSpPr>
        <p:grpSpPr>
          <a:xfrm>
            <a:off x="2843799" y="3213000"/>
            <a:ext cx="3744425" cy="728663"/>
            <a:chOff x="2519364" y="1685925"/>
            <a:chExt cx="4996968" cy="728663"/>
          </a:xfrm>
        </p:grpSpPr>
        <p:sp>
          <p:nvSpPr>
            <p:cNvPr id="15" name="任意多边形 14"/>
            <p:cNvSpPr/>
            <p:nvPr/>
          </p:nvSpPr>
          <p:spPr bwMode="auto">
            <a:xfrm>
              <a:off x="2519364" y="1685925"/>
              <a:ext cx="844550" cy="728663"/>
            </a:xfrm>
            <a:custGeom>
              <a:avLst/>
              <a:gdLst>
                <a:gd name="connsiteX0" fmla="*/ 486054 w 844684"/>
                <a:gd name="connsiteY0" fmla="*/ 0 h 972108"/>
                <a:gd name="connsiteX1" fmla="*/ 829746 w 844684"/>
                <a:gd name="connsiteY1" fmla="*/ 142362 h 972108"/>
                <a:gd name="connsiteX2" fmla="*/ 844684 w 844684"/>
                <a:gd name="connsiteY2" fmla="*/ 160467 h 972108"/>
                <a:gd name="connsiteX3" fmla="*/ 832222 w 844684"/>
                <a:gd name="connsiteY3" fmla="*/ 150184 h 972108"/>
                <a:gd name="connsiteX4" fmla="*/ 605757 w 844684"/>
                <a:gd name="connsiteY4" fmla="*/ 81009 h 972108"/>
                <a:gd name="connsiteX5" fmla="*/ 200712 w 844684"/>
                <a:gd name="connsiteY5" fmla="*/ 486054 h 972108"/>
                <a:gd name="connsiteX6" fmla="*/ 605757 w 844684"/>
                <a:gd name="connsiteY6" fmla="*/ 891099 h 972108"/>
                <a:gd name="connsiteX7" fmla="*/ 832222 w 844684"/>
                <a:gd name="connsiteY7" fmla="*/ 821924 h 972108"/>
                <a:gd name="connsiteX8" fmla="*/ 844684 w 844684"/>
                <a:gd name="connsiteY8" fmla="*/ 811641 h 972108"/>
                <a:gd name="connsiteX9" fmla="*/ 829746 w 844684"/>
                <a:gd name="connsiteY9" fmla="*/ 829746 h 972108"/>
                <a:gd name="connsiteX10" fmla="*/ 486054 w 844684"/>
                <a:gd name="connsiteY10" fmla="*/ 972108 h 972108"/>
                <a:gd name="connsiteX11" fmla="*/ 0 w 844684"/>
                <a:gd name="connsiteY11" fmla="*/ 486054 h 972108"/>
                <a:gd name="connsiteX12" fmla="*/ 486054 w 844684"/>
                <a:gd name="connsiteY12" fmla="*/ 0 h 97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4684" h="972108">
                  <a:moveTo>
                    <a:pt x="486054" y="0"/>
                  </a:moveTo>
                  <a:cubicBezTo>
                    <a:pt x="620274" y="0"/>
                    <a:pt x="741788" y="54404"/>
                    <a:pt x="829746" y="142362"/>
                  </a:cubicBezTo>
                  <a:lnTo>
                    <a:pt x="844684" y="160467"/>
                  </a:lnTo>
                  <a:lnTo>
                    <a:pt x="832222" y="150184"/>
                  </a:lnTo>
                  <a:cubicBezTo>
                    <a:pt x="767576" y="106511"/>
                    <a:pt x="689645" y="81009"/>
                    <a:pt x="605757" y="81009"/>
                  </a:cubicBezTo>
                  <a:cubicBezTo>
                    <a:pt x="382057" y="81009"/>
                    <a:pt x="200712" y="262354"/>
                    <a:pt x="200712" y="486054"/>
                  </a:cubicBezTo>
                  <a:cubicBezTo>
                    <a:pt x="200712" y="709754"/>
                    <a:pt x="382057" y="891099"/>
                    <a:pt x="605757" y="891099"/>
                  </a:cubicBezTo>
                  <a:cubicBezTo>
                    <a:pt x="689645" y="891099"/>
                    <a:pt x="767576" y="865597"/>
                    <a:pt x="832222" y="821924"/>
                  </a:cubicBezTo>
                  <a:lnTo>
                    <a:pt x="844684" y="811641"/>
                  </a:lnTo>
                  <a:lnTo>
                    <a:pt x="829746" y="829746"/>
                  </a:lnTo>
                  <a:cubicBezTo>
                    <a:pt x="741788" y="917705"/>
                    <a:pt x="620274" y="972108"/>
                    <a:pt x="486054" y="972108"/>
                  </a:cubicBezTo>
                  <a:cubicBezTo>
                    <a:pt x="217614" y="972108"/>
                    <a:pt x="0" y="754494"/>
                    <a:pt x="0" y="486054"/>
                  </a:cubicBezTo>
                  <a:cubicBezTo>
                    <a:pt x="0" y="217614"/>
                    <a:pt x="217614" y="0"/>
                    <a:pt x="486054" y="0"/>
                  </a:cubicBezTo>
                  <a:close/>
                </a:path>
              </a:pathLst>
            </a:custGeom>
            <a:solidFill>
              <a:srgbClr val="800080"/>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mn-lt"/>
                <a:ea typeface="+mn-ea"/>
              </a:endParaRPr>
            </a:p>
          </p:txBody>
        </p:sp>
        <p:sp>
          <p:nvSpPr>
            <p:cNvPr id="16" name="圆角矩形 15"/>
            <p:cNvSpPr/>
            <p:nvPr/>
          </p:nvSpPr>
          <p:spPr bwMode="auto">
            <a:xfrm>
              <a:off x="3125789" y="1822847"/>
              <a:ext cx="4390543" cy="446484"/>
            </a:xfrm>
            <a:prstGeom prst="roundRect">
              <a:avLst>
                <a:gd name="adj" fmla="val 50000"/>
              </a:avLst>
            </a:prstGeom>
            <a:solidFill>
              <a:schemeClr val="bg1">
                <a:lumMod val="95000"/>
              </a:schemeClr>
            </a:solidFill>
            <a:ln w="25400" cap="flat" cmpd="sng" algn="ctr">
              <a:solidFill>
                <a:sysClr val="window" lastClr="FFFFFF"/>
              </a:solidFill>
              <a:prstDash val="solid"/>
            </a:ln>
            <a:effectLst/>
          </p:spPr>
          <p:txBody>
            <a:bodyPr anchor="ctr"/>
            <a:lstStyle/>
            <a:p>
              <a:pPr algn="ctr">
                <a:lnSpc>
                  <a:spcPct val="130000"/>
                </a:lnSpc>
                <a:defRPr/>
              </a:pPr>
              <a:r>
                <a:rPr lang="en-US" altLang="zh-CN" sz="1350" b="1" kern="0" dirty="0">
                  <a:solidFill>
                    <a:prstClr val="black">
                      <a:lumMod val="65000"/>
                      <a:lumOff val="35000"/>
                    </a:prstClr>
                  </a:solidFill>
                  <a:latin typeface="微软雅黑" panose="020B0503020204020204" pitchFamily="34" charset="-122"/>
                  <a:ea typeface="微软雅黑" panose="020B0503020204020204" pitchFamily="34" charset="-122"/>
                </a:rPr>
                <a:t>ADD YOUR TEXT</a:t>
              </a:r>
            </a:p>
          </p:txBody>
        </p:sp>
        <p:sp>
          <p:nvSpPr>
            <p:cNvPr id="17" name="椭圆 16"/>
            <p:cNvSpPr/>
            <p:nvPr/>
          </p:nvSpPr>
          <p:spPr bwMode="auto">
            <a:xfrm>
              <a:off x="2841626" y="1807369"/>
              <a:ext cx="650875" cy="486966"/>
            </a:xfrm>
            <a:prstGeom prst="ellipse">
              <a:avLst/>
            </a:prstGeom>
            <a:solidFill>
              <a:srgbClr val="CC0099"/>
            </a:solidFill>
            <a:ln w="25400" cap="flat" cmpd="sng" algn="ctr">
              <a:noFill/>
              <a:prstDash val="solid"/>
            </a:ln>
            <a:effectLst/>
          </p:spPr>
          <p:txBody>
            <a:bodyPr anchor="ctr"/>
            <a:lstStyle/>
            <a:p>
              <a:pPr algn="ctr" eaLnBrk="1" fontAlgn="auto" hangingPunct="1">
                <a:spcBef>
                  <a:spcPts val="0"/>
                </a:spcBef>
                <a:spcAft>
                  <a:spcPts val="0"/>
                </a:spcAft>
                <a:defRPr/>
              </a:pPr>
              <a:r>
                <a:rPr lang="en-US" sz="2800" kern="0" dirty="0">
                  <a:solidFill>
                    <a:sysClr val="window" lastClr="FFFFFF"/>
                  </a:solidFill>
                  <a:latin typeface="Arial Black" panose="020B0A04020102020204" pitchFamily="34" charset="0"/>
                  <a:ea typeface="+mn-ea"/>
                </a:rPr>
                <a:t>3</a:t>
              </a:r>
            </a:p>
          </p:txBody>
        </p:sp>
      </p:grpSp>
      <p:grpSp>
        <p:nvGrpSpPr>
          <p:cNvPr id="18" name="组合 17"/>
          <p:cNvGrpSpPr/>
          <p:nvPr/>
        </p:nvGrpSpPr>
        <p:grpSpPr>
          <a:xfrm>
            <a:off x="7523208" y="1110750"/>
            <a:ext cx="519515" cy="457509"/>
            <a:chOff x="7004888" y="2091225"/>
            <a:chExt cx="519515" cy="457509"/>
          </a:xfrm>
        </p:grpSpPr>
        <p:sp>
          <p:nvSpPr>
            <p:cNvPr id="19" name="等腰三角形 18"/>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等腰三角形 19"/>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等腰三角形 20"/>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等腰三角形 21"/>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3" name="组合 22"/>
          <p:cNvGrpSpPr/>
          <p:nvPr/>
        </p:nvGrpSpPr>
        <p:grpSpPr>
          <a:xfrm>
            <a:off x="4932040" y="411510"/>
            <a:ext cx="349200" cy="266480"/>
            <a:chOff x="1591298" y="1101529"/>
            <a:chExt cx="512273" cy="390923"/>
          </a:xfrm>
        </p:grpSpPr>
        <p:sp>
          <p:nvSpPr>
            <p:cNvPr id="24" name="等腰三角形 23"/>
            <p:cNvSpPr/>
            <p:nvPr/>
          </p:nvSpPr>
          <p:spPr>
            <a:xfrm rot="170492" flipH="1">
              <a:off x="1877584" y="1391444"/>
              <a:ext cx="225987" cy="101008"/>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等腰三角形 24"/>
            <p:cNvSpPr/>
            <p:nvPr/>
          </p:nvSpPr>
          <p:spPr>
            <a:xfrm rot="12111361" flipH="1" flipV="1">
              <a:off x="1869098" y="1173336"/>
              <a:ext cx="92219" cy="103997"/>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等腰三角形 25"/>
            <p:cNvSpPr/>
            <p:nvPr/>
          </p:nvSpPr>
          <p:spPr>
            <a:xfrm rot="12111361" flipH="1">
              <a:off x="1591298" y="1365333"/>
              <a:ext cx="199279" cy="84398"/>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等腰三角形 26"/>
            <p:cNvSpPr/>
            <p:nvPr/>
          </p:nvSpPr>
          <p:spPr>
            <a:xfrm rot="12111361" flipH="1">
              <a:off x="1664941" y="1101529"/>
              <a:ext cx="118605" cy="116758"/>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8" name="组合 27"/>
          <p:cNvGrpSpPr/>
          <p:nvPr/>
        </p:nvGrpSpPr>
        <p:grpSpPr>
          <a:xfrm>
            <a:off x="2482098" y="4037680"/>
            <a:ext cx="3744425" cy="728663"/>
            <a:chOff x="2519364" y="1685925"/>
            <a:chExt cx="4996968" cy="728663"/>
          </a:xfrm>
        </p:grpSpPr>
        <p:sp>
          <p:nvSpPr>
            <p:cNvPr id="29" name="任意多边形 28"/>
            <p:cNvSpPr/>
            <p:nvPr/>
          </p:nvSpPr>
          <p:spPr bwMode="auto">
            <a:xfrm>
              <a:off x="2519364" y="1685925"/>
              <a:ext cx="844550" cy="728663"/>
            </a:xfrm>
            <a:custGeom>
              <a:avLst/>
              <a:gdLst>
                <a:gd name="connsiteX0" fmla="*/ 486054 w 844684"/>
                <a:gd name="connsiteY0" fmla="*/ 0 h 972108"/>
                <a:gd name="connsiteX1" fmla="*/ 829746 w 844684"/>
                <a:gd name="connsiteY1" fmla="*/ 142362 h 972108"/>
                <a:gd name="connsiteX2" fmla="*/ 844684 w 844684"/>
                <a:gd name="connsiteY2" fmla="*/ 160467 h 972108"/>
                <a:gd name="connsiteX3" fmla="*/ 832222 w 844684"/>
                <a:gd name="connsiteY3" fmla="*/ 150184 h 972108"/>
                <a:gd name="connsiteX4" fmla="*/ 605757 w 844684"/>
                <a:gd name="connsiteY4" fmla="*/ 81009 h 972108"/>
                <a:gd name="connsiteX5" fmla="*/ 200712 w 844684"/>
                <a:gd name="connsiteY5" fmla="*/ 486054 h 972108"/>
                <a:gd name="connsiteX6" fmla="*/ 605757 w 844684"/>
                <a:gd name="connsiteY6" fmla="*/ 891099 h 972108"/>
                <a:gd name="connsiteX7" fmla="*/ 832222 w 844684"/>
                <a:gd name="connsiteY7" fmla="*/ 821924 h 972108"/>
                <a:gd name="connsiteX8" fmla="*/ 844684 w 844684"/>
                <a:gd name="connsiteY8" fmla="*/ 811641 h 972108"/>
                <a:gd name="connsiteX9" fmla="*/ 829746 w 844684"/>
                <a:gd name="connsiteY9" fmla="*/ 829746 h 972108"/>
                <a:gd name="connsiteX10" fmla="*/ 486054 w 844684"/>
                <a:gd name="connsiteY10" fmla="*/ 972108 h 972108"/>
                <a:gd name="connsiteX11" fmla="*/ 0 w 844684"/>
                <a:gd name="connsiteY11" fmla="*/ 486054 h 972108"/>
                <a:gd name="connsiteX12" fmla="*/ 486054 w 844684"/>
                <a:gd name="connsiteY12" fmla="*/ 0 h 97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4684" h="972108">
                  <a:moveTo>
                    <a:pt x="486054" y="0"/>
                  </a:moveTo>
                  <a:cubicBezTo>
                    <a:pt x="620274" y="0"/>
                    <a:pt x="741788" y="54404"/>
                    <a:pt x="829746" y="142362"/>
                  </a:cubicBezTo>
                  <a:lnTo>
                    <a:pt x="844684" y="160467"/>
                  </a:lnTo>
                  <a:lnTo>
                    <a:pt x="832222" y="150184"/>
                  </a:lnTo>
                  <a:cubicBezTo>
                    <a:pt x="767576" y="106511"/>
                    <a:pt x="689645" y="81009"/>
                    <a:pt x="605757" y="81009"/>
                  </a:cubicBezTo>
                  <a:cubicBezTo>
                    <a:pt x="382057" y="81009"/>
                    <a:pt x="200712" y="262354"/>
                    <a:pt x="200712" y="486054"/>
                  </a:cubicBezTo>
                  <a:cubicBezTo>
                    <a:pt x="200712" y="709754"/>
                    <a:pt x="382057" y="891099"/>
                    <a:pt x="605757" y="891099"/>
                  </a:cubicBezTo>
                  <a:cubicBezTo>
                    <a:pt x="689645" y="891099"/>
                    <a:pt x="767576" y="865597"/>
                    <a:pt x="832222" y="821924"/>
                  </a:cubicBezTo>
                  <a:lnTo>
                    <a:pt x="844684" y="811641"/>
                  </a:lnTo>
                  <a:lnTo>
                    <a:pt x="829746" y="829746"/>
                  </a:lnTo>
                  <a:cubicBezTo>
                    <a:pt x="741788" y="917705"/>
                    <a:pt x="620274" y="972108"/>
                    <a:pt x="486054" y="972108"/>
                  </a:cubicBezTo>
                  <a:cubicBezTo>
                    <a:pt x="217614" y="972108"/>
                    <a:pt x="0" y="754494"/>
                    <a:pt x="0" y="486054"/>
                  </a:cubicBezTo>
                  <a:cubicBezTo>
                    <a:pt x="0" y="217614"/>
                    <a:pt x="217614" y="0"/>
                    <a:pt x="486054" y="0"/>
                  </a:cubicBezTo>
                  <a:close/>
                </a:path>
              </a:pathLst>
            </a:custGeom>
            <a:solidFill>
              <a:srgbClr val="800080"/>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mn-lt"/>
                <a:ea typeface="+mn-ea"/>
              </a:endParaRPr>
            </a:p>
          </p:txBody>
        </p:sp>
        <p:sp>
          <p:nvSpPr>
            <p:cNvPr id="30" name="圆角矩形 29"/>
            <p:cNvSpPr/>
            <p:nvPr/>
          </p:nvSpPr>
          <p:spPr bwMode="auto">
            <a:xfrm>
              <a:off x="3125789" y="1822847"/>
              <a:ext cx="4390543" cy="446484"/>
            </a:xfrm>
            <a:prstGeom prst="roundRect">
              <a:avLst>
                <a:gd name="adj" fmla="val 50000"/>
              </a:avLst>
            </a:prstGeom>
            <a:solidFill>
              <a:schemeClr val="bg1">
                <a:lumMod val="95000"/>
              </a:schemeClr>
            </a:solidFill>
            <a:ln w="25400" cap="flat" cmpd="sng" algn="ctr">
              <a:solidFill>
                <a:sysClr val="window" lastClr="FFFFFF"/>
              </a:solidFill>
              <a:prstDash val="solid"/>
            </a:ln>
            <a:effectLst/>
          </p:spPr>
          <p:txBody>
            <a:bodyPr anchor="ctr"/>
            <a:lstStyle/>
            <a:p>
              <a:pPr algn="ctr">
                <a:lnSpc>
                  <a:spcPct val="130000"/>
                </a:lnSpc>
                <a:defRPr/>
              </a:pPr>
              <a:r>
                <a:rPr lang="en-US" altLang="zh-CN" sz="1350" b="1" kern="0" dirty="0">
                  <a:solidFill>
                    <a:prstClr val="black">
                      <a:lumMod val="65000"/>
                      <a:lumOff val="35000"/>
                    </a:prstClr>
                  </a:solidFill>
                  <a:latin typeface="微软雅黑" panose="020B0503020204020204" pitchFamily="34" charset="-122"/>
                  <a:ea typeface="微软雅黑" panose="020B0503020204020204" pitchFamily="34" charset="-122"/>
                </a:rPr>
                <a:t>ADD YOUR TEXT</a:t>
              </a:r>
            </a:p>
          </p:txBody>
        </p:sp>
        <p:sp>
          <p:nvSpPr>
            <p:cNvPr id="31" name="椭圆 30"/>
            <p:cNvSpPr/>
            <p:nvPr/>
          </p:nvSpPr>
          <p:spPr bwMode="auto">
            <a:xfrm>
              <a:off x="2841626" y="1807369"/>
              <a:ext cx="650875" cy="486966"/>
            </a:xfrm>
            <a:prstGeom prst="ellipse">
              <a:avLst/>
            </a:prstGeom>
            <a:solidFill>
              <a:srgbClr val="CC0099"/>
            </a:solidFill>
            <a:ln w="25400" cap="flat" cmpd="sng" algn="ctr">
              <a:noFill/>
              <a:prstDash val="solid"/>
            </a:ln>
            <a:effectLst/>
          </p:spPr>
          <p:txBody>
            <a:bodyPr anchor="ctr"/>
            <a:lstStyle/>
            <a:p>
              <a:pPr algn="ctr" eaLnBrk="1" fontAlgn="auto" hangingPunct="1">
                <a:spcBef>
                  <a:spcPts val="0"/>
                </a:spcBef>
                <a:spcAft>
                  <a:spcPts val="0"/>
                </a:spcAft>
                <a:defRPr/>
              </a:pPr>
              <a:r>
                <a:rPr lang="en-US" sz="2800" kern="0" dirty="0">
                  <a:solidFill>
                    <a:sysClr val="window" lastClr="FFFFFF"/>
                  </a:solidFill>
                  <a:latin typeface="Arial Black" panose="020B0A04020102020204" pitchFamily="34" charset="0"/>
                  <a:ea typeface="+mn-ea"/>
                </a:rPr>
                <a:t>4</a:t>
              </a:r>
            </a:p>
          </p:txBody>
        </p:sp>
      </p:gr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par>
                          <p:cTn id="8" fill="hold">
                            <p:stCondLst>
                              <p:cond delay="500"/>
                            </p:stCondLst>
                            <p:childTnLst>
                              <p:par>
                                <p:cTn id="9" presetID="2" presetClass="entr" presetSubtype="1"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500" fill="hold"/>
                                        <p:tgtEl>
                                          <p:spTgt spid="23"/>
                                        </p:tgtEl>
                                        <p:attrNameLst>
                                          <p:attrName>ppt_x</p:attrName>
                                        </p:attrNameLst>
                                      </p:cBhvr>
                                      <p:tavLst>
                                        <p:tav tm="0">
                                          <p:val>
                                            <p:strVal val="#ppt_x"/>
                                          </p:val>
                                        </p:tav>
                                        <p:tav tm="100000">
                                          <p:val>
                                            <p:strVal val="#ppt_x"/>
                                          </p:val>
                                        </p:tav>
                                      </p:tavLst>
                                    </p:anim>
                                    <p:anim calcmode="lin" valueType="num">
                                      <p:cBhvr additive="base">
                                        <p:cTn id="12" dur="500" fill="hold"/>
                                        <p:tgtEl>
                                          <p:spTgt spid="23"/>
                                        </p:tgtEl>
                                        <p:attrNameLst>
                                          <p:attrName>ppt_y</p:attrName>
                                        </p:attrNameLst>
                                      </p:cBhvr>
                                      <p:tavLst>
                                        <p:tav tm="0">
                                          <p:val>
                                            <p:strVal val="0-#ppt_h/2"/>
                                          </p:val>
                                        </p:tav>
                                        <p:tav tm="100000">
                                          <p:val>
                                            <p:strVal val="#ppt_y"/>
                                          </p:val>
                                        </p:tav>
                                      </p:tavLst>
                                    </p:anim>
                                  </p:childTnLst>
                                </p:cTn>
                              </p:par>
                              <p:par>
                                <p:cTn id="13" presetID="2" presetClass="entr" presetSubtype="1"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500" fill="hold"/>
                                        <p:tgtEl>
                                          <p:spTgt spid="18"/>
                                        </p:tgtEl>
                                        <p:attrNameLst>
                                          <p:attrName>ppt_x</p:attrName>
                                        </p:attrNameLst>
                                      </p:cBhvr>
                                      <p:tavLst>
                                        <p:tav tm="0">
                                          <p:val>
                                            <p:strVal val="#ppt_x"/>
                                          </p:val>
                                        </p:tav>
                                        <p:tav tm="100000">
                                          <p:val>
                                            <p:strVal val="#ppt_x"/>
                                          </p:val>
                                        </p:tav>
                                      </p:tavLst>
                                    </p:anim>
                                    <p:anim calcmode="lin" valueType="num">
                                      <p:cBhvr additive="base">
                                        <p:cTn id="16" dur="500" fill="hold"/>
                                        <p:tgtEl>
                                          <p:spTgt spid="18"/>
                                        </p:tgtEl>
                                        <p:attrNameLst>
                                          <p:attrName>ppt_y</p:attrName>
                                        </p:attrNameLst>
                                      </p:cBhvr>
                                      <p:tavLst>
                                        <p:tav tm="0">
                                          <p:val>
                                            <p:strVal val="0-#ppt_h/2"/>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750"/>
                                        <p:tgtEl>
                                          <p:spTgt spid="6"/>
                                        </p:tgtEl>
                                      </p:cBhvr>
                                    </p:animEffect>
                                    <p:anim calcmode="lin" valueType="num">
                                      <p:cBhvr>
                                        <p:cTn id="20" dur="750" fill="hold"/>
                                        <p:tgtEl>
                                          <p:spTgt spid="6"/>
                                        </p:tgtEl>
                                        <p:attrNameLst>
                                          <p:attrName>ppt_x</p:attrName>
                                        </p:attrNameLst>
                                      </p:cBhvr>
                                      <p:tavLst>
                                        <p:tav tm="0">
                                          <p:val>
                                            <p:strVal val="#ppt_x"/>
                                          </p:val>
                                        </p:tav>
                                        <p:tav tm="100000">
                                          <p:val>
                                            <p:strVal val="#ppt_x"/>
                                          </p:val>
                                        </p:tav>
                                      </p:tavLst>
                                    </p:anim>
                                    <p:anim calcmode="lin" valueType="num">
                                      <p:cBhvr>
                                        <p:cTn id="21" dur="750" fill="hold"/>
                                        <p:tgtEl>
                                          <p:spTgt spid="6"/>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25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750"/>
                                        <p:tgtEl>
                                          <p:spTgt spid="10"/>
                                        </p:tgtEl>
                                      </p:cBhvr>
                                    </p:animEffect>
                                    <p:anim calcmode="lin" valueType="num">
                                      <p:cBhvr>
                                        <p:cTn id="25" dur="750" fill="hold"/>
                                        <p:tgtEl>
                                          <p:spTgt spid="10"/>
                                        </p:tgtEl>
                                        <p:attrNameLst>
                                          <p:attrName>ppt_x</p:attrName>
                                        </p:attrNameLst>
                                      </p:cBhvr>
                                      <p:tavLst>
                                        <p:tav tm="0">
                                          <p:val>
                                            <p:strVal val="#ppt_x"/>
                                          </p:val>
                                        </p:tav>
                                        <p:tav tm="100000">
                                          <p:val>
                                            <p:strVal val="#ppt_x"/>
                                          </p:val>
                                        </p:tav>
                                      </p:tavLst>
                                    </p:anim>
                                    <p:anim calcmode="lin" valueType="num">
                                      <p:cBhvr>
                                        <p:cTn id="26" dur="750" fill="hold"/>
                                        <p:tgtEl>
                                          <p:spTgt spid="10"/>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50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750"/>
                                        <p:tgtEl>
                                          <p:spTgt spid="14"/>
                                        </p:tgtEl>
                                      </p:cBhvr>
                                    </p:animEffect>
                                    <p:anim calcmode="lin" valueType="num">
                                      <p:cBhvr>
                                        <p:cTn id="30" dur="750" fill="hold"/>
                                        <p:tgtEl>
                                          <p:spTgt spid="14"/>
                                        </p:tgtEl>
                                        <p:attrNameLst>
                                          <p:attrName>ppt_x</p:attrName>
                                        </p:attrNameLst>
                                      </p:cBhvr>
                                      <p:tavLst>
                                        <p:tav tm="0">
                                          <p:val>
                                            <p:strVal val="#ppt_x"/>
                                          </p:val>
                                        </p:tav>
                                        <p:tav tm="100000">
                                          <p:val>
                                            <p:strVal val="#ppt_x"/>
                                          </p:val>
                                        </p:tav>
                                      </p:tavLst>
                                    </p:anim>
                                    <p:anim calcmode="lin" valueType="num">
                                      <p:cBhvr>
                                        <p:cTn id="31" dur="750" fill="hold"/>
                                        <p:tgtEl>
                                          <p:spTgt spid="14"/>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75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750"/>
                                        <p:tgtEl>
                                          <p:spTgt spid="28"/>
                                        </p:tgtEl>
                                      </p:cBhvr>
                                    </p:animEffect>
                                    <p:anim calcmode="lin" valueType="num">
                                      <p:cBhvr>
                                        <p:cTn id="35" dur="750" fill="hold"/>
                                        <p:tgtEl>
                                          <p:spTgt spid="28"/>
                                        </p:tgtEl>
                                        <p:attrNameLst>
                                          <p:attrName>ppt_x</p:attrName>
                                        </p:attrNameLst>
                                      </p:cBhvr>
                                      <p:tavLst>
                                        <p:tav tm="0">
                                          <p:val>
                                            <p:strVal val="#ppt_x"/>
                                          </p:val>
                                        </p:tav>
                                        <p:tav tm="100000">
                                          <p:val>
                                            <p:strVal val="#ppt_x"/>
                                          </p:val>
                                        </p:tav>
                                      </p:tavLst>
                                    </p:anim>
                                    <p:anim calcmode="lin" valueType="num">
                                      <p:cBhvr>
                                        <p:cTn id="36" dur="750" fill="hold"/>
                                        <p:tgtEl>
                                          <p:spTgt spid="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662930" y="1160801"/>
            <a:ext cx="3384376" cy="3694358"/>
            <a:chOff x="984256" y="1160801"/>
            <a:chExt cx="2949139" cy="3219257"/>
          </a:xfrm>
        </p:grpSpPr>
        <p:sp>
          <p:nvSpPr>
            <p:cNvPr id="6" name="任意多边形 5"/>
            <p:cNvSpPr/>
            <p:nvPr/>
          </p:nvSpPr>
          <p:spPr>
            <a:xfrm>
              <a:off x="1164004" y="1354751"/>
              <a:ext cx="2450352" cy="3025307"/>
            </a:xfrm>
            <a:custGeom>
              <a:avLst/>
              <a:gdLst>
                <a:gd name="connsiteX0" fmla="*/ 1743740 w 3742661"/>
                <a:gd name="connsiteY0" fmla="*/ 4476307 h 4476307"/>
                <a:gd name="connsiteX1" fmla="*/ 1796903 w 3742661"/>
                <a:gd name="connsiteY1" fmla="*/ 3785190 h 4476307"/>
                <a:gd name="connsiteX2" fmla="*/ 1307805 w 3742661"/>
                <a:gd name="connsiteY2" fmla="*/ 3381153 h 4476307"/>
                <a:gd name="connsiteX3" fmla="*/ 31898 w 3742661"/>
                <a:gd name="connsiteY3" fmla="*/ 2945218 h 4476307"/>
                <a:gd name="connsiteX4" fmla="*/ 1127052 w 3742661"/>
                <a:gd name="connsiteY4" fmla="*/ 3242930 h 4476307"/>
                <a:gd name="connsiteX5" fmla="*/ 393405 w 3742661"/>
                <a:gd name="connsiteY5" fmla="*/ 2456121 h 4476307"/>
                <a:gd name="connsiteX6" fmla="*/ 1775638 w 3742661"/>
                <a:gd name="connsiteY6" fmla="*/ 3519376 h 4476307"/>
                <a:gd name="connsiteX7" fmla="*/ 1679945 w 3742661"/>
                <a:gd name="connsiteY7" fmla="*/ 2392325 h 4476307"/>
                <a:gd name="connsiteX8" fmla="*/ 0 w 3742661"/>
                <a:gd name="connsiteY8" fmla="*/ 754911 h 4476307"/>
                <a:gd name="connsiteX9" fmla="*/ 988828 w 3742661"/>
                <a:gd name="connsiteY9" fmla="*/ 1924493 h 4476307"/>
                <a:gd name="connsiteX10" fmla="*/ 1137684 w 3742661"/>
                <a:gd name="connsiteY10" fmla="*/ 861237 h 4476307"/>
                <a:gd name="connsiteX11" fmla="*/ 1222745 w 3742661"/>
                <a:gd name="connsiteY11" fmla="*/ 2062716 h 4476307"/>
                <a:gd name="connsiteX12" fmla="*/ 1690577 w 3742661"/>
                <a:gd name="connsiteY12" fmla="*/ 2190307 h 4476307"/>
                <a:gd name="connsiteX13" fmla="*/ 1956391 w 3742661"/>
                <a:gd name="connsiteY13" fmla="*/ 0 h 4476307"/>
                <a:gd name="connsiteX14" fmla="*/ 2083982 w 3742661"/>
                <a:gd name="connsiteY14" fmla="*/ 978195 h 4476307"/>
                <a:gd name="connsiteX15" fmla="*/ 1881963 w 3742661"/>
                <a:gd name="connsiteY15" fmla="*/ 2232837 h 4476307"/>
                <a:gd name="connsiteX16" fmla="*/ 2041452 w 3742661"/>
                <a:gd name="connsiteY16" fmla="*/ 3030279 h 4476307"/>
                <a:gd name="connsiteX17" fmla="*/ 2647507 w 3742661"/>
                <a:gd name="connsiteY17" fmla="*/ 2519916 h 4476307"/>
                <a:gd name="connsiteX18" fmla="*/ 2849526 w 3742661"/>
                <a:gd name="connsiteY18" fmla="*/ 1307804 h 4476307"/>
                <a:gd name="connsiteX19" fmla="*/ 2838893 w 3742661"/>
                <a:gd name="connsiteY19" fmla="*/ 2371060 h 4476307"/>
                <a:gd name="connsiteX20" fmla="*/ 3742661 w 3742661"/>
                <a:gd name="connsiteY20" fmla="*/ 1148316 h 4476307"/>
                <a:gd name="connsiteX21" fmla="*/ 2222205 w 3742661"/>
                <a:gd name="connsiteY21" fmla="*/ 3370521 h 4476307"/>
                <a:gd name="connsiteX22" fmla="*/ 2169042 w 3742661"/>
                <a:gd name="connsiteY22" fmla="*/ 3817088 h 4476307"/>
                <a:gd name="connsiteX23" fmla="*/ 3317358 w 3742661"/>
                <a:gd name="connsiteY23" fmla="*/ 3094074 h 4476307"/>
                <a:gd name="connsiteX24" fmla="*/ 2190307 w 3742661"/>
                <a:gd name="connsiteY24" fmla="*/ 4051004 h 4476307"/>
                <a:gd name="connsiteX25" fmla="*/ 2232838 w 3742661"/>
                <a:gd name="connsiteY25" fmla="*/ 4476307 h 4476307"/>
                <a:gd name="connsiteX26" fmla="*/ 1743740 w 3742661"/>
                <a:gd name="connsiteY26" fmla="*/ 4476307 h 4476307"/>
                <a:gd name="connsiteX0-1" fmla="*/ 1743740 w 3742661"/>
                <a:gd name="connsiteY0-2" fmla="*/ 4492350 h 4492350"/>
                <a:gd name="connsiteX1-3" fmla="*/ 1796903 w 3742661"/>
                <a:gd name="connsiteY1-4" fmla="*/ 3785190 h 4492350"/>
                <a:gd name="connsiteX2-5" fmla="*/ 1307805 w 3742661"/>
                <a:gd name="connsiteY2-6" fmla="*/ 3381153 h 4492350"/>
                <a:gd name="connsiteX3-7" fmla="*/ 31898 w 3742661"/>
                <a:gd name="connsiteY3-8" fmla="*/ 2945218 h 4492350"/>
                <a:gd name="connsiteX4-9" fmla="*/ 1127052 w 3742661"/>
                <a:gd name="connsiteY4-10" fmla="*/ 3242930 h 4492350"/>
                <a:gd name="connsiteX5-11" fmla="*/ 393405 w 3742661"/>
                <a:gd name="connsiteY5-12" fmla="*/ 2456121 h 4492350"/>
                <a:gd name="connsiteX6-13" fmla="*/ 1775638 w 3742661"/>
                <a:gd name="connsiteY6-14" fmla="*/ 3519376 h 4492350"/>
                <a:gd name="connsiteX7-15" fmla="*/ 1679945 w 3742661"/>
                <a:gd name="connsiteY7-16" fmla="*/ 2392325 h 4492350"/>
                <a:gd name="connsiteX8-17" fmla="*/ 0 w 3742661"/>
                <a:gd name="connsiteY8-18" fmla="*/ 754911 h 4492350"/>
                <a:gd name="connsiteX9-19" fmla="*/ 988828 w 3742661"/>
                <a:gd name="connsiteY9-20" fmla="*/ 1924493 h 4492350"/>
                <a:gd name="connsiteX10-21" fmla="*/ 1137684 w 3742661"/>
                <a:gd name="connsiteY10-22" fmla="*/ 861237 h 4492350"/>
                <a:gd name="connsiteX11-23" fmla="*/ 1222745 w 3742661"/>
                <a:gd name="connsiteY11-24" fmla="*/ 2062716 h 4492350"/>
                <a:gd name="connsiteX12-25" fmla="*/ 1690577 w 3742661"/>
                <a:gd name="connsiteY12-26" fmla="*/ 2190307 h 4492350"/>
                <a:gd name="connsiteX13-27" fmla="*/ 1956391 w 3742661"/>
                <a:gd name="connsiteY13-28" fmla="*/ 0 h 4492350"/>
                <a:gd name="connsiteX14-29" fmla="*/ 2083982 w 3742661"/>
                <a:gd name="connsiteY14-30" fmla="*/ 978195 h 4492350"/>
                <a:gd name="connsiteX15-31" fmla="*/ 1881963 w 3742661"/>
                <a:gd name="connsiteY15-32" fmla="*/ 2232837 h 4492350"/>
                <a:gd name="connsiteX16-33" fmla="*/ 2041452 w 3742661"/>
                <a:gd name="connsiteY16-34" fmla="*/ 3030279 h 4492350"/>
                <a:gd name="connsiteX17-35" fmla="*/ 2647507 w 3742661"/>
                <a:gd name="connsiteY17-36" fmla="*/ 2519916 h 4492350"/>
                <a:gd name="connsiteX18-37" fmla="*/ 2849526 w 3742661"/>
                <a:gd name="connsiteY18-38" fmla="*/ 1307804 h 4492350"/>
                <a:gd name="connsiteX19-39" fmla="*/ 2838893 w 3742661"/>
                <a:gd name="connsiteY19-40" fmla="*/ 2371060 h 4492350"/>
                <a:gd name="connsiteX20-41" fmla="*/ 3742661 w 3742661"/>
                <a:gd name="connsiteY20-42" fmla="*/ 1148316 h 4492350"/>
                <a:gd name="connsiteX21-43" fmla="*/ 2222205 w 3742661"/>
                <a:gd name="connsiteY21-44" fmla="*/ 3370521 h 4492350"/>
                <a:gd name="connsiteX22-45" fmla="*/ 2169042 w 3742661"/>
                <a:gd name="connsiteY22-46" fmla="*/ 3817088 h 4492350"/>
                <a:gd name="connsiteX23-47" fmla="*/ 3317358 w 3742661"/>
                <a:gd name="connsiteY23-48" fmla="*/ 3094074 h 4492350"/>
                <a:gd name="connsiteX24-49" fmla="*/ 2190307 w 3742661"/>
                <a:gd name="connsiteY24-50" fmla="*/ 4051004 h 4492350"/>
                <a:gd name="connsiteX25-51" fmla="*/ 2232838 w 3742661"/>
                <a:gd name="connsiteY25-52" fmla="*/ 4476307 h 4492350"/>
                <a:gd name="connsiteX26-53" fmla="*/ 1743740 w 3742661"/>
                <a:gd name="connsiteY26-54" fmla="*/ 4492350 h 4492350"/>
                <a:gd name="connsiteX0-55" fmla="*/ 1743740 w 3742661"/>
                <a:gd name="connsiteY0-56" fmla="*/ 4492350 h 4492350"/>
                <a:gd name="connsiteX1-57" fmla="*/ 1796903 w 3742661"/>
                <a:gd name="connsiteY1-58" fmla="*/ 3785190 h 4492350"/>
                <a:gd name="connsiteX2-59" fmla="*/ 1307805 w 3742661"/>
                <a:gd name="connsiteY2-60" fmla="*/ 3381153 h 4492350"/>
                <a:gd name="connsiteX3-61" fmla="*/ 31898 w 3742661"/>
                <a:gd name="connsiteY3-62" fmla="*/ 2945218 h 4492350"/>
                <a:gd name="connsiteX4-63" fmla="*/ 1127052 w 3742661"/>
                <a:gd name="connsiteY4-64" fmla="*/ 3242930 h 4492350"/>
                <a:gd name="connsiteX5-65" fmla="*/ 393405 w 3742661"/>
                <a:gd name="connsiteY5-66" fmla="*/ 2456121 h 4492350"/>
                <a:gd name="connsiteX6-67" fmla="*/ 1775638 w 3742661"/>
                <a:gd name="connsiteY6-68" fmla="*/ 3519376 h 4492350"/>
                <a:gd name="connsiteX7-69" fmla="*/ 1679945 w 3742661"/>
                <a:gd name="connsiteY7-70" fmla="*/ 2392325 h 4492350"/>
                <a:gd name="connsiteX8-71" fmla="*/ 0 w 3742661"/>
                <a:gd name="connsiteY8-72" fmla="*/ 754911 h 4492350"/>
                <a:gd name="connsiteX9-73" fmla="*/ 988828 w 3742661"/>
                <a:gd name="connsiteY9-74" fmla="*/ 1924493 h 4492350"/>
                <a:gd name="connsiteX10-75" fmla="*/ 1137684 w 3742661"/>
                <a:gd name="connsiteY10-76" fmla="*/ 861237 h 4492350"/>
                <a:gd name="connsiteX11-77" fmla="*/ 1222745 w 3742661"/>
                <a:gd name="connsiteY11-78" fmla="*/ 2062716 h 4492350"/>
                <a:gd name="connsiteX12-79" fmla="*/ 1690577 w 3742661"/>
                <a:gd name="connsiteY12-80" fmla="*/ 2190307 h 4492350"/>
                <a:gd name="connsiteX13-81" fmla="*/ 1956391 w 3742661"/>
                <a:gd name="connsiteY13-82" fmla="*/ 0 h 4492350"/>
                <a:gd name="connsiteX14-83" fmla="*/ 2083982 w 3742661"/>
                <a:gd name="connsiteY14-84" fmla="*/ 978195 h 4492350"/>
                <a:gd name="connsiteX15-85" fmla="*/ 1881963 w 3742661"/>
                <a:gd name="connsiteY15-86" fmla="*/ 2232837 h 4492350"/>
                <a:gd name="connsiteX16-87" fmla="*/ 2041452 w 3742661"/>
                <a:gd name="connsiteY16-88" fmla="*/ 3030279 h 4492350"/>
                <a:gd name="connsiteX17-89" fmla="*/ 2647507 w 3742661"/>
                <a:gd name="connsiteY17-90" fmla="*/ 2519916 h 4492350"/>
                <a:gd name="connsiteX18-91" fmla="*/ 2849526 w 3742661"/>
                <a:gd name="connsiteY18-92" fmla="*/ 1307804 h 4492350"/>
                <a:gd name="connsiteX19-93" fmla="*/ 2838893 w 3742661"/>
                <a:gd name="connsiteY19-94" fmla="*/ 2371060 h 4492350"/>
                <a:gd name="connsiteX20-95" fmla="*/ 3742661 w 3742661"/>
                <a:gd name="connsiteY20-96" fmla="*/ 1148316 h 4492350"/>
                <a:gd name="connsiteX21-97" fmla="*/ 2222205 w 3742661"/>
                <a:gd name="connsiteY21-98" fmla="*/ 3370521 h 4492350"/>
                <a:gd name="connsiteX22-99" fmla="*/ 2169042 w 3742661"/>
                <a:gd name="connsiteY22-100" fmla="*/ 3817088 h 4492350"/>
                <a:gd name="connsiteX23-101" fmla="*/ 3317358 w 3742661"/>
                <a:gd name="connsiteY23-102" fmla="*/ 3094074 h 4492350"/>
                <a:gd name="connsiteX24-103" fmla="*/ 2190307 w 3742661"/>
                <a:gd name="connsiteY24-104" fmla="*/ 4051004 h 4492350"/>
                <a:gd name="connsiteX25-105" fmla="*/ 2232838 w 3742661"/>
                <a:gd name="connsiteY25-106" fmla="*/ 4476307 h 4492350"/>
                <a:gd name="connsiteX26-107" fmla="*/ 2218194 w 3742661"/>
                <a:gd name="connsiteY26-108" fmla="*/ 4491415 h 4492350"/>
                <a:gd name="connsiteX27" fmla="*/ 1743740 w 3742661"/>
                <a:gd name="connsiteY27" fmla="*/ 4492350 h 4492350"/>
                <a:gd name="connsiteX0-109" fmla="*/ 1743740 w 3742661"/>
                <a:gd name="connsiteY0-110" fmla="*/ 4492350 h 4492350"/>
                <a:gd name="connsiteX1-111" fmla="*/ 1796903 w 3742661"/>
                <a:gd name="connsiteY1-112" fmla="*/ 3785190 h 4492350"/>
                <a:gd name="connsiteX2-113" fmla="*/ 1307805 w 3742661"/>
                <a:gd name="connsiteY2-114" fmla="*/ 3381153 h 4492350"/>
                <a:gd name="connsiteX3-115" fmla="*/ 31898 w 3742661"/>
                <a:gd name="connsiteY3-116" fmla="*/ 2945218 h 4492350"/>
                <a:gd name="connsiteX4-117" fmla="*/ 1127052 w 3742661"/>
                <a:gd name="connsiteY4-118" fmla="*/ 3242930 h 4492350"/>
                <a:gd name="connsiteX5-119" fmla="*/ 393405 w 3742661"/>
                <a:gd name="connsiteY5-120" fmla="*/ 2456121 h 4492350"/>
                <a:gd name="connsiteX6-121" fmla="*/ 1775638 w 3742661"/>
                <a:gd name="connsiteY6-122" fmla="*/ 3519376 h 4492350"/>
                <a:gd name="connsiteX7-123" fmla="*/ 1679945 w 3742661"/>
                <a:gd name="connsiteY7-124" fmla="*/ 2392325 h 4492350"/>
                <a:gd name="connsiteX8-125" fmla="*/ 0 w 3742661"/>
                <a:gd name="connsiteY8-126" fmla="*/ 754911 h 4492350"/>
                <a:gd name="connsiteX9-127" fmla="*/ 988828 w 3742661"/>
                <a:gd name="connsiteY9-128" fmla="*/ 1924493 h 4492350"/>
                <a:gd name="connsiteX10-129" fmla="*/ 1137684 w 3742661"/>
                <a:gd name="connsiteY10-130" fmla="*/ 861237 h 4492350"/>
                <a:gd name="connsiteX11-131" fmla="*/ 1222745 w 3742661"/>
                <a:gd name="connsiteY11-132" fmla="*/ 2062716 h 4492350"/>
                <a:gd name="connsiteX12-133" fmla="*/ 1690577 w 3742661"/>
                <a:gd name="connsiteY12-134" fmla="*/ 2190307 h 4492350"/>
                <a:gd name="connsiteX13-135" fmla="*/ 1956391 w 3742661"/>
                <a:gd name="connsiteY13-136" fmla="*/ 0 h 4492350"/>
                <a:gd name="connsiteX14-137" fmla="*/ 2083982 w 3742661"/>
                <a:gd name="connsiteY14-138" fmla="*/ 978195 h 4492350"/>
                <a:gd name="connsiteX15-139" fmla="*/ 1881963 w 3742661"/>
                <a:gd name="connsiteY15-140" fmla="*/ 2232837 h 4492350"/>
                <a:gd name="connsiteX16-141" fmla="*/ 2041452 w 3742661"/>
                <a:gd name="connsiteY16-142" fmla="*/ 3030279 h 4492350"/>
                <a:gd name="connsiteX17-143" fmla="*/ 2647507 w 3742661"/>
                <a:gd name="connsiteY17-144" fmla="*/ 2519916 h 4492350"/>
                <a:gd name="connsiteX18-145" fmla="*/ 2849526 w 3742661"/>
                <a:gd name="connsiteY18-146" fmla="*/ 1307804 h 4492350"/>
                <a:gd name="connsiteX19-147" fmla="*/ 2838893 w 3742661"/>
                <a:gd name="connsiteY19-148" fmla="*/ 2371060 h 4492350"/>
                <a:gd name="connsiteX20-149" fmla="*/ 3742661 w 3742661"/>
                <a:gd name="connsiteY20-150" fmla="*/ 1148316 h 4492350"/>
                <a:gd name="connsiteX21-151" fmla="*/ 2222205 w 3742661"/>
                <a:gd name="connsiteY21-152" fmla="*/ 3370521 h 4492350"/>
                <a:gd name="connsiteX22-153" fmla="*/ 2169042 w 3742661"/>
                <a:gd name="connsiteY22-154" fmla="*/ 3817088 h 4492350"/>
                <a:gd name="connsiteX23-155" fmla="*/ 3317358 w 3742661"/>
                <a:gd name="connsiteY23-156" fmla="*/ 3094074 h 4492350"/>
                <a:gd name="connsiteX24-157" fmla="*/ 2190307 w 3742661"/>
                <a:gd name="connsiteY24-158" fmla="*/ 4051004 h 4492350"/>
                <a:gd name="connsiteX25-159" fmla="*/ 2232838 w 3742661"/>
                <a:gd name="connsiteY25-160" fmla="*/ 4476307 h 4492350"/>
                <a:gd name="connsiteX26-161" fmla="*/ 2218194 w 3742661"/>
                <a:gd name="connsiteY26-162" fmla="*/ 4491415 h 4492350"/>
                <a:gd name="connsiteX27-163" fmla="*/ 1743740 w 3742661"/>
                <a:gd name="connsiteY27-164" fmla="*/ 4492350 h 4492350"/>
                <a:gd name="connsiteX0-165" fmla="*/ 1743740 w 3742661"/>
                <a:gd name="connsiteY0-166" fmla="*/ 4492350 h 4492350"/>
                <a:gd name="connsiteX1-167" fmla="*/ 1796903 w 3742661"/>
                <a:gd name="connsiteY1-168" fmla="*/ 3785190 h 4492350"/>
                <a:gd name="connsiteX2-169" fmla="*/ 1307805 w 3742661"/>
                <a:gd name="connsiteY2-170" fmla="*/ 3381153 h 4492350"/>
                <a:gd name="connsiteX3-171" fmla="*/ 31898 w 3742661"/>
                <a:gd name="connsiteY3-172" fmla="*/ 2945218 h 4492350"/>
                <a:gd name="connsiteX4-173" fmla="*/ 1127052 w 3742661"/>
                <a:gd name="connsiteY4-174" fmla="*/ 3242930 h 4492350"/>
                <a:gd name="connsiteX5-175" fmla="*/ 393405 w 3742661"/>
                <a:gd name="connsiteY5-176" fmla="*/ 2456121 h 4492350"/>
                <a:gd name="connsiteX6-177" fmla="*/ 1775638 w 3742661"/>
                <a:gd name="connsiteY6-178" fmla="*/ 3519376 h 4492350"/>
                <a:gd name="connsiteX7-179" fmla="*/ 1679945 w 3742661"/>
                <a:gd name="connsiteY7-180" fmla="*/ 2392325 h 4492350"/>
                <a:gd name="connsiteX8-181" fmla="*/ 0 w 3742661"/>
                <a:gd name="connsiteY8-182" fmla="*/ 754911 h 4492350"/>
                <a:gd name="connsiteX9-183" fmla="*/ 988828 w 3742661"/>
                <a:gd name="connsiteY9-184" fmla="*/ 1924493 h 4492350"/>
                <a:gd name="connsiteX10-185" fmla="*/ 1137684 w 3742661"/>
                <a:gd name="connsiteY10-186" fmla="*/ 861237 h 4492350"/>
                <a:gd name="connsiteX11-187" fmla="*/ 1222745 w 3742661"/>
                <a:gd name="connsiteY11-188" fmla="*/ 2062716 h 4492350"/>
                <a:gd name="connsiteX12-189" fmla="*/ 1690577 w 3742661"/>
                <a:gd name="connsiteY12-190" fmla="*/ 2190307 h 4492350"/>
                <a:gd name="connsiteX13-191" fmla="*/ 1956391 w 3742661"/>
                <a:gd name="connsiteY13-192" fmla="*/ 0 h 4492350"/>
                <a:gd name="connsiteX14-193" fmla="*/ 2083982 w 3742661"/>
                <a:gd name="connsiteY14-194" fmla="*/ 978195 h 4492350"/>
                <a:gd name="connsiteX15-195" fmla="*/ 1881963 w 3742661"/>
                <a:gd name="connsiteY15-196" fmla="*/ 2232837 h 4492350"/>
                <a:gd name="connsiteX16-197" fmla="*/ 2041452 w 3742661"/>
                <a:gd name="connsiteY16-198" fmla="*/ 3030279 h 4492350"/>
                <a:gd name="connsiteX17-199" fmla="*/ 2647507 w 3742661"/>
                <a:gd name="connsiteY17-200" fmla="*/ 2519916 h 4492350"/>
                <a:gd name="connsiteX18-201" fmla="*/ 2849526 w 3742661"/>
                <a:gd name="connsiteY18-202" fmla="*/ 1307804 h 4492350"/>
                <a:gd name="connsiteX19-203" fmla="*/ 2838893 w 3742661"/>
                <a:gd name="connsiteY19-204" fmla="*/ 2371060 h 4492350"/>
                <a:gd name="connsiteX20-205" fmla="*/ 3742661 w 3742661"/>
                <a:gd name="connsiteY20-206" fmla="*/ 1148316 h 4492350"/>
                <a:gd name="connsiteX21-207" fmla="*/ 2222205 w 3742661"/>
                <a:gd name="connsiteY21-208" fmla="*/ 3370521 h 4492350"/>
                <a:gd name="connsiteX22-209" fmla="*/ 2169042 w 3742661"/>
                <a:gd name="connsiteY22-210" fmla="*/ 3817088 h 4492350"/>
                <a:gd name="connsiteX23-211" fmla="*/ 3317358 w 3742661"/>
                <a:gd name="connsiteY23-212" fmla="*/ 3094074 h 4492350"/>
                <a:gd name="connsiteX24-213" fmla="*/ 2190307 w 3742661"/>
                <a:gd name="connsiteY24-214" fmla="*/ 4051004 h 4492350"/>
                <a:gd name="connsiteX25-215" fmla="*/ 2232838 w 3742661"/>
                <a:gd name="connsiteY25-216" fmla="*/ 4476307 h 4492350"/>
                <a:gd name="connsiteX26-217" fmla="*/ 2218194 w 3742661"/>
                <a:gd name="connsiteY26-218" fmla="*/ 4491415 h 4492350"/>
                <a:gd name="connsiteX27-219" fmla="*/ 1743740 w 3742661"/>
                <a:gd name="connsiteY27-220" fmla="*/ 4492350 h 4492350"/>
                <a:gd name="connsiteX0-221" fmla="*/ 1743740 w 3742661"/>
                <a:gd name="connsiteY0-222" fmla="*/ 4492350 h 4492350"/>
                <a:gd name="connsiteX1-223" fmla="*/ 1796903 w 3742661"/>
                <a:gd name="connsiteY1-224" fmla="*/ 3785190 h 4492350"/>
                <a:gd name="connsiteX2-225" fmla="*/ 1307805 w 3742661"/>
                <a:gd name="connsiteY2-226" fmla="*/ 3381153 h 4492350"/>
                <a:gd name="connsiteX3-227" fmla="*/ 31898 w 3742661"/>
                <a:gd name="connsiteY3-228" fmla="*/ 2945218 h 4492350"/>
                <a:gd name="connsiteX4-229" fmla="*/ 1127052 w 3742661"/>
                <a:gd name="connsiteY4-230" fmla="*/ 3242930 h 4492350"/>
                <a:gd name="connsiteX5-231" fmla="*/ 393405 w 3742661"/>
                <a:gd name="connsiteY5-232" fmla="*/ 2456121 h 4492350"/>
                <a:gd name="connsiteX6-233" fmla="*/ 1775638 w 3742661"/>
                <a:gd name="connsiteY6-234" fmla="*/ 3519376 h 4492350"/>
                <a:gd name="connsiteX7-235" fmla="*/ 1679945 w 3742661"/>
                <a:gd name="connsiteY7-236" fmla="*/ 2392325 h 4492350"/>
                <a:gd name="connsiteX8-237" fmla="*/ 0 w 3742661"/>
                <a:gd name="connsiteY8-238" fmla="*/ 754911 h 4492350"/>
                <a:gd name="connsiteX9-239" fmla="*/ 988828 w 3742661"/>
                <a:gd name="connsiteY9-240" fmla="*/ 1924493 h 4492350"/>
                <a:gd name="connsiteX10-241" fmla="*/ 1137684 w 3742661"/>
                <a:gd name="connsiteY10-242" fmla="*/ 861237 h 4492350"/>
                <a:gd name="connsiteX11-243" fmla="*/ 1222745 w 3742661"/>
                <a:gd name="connsiteY11-244" fmla="*/ 2062716 h 4492350"/>
                <a:gd name="connsiteX12-245" fmla="*/ 1690577 w 3742661"/>
                <a:gd name="connsiteY12-246" fmla="*/ 2190307 h 4492350"/>
                <a:gd name="connsiteX13-247" fmla="*/ 1956391 w 3742661"/>
                <a:gd name="connsiteY13-248" fmla="*/ 0 h 4492350"/>
                <a:gd name="connsiteX14-249" fmla="*/ 2083982 w 3742661"/>
                <a:gd name="connsiteY14-250" fmla="*/ 978195 h 4492350"/>
                <a:gd name="connsiteX15-251" fmla="*/ 1881963 w 3742661"/>
                <a:gd name="connsiteY15-252" fmla="*/ 2232837 h 4492350"/>
                <a:gd name="connsiteX16-253" fmla="*/ 2041452 w 3742661"/>
                <a:gd name="connsiteY16-254" fmla="*/ 3030279 h 4492350"/>
                <a:gd name="connsiteX17-255" fmla="*/ 2647507 w 3742661"/>
                <a:gd name="connsiteY17-256" fmla="*/ 2519916 h 4492350"/>
                <a:gd name="connsiteX18-257" fmla="*/ 2849526 w 3742661"/>
                <a:gd name="connsiteY18-258" fmla="*/ 1307804 h 4492350"/>
                <a:gd name="connsiteX19-259" fmla="*/ 2838893 w 3742661"/>
                <a:gd name="connsiteY19-260" fmla="*/ 2371060 h 4492350"/>
                <a:gd name="connsiteX20-261" fmla="*/ 3742661 w 3742661"/>
                <a:gd name="connsiteY20-262" fmla="*/ 1148316 h 4492350"/>
                <a:gd name="connsiteX21-263" fmla="*/ 2222205 w 3742661"/>
                <a:gd name="connsiteY21-264" fmla="*/ 3370521 h 4492350"/>
                <a:gd name="connsiteX22-265" fmla="*/ 2169042 w 3742661"/>
                <a:gd name="connsiteY22-266" fmla="*/ 3817088 h 4492350"/>
                <a:gd name="connsiteX23-267" fmla="*/ 3317358 w 3742661"/>
                <a:gd name="connsiteY23-268" fmla="*/ 3094074 h 4492350"/>
                <a:gd name="connsiteX24-269" fmla="*/ 2190307 w 3742661"/>
                <a:gd name="connsiteY24-270" fmla="*/ 4051004 h 4492350"/>
                <a:gd name="connsiteX25-271" fmla="*/ 2232838 w 3742661"/>
                <a:gd name="connsiteY25-272" fmla="*/ 4476307 h 4492350"/>
                <a:gd name="connsiteX26-273" fmla="*/ 2218194 w 3742661"/>
                <a:gd name="connsiteY26-274" fmla="*/ 4491415 h 4492350"/>
                <a:gd name="connsiteX27-275" fmla="*/ 1743740 w 3742661"/>
                <a:gd name="connsiteY27-276" fmla="*/ 4492350 h 4492350"/>
                <a:gd name="connsiteX0-277" fmla="*/ 1743740 w 3742661"/>
                <a:gd name="connsiteY0-278" fmla="*/ 4492350 h 4492350"/>
                <a:gd name="connsiteX1-279" fmla="*/ 1796903 w 3742661"/>
                <a:gd name="connsiteY1-280" fmla="*/ 3785190 h 4492350"/>
                <a:gd name="connsiteX2-281" fmla="*/ 1307805 w 3742661"/>
                <a:gd name="connsiteY2-282" fmla="*/ 3381153 h 4492350"/>
                <a:gd name="connsiteX3-283" fmla="*/ 31898 w 3742661"/>
                <a:gd name="connsiteY3-284" fmla="*/ 2945218 h 4492350"/>
                <a:gd name="connsiteX4-285" fmla="*/ 1127052 w 3742661"/>
                <a:gd name="connsiteY4-286" fmla="*/ 3242930 h 4492350"/>
                <a:gd name="connsiteX5-287" fmla="*/ 393405 w 3742661"/>
                <a:gd name="connsiteY5-288" fmla="*/ 2456121 h 4492350"/>
                <a:gd name="connsiteX6-289" fmla="*/ 1775638 w 3742661"/>
                <a:gd name="connsiteY6-290" fmla="*/ 3519376 h 4492350"/>
                <a:gd name="connsiteX7-291" fmla="*/ 1679945 w 3742661"/>
                <a:gd name="connsiteY7-292" fmla="*/ 2392325 h 4492350"/>
                <a:gd name="connsiteX8-293" fmla="*/ 0 w 3742661"/>
                <a:gd name="connsiteY8-294" fmla="*/ 754911 h 4492350"/>
                <a:gd name="connsiteX9-295" fmla="*/ 988828 w 3742661"/>
                <a:gd name="connsiteY9-296" fmla="*/ 1924493 h 4492350"/>
                <a:gd name="connsiteX10-297" fmla="*/ 1137684 w 3742661"/>
                <a:gd name="connsiteY10-298" fmla="*/ 861237 h 4492350"/>
                <a:gd name="connsiteX11-299" fmla="*/ 1222745 w 3742661"/>
                <a:gd name="connsiteY11-300" fmla="*/ 2062716 h 4492350"/>
                <a:gd name="connsiteX12-301" fmla="*/ 1690577 w 3742661"/>
                <a:gd name="connsiteY12-302" fmla="*/ 2190307 h 4492350"/>
                <a:gd name="connsiteX13-303" fmla="*/ 1956391 w 3742661"/>
                <a:gd name="connsiteY13-304" fmla="*/ 0 h 4492350"/>
                <a:gd name="connsiteX14-305" fmla="*/ 2083982 w 3742661"/>
                <a:gd name="connsiteY14-306" fmla="*/ 978195 h 4492350"/>
                <a:gd name="connsiteX15-307" fmla="*/ 1881963 w 3742661"/>
                <a:gd name="connsiteY15-308" fmla="*/ 2232837 h 4492350"/>
                <a:gd name="connsiteX16-309" fmla="*/ 2041452 w 3742661"/>
                <a:gd name="connsiteY16-310" fmla="*/ 3030279 h 4492350"/>
                <a:gd name="connsiteX17-311" fmla="*/ 2647507 w 3742661"/>
                <a:gd name="connsiteY17-312" fmla="*/ 2519916 h 4492350"/>
                <a:gd name="connsiteX18-313" fmla="*/ 2849526 w 3742661"/>
                <a:gd name="connsiteY18-314" fmla="*/ 1307804 h 4492350"/>
                <a:gd name="connsiteX19-315" fmla="*/ 2838893 w 3742661"/>
                <a:gd name="connsiteY19-316" fmla="*/ 2371060 h 4492350"/>
                <a:gd name="connsiteX20-317" fmla="*/ 3742661 w 3742661"/>
                <a:gd name="connsiteY20-318" fmla="*/ 1148316 h 4492350"/>
                <a:gd name="connsiteX21-319" fmla="*/ 2222205 w 3742661"/>
                <a:gd name="connsiteY21-320" fmla="*/ 3370521 h 4492350"/>
                <a:gd name="connsiteX22-321" fmla="*/ 2169042 w 3742661"/>
                <a:gd name="connsiteY22-322" fmla="*/ 3817088 h 4492350"/>
                <a:gd name="connsiteX23-323" fmla="*/ 3317358 w 3742661"/>
                <a:gd name="connsiteY23-324" fmla="*/ 3094074 h 4492350"/>
                <a:gd name="connsiteX24-325" fmla="*/ 2194317 w 3742661"/>
                <a:gd name="connsiteY24-326" fmla="*/ 4030951 h 4492350"/>
                <a:gd name="connsiteX25-327" fmla="*/ 2232838 w 3742661"/>
                <a:gd name="connsiteY25-328" fmla="*/ 4476307 h 4492350"/>
                <a:gd name="connsiteX26-329" fmla="*/ 2218194 w 3742661"/>
                <a:gd name="connsiteY26-330" fmla="*/ 4491415 h 4492350"/>
                <a:gd name="connsiteX27-331" fmla="*/ 1743740 w 3742661"/>
                <a:gd name="connsiteY27-332" fmla="*/ 4492350 h 4492350"/>
                <a:gd name="connsiteX0-333" fmla="*/ 1743740 w 3742661"/>
                <a:gd name="connsiteY0-334" fmla="*/ 4492350 h 4492350"/>
                <a:gd name="connsiteX1-335" fmla="*/ 1796903 w 3742661"/>
                <a:gd name="connsiteY1-336" fmla="*/ 3785190 h 4492350"/>
                <a:gd name="connsiteX2-337" fmla="*/ 1307805 w 3742661"/>
                <a:gd name="connsiteY2-338" fmla="*/ 3381153 h 4492350"/>
                <a:gd name="connsiteX3-339" fmla="*/ 31898 w 3742661"/>
                <a:gd name="connsiteY3-340" fmla="*/ 2945218 h 4492350"/>
                <a:gd name="connsiteX4-341" fmla="*/ 1127052 w 3742661"/>
                <a:gd name="connsiteY4-342" fmla="*/ 3242930 h 4492350"/>
                <a:gd name="connsiteX5-343" fmla="*/ 393405 w 3742661"/>
                <a:gd name="connsiteY5-344" fmla="*/ 2456121 h 4492350"/>
                <a:gd name="connsiteX6-345" fmla="*/ 1775638 w 3742661"/>
                <a:gd name="connsiteY6-346" fmla="*/ 3519376 h 4492350"/>
                <a:gd name="connsiteX7-347" fmla="*/ 1679945 w 3742661"/>
                <a:gd name="connsiteY7-348" fmla="*/ 2392325 h 4492350"/>
                <a:gd name="connsiteX8-349" fmla="*/ 0 w 3742661"/>
                <a:gd name="connsiteY8-350" fmla="*/ 754911 h 4492350"/>
                <a:gd name="connsiteX9-351" fmla="*/ 988828 w 3742661"/>
                <a:gd name="connsiteY9-352" fmla="*/ 1924493 h 4492350"/>
                <a:gd name="connsiteX10-353" fmla="*/ 1137684 w 3742661"/>
                <a:gd name="connsiteY10-354" fmla="*/ 861237 h 4492350"/>
                <a:gd name="connsiteX11-355" fmla="*/ 1222745 w 3742661"/>
                <a:gd name="connsiteY11-356" fmla="*/ 2062716 h 4492350"/>
                <a:gd name="connsiteX12-357" fmla="*/ 1690577 w 3742661"/>
                <a:gd name="connsiteY12-358" fmla="*/ 2190307 h 4492350"/>
                <a:gd name="connsiteX13-359" fmla="*/ 1956391 w 3742661"/>
                <a:gd name="connsiteY13-360" fmla="*/ 0 h 4492350"/>
                <a:gd name="connsiteX14-361" fmla="*/ 2083982 w 3742661"/>
                <a:gd name="connsiteY14-362" fmla="*/ 978195 h 4492350"/>
                <a:gd name="connsiteX15-363" fmla="*/ 1881963 w 3742661"/>
                <a:gd name="connsiteY15-364" fmla="*/ 2232837 h 4492350"/>
                <a:gd name="connsiteX16-365" fmla="*/ 2041452 w 3742661"/>
                <a:gd name="connsiteY16-366" fmla="*/ 3030279 h 4492350"/>
                <a:gd name="connsiteX17-367" fmla="*/ 2647507 w 3742661"/>
                <a:gd name="connsiteY17-368" fmla="*/ 2519916 h 4492350"/>
                <a:gd name="connsiteX18-369" fmla="*/ 2849526 w 3742661"/>
                <a:gd name="connsiteY18-370" fmla="*/ 1307804 h 4492350"/>
                <a:gd name="connsiteX19-371" fmla="*/ 2838893 w 3742661"/>
                <a:gd name="connsiteY19-372" fmla="*/ 2371060 h 4492350"/>
                <a:gd name="connsiteX20-373" fmla="*/ 3742661 w 3742661"/>
                <a:gd name="connsiteY20-374" fmla="*/ 1148316 h 4492350"/>
                <a:gd name="connsiteX21-375" fmla="*/ 2222205 w 3742661"/>
                <a:gd name="connsiteY21-376" fmla="*/ 3370521 h 4492350"/>
                <a:gd name="connsiteX22-377" fmla="*/ 2169042 w 3742661"/>
                <a:gd name="connsiteY22-378" fmla="*/ 3817088 h 4492350"/>
                <a:gd name="connsiteX23-379" fmla="*/ 3317358 w 3742661"/>
                <a:gd name="connsiteY23-380" fmla="*/ 3094074 h 4492350"/>
                <a:gd name="connsiteX24-381" fmla="*/ 2194317 w 3742661"/>
                <a:gd name="connsiteY24-382" fmla="*/ 4030951 h 4492350"/>
                <a:gd name="connsiteX25-383" fmla="*/ 2232838 w 3742661"/>
                <a:gd name="connsiteY25-384" fmla="*/ 4476307 h 4492350"/>
                <a:gd name="connsiteX26-385" fmla="*/ 2218194 w 3742661"/>
                <a:gd name="connsiteY26-386" fmla="*/ 4491415 h 4492350"/>
                <a:gd name="connsiteX27-387" fmla="*/ 1743740 w 3742661"/>
                <a:gd name="connsiteY27-388" fmla="*/ 4492350 h 4492350"/>
                <a:gd name="connsiteX0-389" fmla="*/ 1743740 w 3742661"/>
                <a:gd name="connsiteY0-390" fmla="*/ 4492350 h 4492350"/>
                <a:gd name="connsiteX1-391" fmla="*/ 1796903 w 3742661"/>
                <a:gd name="connsiteY1-392" fmla="*/ 3785190 h 4492350"/>
                <a:gd name="connsiteX2-393" fmla="*/ 1307805 w 3742661"/>
                <a:gd name="connsiteY2-394" fmla="*/ 3381153 h 4492350"/>
                <a:gd name="connsiteX3-395" fmla="*/ 31898 w 3742661"/>
                <a:gd name="connsiteY3-396" fmla="*/ 2945218 h 4492350"/>
                <a:gd name="connsiteX4-397" fmla="*/ 1127052 w 3742661"/>
                <a:gd name="connsiteY4-398" fmla="*/ 3242930 h 4492350"/>
                <a:gd name="connsiteX5-399" fmla="*/ 393405 w 3742661"/>
                <a:gd name="connsiteY5-400" fmla="*/ 2456121 h 4492350"/>
                <a:gd name="connsiteX6-401" fmla="*/ 1775638 w 3742661"/>
                <a:gd name="connsiteY6-402" fmla="*/ 3519376 h 4492350"/>
                <a:gd name="connsiteX7-403" fmla="*/ 1679945 w 3742661"/>
                <a:gd name="connsiteY7-404" fmla="*/ 2392325 h 4492350"/>
                <a:gd name="connsiteX8-405" fmla="*/ 0 w 3742661"/>
                <a:gd name="connsiteY8-406" fmla="*/ 754911 h 4492350"/>
                <a:gd name="connsiteX9-407" fmla="*/ 988828 w 3742661"/>
                <a:gd name="connsiteY9-408" fmla="*/ 1924493 h 4492350"/>
                <a:gd name="connsiteX10-409" fmla="*/ 1137684 w 3742661"/>
                <a:gd name="connsiteY10-410" fmla="*/ 861237 h 4492350"/>
                <a:gd name="connsiteX11-411" fmla="*/ 1222745 w 3742661"/>
                <a:gd name="connsiteY11-412" fmla="*/ 2062716 h 4492350"/>
                <a:gd name="connsiteX12-413" fmla="*/ 1690577 w 3742661"/>
                <a:gd name="connsiteY12-414" fmla="*/ 2190307 h 4492350"/>
                <a:gd name="connsiteX13-415" fmla="*/ 1956391 w 3742661"/>
                <a:gd name="connsiteY13-416" fmla="*/ 0 h 4492350"/>
                <a:gd name="connsiteX14-417" fmla="*/ 2083982 w 3742661"/>
                <a:gd name="connsiteY14-418" fmla="*/ 978195 h 4492350"/>
                <a:gd name="connsiteX15-419" fmla="*/ 1881963 w 3742661"/>
                <a:gd name="connsiteY15-420" fmla="*/ 2232837 h 4492350"/>
                <a:gd name="connsiteX16-421" fmla="*/ 2041452 w 3742661"/>
                <a:gd name="connsiteY16-422" fmla="*/ 3030279 h 4492350"/>
                <a:gd name="connsiteX17-423" fmla="*/ 2647507 w 3742661"/>
                <a:gd name="connsiteY17-424" fmla="*/ 2519916 h 4492350"/>
                <a:gd name="connsiteX18-425" fmla="*/ 2849526 w 3742661"/>
                <a:gd name="connsiteY18-426" fmla="*/ 1307804 h 4492350"/>
                <a:gd name="connsiteX19-427" fmla="*/ 2838893 w 3742661"/>
                <a:gd name="connsiteY19-428" fmla="*/ 2371060 h 4492350"/>
                <a:gd name="connsiteX20-429" fmla="*/ 3742661 w 3742661"/>
                <a:gd name="connsiteY20-430" fmla="*/ 1148316 h 4492350"/>
                <a:gd name="connsiteX21-431" fmla="*/ 2222205 w 3742661"/>
                <a:gd name="connsiteY21-432" fmla="*/ 3370521 h 4492350"/>
                <a:gd name="connsiteX22-433" fmla="*/ 2169042 w 3742661"/>
                <a:gd name="connsiteY22-434" fmla="*/ 3817088 h 4492350"/>
                <a:gd name="connsiteX23-435" fmla="*/ 3317358 w 3742661"/>
                <a:gd name="connsiteY23-436" fmla="*/ 3094074 h 4492350"/>
                <a:gd name="connsiteX24-437" fmla="*/ 2194317 w 3742661"/>
                <a:gd name="connsiteY24-438" fmla="*/ 4030951 h 4492350"/>
                <a:gd name="connsiteX25-439" fmla="*/ 2232838 w 3742661"/>
                <a:gd name="connsiteY25-440" fmla="*/ 4476307 h 4492350"/>
                <a:gd name="connsiteX26-441" fmla="*/ 2218194 w 3742661"/>
                <a:gd name="connsiteY26-442" fmla="*/ 4491415 h 4492350"/>
                <a:gd name="connsiteX27-443" fmla="*/ 1743740 w 3742661"/>
                <a:gd name="connsiteY27-444" fmla="*/ 4492350 h 4492350"/>
                <a:gd name="connsiteX0-445" fmla="*/ 1743740 w 3742661"/>
                <a:gd name="connsiteY0-446" fmla="*/ 4492350 h 4492350"/>
                <a:gd name="connsiteX1-447" fmla="*/ 1796903 w 3742661"/>
                <a:gd name="connsiteY1-448" fmla="*/ 3785190 h 4492350"/>
                <a:gd name="connsiteX2-449" fmla="*/ 1307805 w 3742661"/>
                <a:gd name="connsiteY2-450" fmla="*/ 3381153 h 4492350"/>
                <a:gd name="connsiteX3-451" fmla="*/ 31898 w 3742661"/>
                <a:gd name="connsiteY3-452" fmla="*/ 2945218 h 4492350"/>
                <a:gd name="connsiteX4-453" fmla="*/ 1127052 w 3742661"/>
                <a:gd name="connsiteY4-454" fmla="*/ 3242930 h 4492350"/>
                <a:gd name="connsiteX5-455" fmla="*/ 393405 w 3742661"/>
                <a:gd name="connsiteY5-456" fmla="*/ 2456121 h 4492350"/>
                <a:gd name="connsiteX6-457" fmla="*/ 1775638 w 3742661"/>
                <a:gd name="connsiteY6-458" fmla="*/ 3519376 h 4492350"/>
                <a:gd name="connsiteX7-459" fmla="*/ 1679945 w 3742661"/>
                <a:gd name="connsiteY7-460" fmla="*/ 2392325 h 4492350"/>
                <a:gd name="connsiteX8-461" fmla="*/ 0 w 3742661"/>
                <a:gd name="connsiteY8-462" fmla="*/ 754911 h 4492350"/>
                <a:gd name="connsiteX9-463" fmla="*/ 988828 w 3742661"/>
                <a:gd name="connsiteY9-464" fmla="*/ 1924493 h 4492350"/>
                <a:gd name="connsiteX10-465" fmla="*/ 1137684 w 3742661"/>
                <a:gd name="connsiteY10-466" fmla="*/ 861237 h 4492350"/>
                <a:gd name="connsiteX11-467" fmla="*/ 1222745 w 3742661"/>
                <a:gd name="connsiteY11-468" fmla="*/ 2062716 h 4492350"/>
                <a:gd name="connsiteX12-469" fmla="*/ 1690577 w 3742661"/>
                <a:gd name="connsiteY12-470" fmla="*/ 2190307 h 4492350"/>
                <a:gd name="connsiteX13-471" fmla="*/ 1956391 w 3742661"/>
                <a:gd name="connsiteY13-472" fmla="*/ 0 h 4492350"/>
                <a:gd name="connsiteX14-473" fmla="*/ 2083982 w 3742661"/>
                <a:gd name="connsiteY14-474" fmla="*/ 978195 h 4492350"/>
                <a:gd name="connsiteX15-475" fmla="*/ 1881963 w 3742661"/>
                <a:gd name="connsiteY15-476" fmla="*/ 2232837 h 4492350"/>
                <a:gd name="connsiteX16-477" fmla="*/ 2041452 w 3742661"/>
                <a:gd name="connsiteY16-478" fmla="*/ 3030279 h 4492350"/>
                <a:gd name="connsiteX17-479" fmla="*/ 2647507 w 3742661"/>
                <a:gd name="connsiteY17-480" fmla="*/ 2519916 h 4492350"/>
                <a:gd name="connsiteX18-481" fmla="*/ 2849526 w 3742661"/>
                <a:gd name="connsiteY18-482" fmla="*/ 1307804 h 4492350"/>
                <a:gd name="connsiteX19-483" fmla="*/ 2838893 w 3742661"/>
                <a:gd name="connsiteY19-484" fmla="*/ 2371060 h 4492350"/>
                <a:gd name="connsiteX20-485" fmla="*/ 3742661 w 3742661"/>
                <a:gd name="connsiteY20-486" fmla="*/ 1148316 h 4492350"/>
                <a:gd name="connsiteX21-487" fmla="*/ 2222205 w 3742661"/>
                <a:gd name="connsiteY21-488" fmla="*/ 3370521 h 4492350"/>
                <a:gd name="connsiteX22-489" fmla="*/ 2169042 w 3742661"/>
                <a:gd name="connsiteY22-490" fmla="*/ 3817088 h 4492350"/>
                <a:gd name="connsiteX23-491" fmla="*/ 3317358 w 3742661"/>
                <a:gd name="connsiteY23-492" fmla="*/ 3094074 h 4492350"/>
                <a:gd name="connsiteX24-493" fmla="*/ 2194317 w 3742661"/>
                <a:gd name="connsiteY24-494" fmla="*/ 4030951 h 4492350"/>
                <a:gd name="connsiteX25-495" fmla="*/ 2232838 w 3742661"/>
                <a:gd name="connsiteY25-496" fmla="*/ 4476307 h 4492350"/>
                <a:gd name="connsiteX26-497" fmla="*/ 2218194 w 3742661"/>
                <a:gd name="connsiteY26-498" fmla="*/ 4491415 h 4492350"/>
                <a:gd name="connsiteX27-499" fmla="*/ 1743740 w 3742661"/>
                <a:gd name="connsiteY27-500" fmla="*/ 4492350 h 4492350"/>
                <a:gd name="connsiteX0-501" fmla="*/ 1743740 w 3742661"/>
                <a:gd name="connsiteY0-502" fmla="*/ 4492350 h 4492350"/>
                <a:gd name="connsiteX1-503" fmla="*/ 1796903 w 3742661"/>
                <a:gd name="connsiteY1-504" fmla="*/ 3785190 h 4492350"/>
                <a:gd name="connsiteX2-505" fmla="*/ 1307805 w 3742661"/>
                <a:gd name="connsiteY2-506" fmla="*/ 3381153 h 4492350"/>
                <a:gd name="connsiteX3-507" fmla="*/ 31898 w 3742661"/>
                <a:gd name="connsiteY3-508" fmla="*/ 2945218 h 4492350"/>
                <a:gd name="connsiteX4-509" fmla="*/ 1127052 w 3742661"/>
                <a:gd name="connsiteY4-510" fmla="*/ 3242930 h 4492350"/>
                <a:gd name="connsiteX5-511" fmla="*/ 393405 w 3742661"/>
                <a:gd name="connsiteY5-512" fmla="*/ 2456121 h 4492350"/>
                <a:gd name="connsiteX6-513" fmla="*/ 1775638 w 3742661"/>
                <a:gd name="connsiteY6-514" fmla="*/ 3519376 h 4492350"/>
                <a:gd name="connsiteX7-515" fmla="*/ 1679945 w 3742661"/>
                <a:gd name="connsiteY7-516" fmla="*/ 2392325 h 4492350"/>
                <a:gd name="connsiteX8-517" fmla="*/ 0 w 3742661"/>
                <a:gd name="connsiteY8-518" fmla="*/ 754911 h 4492350"/>
                <a:gd name="connsiteX9-519" fmla="*/ 988828 w 3742661"/>
                <a:gd name="connsiteY9-520" fmla="*/ 1924493 h 4492350"/>
                <a:gd name="connsiteX10-521" fmla="*/ 1137684 w 3742661"/>
                <a:gd name="connsiteY10-522" fmla="*/ 861237 h 4492350"/>
                <a:gd name="connsiteX11-523" fmla="*/ 1222745 w 3742661"/>
                <a:gd name="connsiteY11-524" fmla="*/ 2062716 h 4492350"/>
                <a:gd name="connsiteX12-525" fmla="*/ 1690577 w 3742661"/>
                <a:gd name="connsiteY12-526" fmla="*/ 2190307 h 4492350"/>
                <a:gd name="connsiteX13-527" fmla="*/ 1956391 w 3742661"/>
                <a:gd name="connsiteY13-528" fmla="*/ 0 h 4492350"/>
                <a:gd name="connsiteX14-529" fmla="*/ 2083982 w 3742661"/>
                <a:gd name="connsiteY14-530" fmla="*/ 978195 h 4492350"/>
                <a:gd name="connsiteX15-531" fmla="*/ 1881963 w 3742661"/>
                <a:gd name="connsiteY15-532" fmla="*/ 2232837 h 4492350"/>
                <a:gd name="connsiteX16-533" fmla="*/ 2041452 w 3742661"/>
                <a:gd name="connsiteY16-534" fmla="*/ 3030279 h 4492350"/>
                <a:gd name="connsiteX17-535" fmla="*/ 2647507 w 3742661"/>
                <a:gd name="connsiteY17-536" fmla="*/ 2519916 h 4492350"/>
                <a:gd name="connsiteX18-537" fmla="*/ 2849526 w 3742661"/>
                <a:gd name="connsiteY18-538" fmla="*/ 1307804 h 4492350"/>
                <a:gd name="connsiteX19-539" fmla="*/ 2838893 w 3742661"/>
                <a:gd name="connsiteY19-540" fmla="*/ 2371060 h 4492350"/>
                <a:gd name="connsiteX20-541" fmla="*/ 3742661 w 3742661"/>
                <a:gd name="connsiteY20-542" fmla="*/ 1148316 h 4492350"/>
                <a:gd name="connsiteX21-543" fmla="*/ 2222205 w 3742661"/>
                <a:gd name="connsiteY21-544" fmla="*/ 3370521 h 4492350"/>
                <a:gd name="connsiteX22-545" fmla="*/ 2169042 w 3742661"/>
                <a:gd name="connsiteY22-546" fmla="*/ 3817088 h 4492350"/>
                <a:gd name="connsiteX23-547" fmla="*/ 3317358 w 3742661"/>
                <a:gd name="connsiteY23-548" fmla="*/ 3094074 h 4492350"/>
                <a:gd name="connsiteX24-549" fmla="*/ 2194317 w 3742661"/>
                <a:gd name="connsiteY24-550" fmla="*/ 4030951 h 4492350"/>
                <a:gd name="connsiteX25-551" fmla="*/ 2232838 w 3742661"/>
                <a:gd name="connsiteY25-552" fmla="*/ 4476307 h 4492350"/>
                <a:gd name="connsiteX26-553" fmla="*/ 2218194 w 3742661"/>
                <a:gd name="connsiteY26-554" fmla="*/ 4491415 h 4492350"/>
                <a:gd name="connsiteX27-555" fmla="*/ 1743740 w 3742661"/>
                <a:gd name="connsiteY27-556" fmla="*/ 4492350 h 4492350"/>
                <a:gd name="connsiteX0-557" fmla="*/ 1743740 w 3742661"/>
                <a:gd name="connsiteY0-558" fmla="*/ 4492350 h 4492350"/>
                <a:gd name="connsiteX1-559" fmla="*/ 1796903 w 3742661"/>
                <a:gd name="connsiteY1-560" fmla="*/ 3785190 h 4492350"/>
                <a:gd name="connsiteX2-561" fmla="*/ 1307805 w 3742661"/>
                <a:gd name="connsiteY2-562" fmla="*/ 3381153 h 4492350"/>
                <a:gd name="connsiteX3-563" fmla="*/ 31898 w 3742661"/>
                <a:gd name="connsiteY3-564" fmla="*/ 2945218 h 4492350"/>
                <a:gd name="connsiteX4-565" fmla="*/ 1127052 w 3742661"/>
                <a:gd name="connsiteY4-566" fmla="*/ 3242930 h 4492350"/>
                <a:gd name="connsiteX5-567" fmla="*/ 393405 w 3742661"/>
                <a:gd name="connsiteY5-568" fmla="*/ 2456121 h 4492350"/>
                <a:gd name="connsiteX6-569" fmla="*/ 1775638 w 3742661"/>
                <a:gd name="connsiteY6-570" fmla="*/ 3519376 h 4492350"/>
                <a:gd name="connsiteX7-571" fmla="*/ 1679945 w 3742661"/>
                <a:gd name="connsiteY7-572" fmla="*/ 2392325 h 4492350"/>
                <a:gd name="connsiteX8-573" fmla="*/ 0 w 3742661"/>
                <a:gd name="connsiteY8-574" fmla="*/ 754911 h 4492350"/>
                <a:gd name="connsiteX9-575" fmla="*/ 988828 w 3742661"/>
                <a:gd name="connsiteY9-576" fmla="*/ 1924493 h 4492350"/>
                <a:gd name="connsiteX10-577" fmla="*/ 1137684 w 3742661"/>
                <a:gd name="connsiteY10-578" fmla="*/ 861237 h 4492350"/>
                <a:gd name="connsiteX11-579" fmla="*/ 1222745 w 3742661"/>
                <a:gd name="connsiteY11-580" fmla="*/ 2062716 h 4492350"/>
                <a:gd name="connsiteX12-581" fmla="*/ 1690577 w 3742661"/>
                <a:gd name="connsiteY12-582" fmla="*/ 2190307 h 4492350"/>
                <a:gd name="connsiteX13-583" fmla="*/ 1956391 w 3742661"/>
                <a:gd name="connsiteY13-584" fmla="*/ 0 h 4492350"/>
                <a:gd name="connsiteX14-585" fmla="*/ 2083982 w 3742661"/>
                <a:gd name="connsiteY14-586" fmla="*/ 978195 h 4492350"/>
                <a:gd name="connsiteX15-587" fmla="*/ 1881963 w 3742661"/>
                <a:gd name="connsiteY15-588" fmla="*/ 2232837 h 4492350"/>
                <a:gd name="connsiteX16-589" fmla="*/ 2041452 w 3742661"/>
                <a:gd name="connsiteY16-590" fmla="*/ 3030279 h 4492350"/>
                <a:gd name="connsiteX17-591" fmla="*/ 2647507 w 3742661"/>
                <a:gd name="connsiteY17-592" fmla="*/ 2519916 h 4492350"/>
                <a:gd name="connsiteX18-593" fmla="*/ 2849526 w 3742661"/>
                <a:gd name="connsiteY18-594" fmla="*/ 1307804 h 4492350"/>
                <a:gd name="connsiteX19-595" fmla="*/ 2838893 w 3742661"/>
                <a:gd name="connsiteY19-596" fmla="*/ 2371060 h 4492350"/>
                <a:gd name="connsiteX20-597" fmla="*/ 3742661 w 3742661"/>
                <a:gd name="connsiteY20-598" fmla="*/ 1148316 h 4492350"/>
                <a:gd name="connsiteX21-599" fmla="*/ 2222205 w 3742661"/>
                <a:gd name="connsiteY21-600" fmla="*/ 3370521 h 4492350"/>
                <a:gd name="connsiteX22-601" fmla="*/ 2169042 w 3742661"/>
                <a:gd name="connsiteY22-602" fmla="*/ 3817088 h 4492350"/>
                <a:gd name="connsiteX23-603" fmla="*/ 3317358 w 3742661"/>
                <a:gd name="connsiteY23-604" fmla="*/ 3094074 h 4492350"/>
                <a:gd name="connsiteX24-605" fmla="*/ 2194317 w 3742661"/>
                <a:gd name="connsiteY24-606" fmla="*/ 4030951 h 4492350"/>
                <a:gd name="connsiteX25-607" fmla="*/ 2232838 w 3742661"/>
                <a:gd name="connsiteY25-608" fmla="*/ 4476307 h 4492350"/>
                <a:gd name="connsiteX26-609" fmla="*/ 2218194 w 3742661"/>
                <a:gd name="connsiteY26-610" fmla="*/ 4491415 h 4492350"/>
                <a:gd name="connsiteX27-611" fmla="*/ 1743740 w 3742661"/>
                <a:gd name="connsiteY27-612" fmla="*/ 4492350 h 4492350"/>
                <a:gd name="connsiteX0-613" fmla="*/ 1743740 w 3742661"/>
                <a:gd name="connsiteY0-614" fmla="*/ 4492350 h 4492350"/>
                <a:gd name="connsiteX1-615" fmla="*/ 1796903 w 3742661"/>
                <a:gd name="connsiteY1-616" fmla="*/ 3785190 h 4492350"/>
                <a:gd name="connsiteX2-617" fmla="*/ 1307805 w 3742661"/>
                <a:gd name="connsiteY2-618" fmla="*/ 3381153 h 4492350"/>
                <a:gd name="connsiteX3-619" fmla="*/ 31898 w 3742661"/>
                <a:gd name="connsiteY3-620" fmla="*/ 2945218 h 4492350"/>
                <a:gd name="connsiteX4-621" fmla="*/ 1127052 w 3742661"/>
                <a:gd name="connsiteY4-622" fmla="*/ 3242930 h 4492350"/>
                <a:gd name="connsiteX5-623" fmla="*/ 393405 w 3742661"/>
                <a:gd name="connsiteY5-624" fmla="*/ 2456121 h 4492350"/>
                <a:gd name="connsiteX6-625" fmla="*/ 1775638 w 3742661"/>
                <a:gd name="connsiteY6-626" fmla="*/ 3519376 h 4492350"/>
                <a:gd name="connsiteX7-627" fmla="*/ 1679945 w 3742661"/>
                <a:gd name="connsiteY7-628" fmla="*/ 2392325 h 4492350"/>
                <a:gd name="connsiteX8-629" fmla="*/ 0 w 3742661"/>
                <a:gd name="connsiteY8-630" fmla="*/ 754911 h 4492350"/>
                <a:gd name="connsiteX9-631" fmla="*/ 988828 w 3742661"/>
                <a:gd name="connsiteY9-632" fmla="*/ 1924493 h 4492350"/>
                <a:gd name="connsiteX10-633" fmla="*/ 1137684 w 3742661"/>
                <a:gd name="connsiteY10-634" fmla="*/ 861237 h 4492350"/>
                <a:gd name="connsiteX11-635" fmla="*/ 1222745 w 3742661"/>
                <a:gd name="connsiteY11-636" fmla="*/ 2062716 h 4492350"/>
                <a:gd name="connsiteX12-637" fmla="*/ 1690577 w 3742661"/>
                <a:gd name="connsiteY12-638" fmla="*/ 2190307 h 4492350"/>
                <a:gd name="connsiteX13-639" fmla="*/ 1956391 w 3742661"/>
                <a:gd name="connsiteY13-640" fmla="*/ 0 h 4492350"/>
                <a:gd name="connsiteX14-641" fmla="*/ 2083982 w 3742661"/>
                <a:gd name="connsiteY14-642" fmla="*/ 978195 h 4492350"/>
                <a:gd name="connsiteX15-643" fmla="*/ 1881963 w 3742661"/>
                <a:gd name="connsiteY15-644" fmla="*/ 2232837 h 4492350"/>
                <a:gd name="connsiteX16-645" fmla="*/ 2041452 w 3742661"/>
                <a:gd name="connsiteY16-646" fmla="*/ 3030279 h 4492350"/>
                <a:gd name="connsiteX17-647" fmla="*/ 2647507 w 3742661"/>
                <a:gd name="connsiteY17-648" fmla="*/ 2519916 h 4492350"/>
                <a:gd name="connsiteX18-649" fmla="*/ 2849526 w 3742661"/>
                <a:gd name="connsiteY18-650" fmla="*/ 1307804 h 4492350"/>
                <a:gd name="connsiteX19-651" fmla="*/ 2838893 w 3742661"/>
                <a:gd name="connsiteY19-652" fmla="*/ 2371060 h 4492350"/>
                <a:gd name="connsiteX20-653" fmla="*/ 3742661 w 3742661"/>
                <a:gd name="connsiteY20-654" fmla="*/ 1148316 h 4492350"/>
                <a:gd name="connsiteX21-655" fmla="*/ 2222205 w 3742661"/>
                <a:gd name="connsiteY21-656" fmla="*/ 3370521 h 4492350"/>
                <a:gd name="connsiteX22-657" fmla="*/ 2169042 w 3742661"/>
                <a:gd name="connsiteY22-658" fmla="*/ 3817088 h 4492350"/>
                <a:gd name="connsiteX23-659" fmla="*/ 3317358 w 3742661"/>
                <a:gd name="connsiteY23-660" fmla="*/ 3094074 h 4492350"/>
                <a:gd name="connsiteX24-661" fmla="*/ 2194317 w 3742661"/>
                <a:gd name="connsiteY24-662" fmla="*/ 4030951 h 4492350"/>
                <a:gd name="connsiteX25-663" fmla="*/ 2232838 w 3742661"/>
                <a:gd name="connsiteY25-664" fmla="*/ 4476307 h 4492350"/>
                <a:gd name="connsiteX26-665" fmla="*/ 2218194 w 3742661"/>
                <a:gd name="connsiteY26-666" fmla="*/ 4491415 h 4492350"/>
                <a:gd name="connsiteX27-667" fmla="*/ 1743740 w 3742661"/>
                <a:gd name="connsiteY27-668" fmla="*/ 4492350 h 4492350"/>
                <a:gd name="connsiteX0-669" fmla="*/ 1743740 w 3742661"/>
                <a:gd name="connsiteY0-670" fmla="*/ 4492350 h 4492350"/>
                <a:gd name="connsiteX1-671" fmla="*/ 1796903 w 3742661"/>
                <a:gd name="connsiteY1-672" fmla="*/ 3785190 h 4492350"/>
                <a:gd name="connsiteX2-673" fmla="*/ 1307805 w 3742661"/>
                <a:gd name="connsiteY2-674" fmla="*/ 3381153 h 4492350"/>
                <a:gd name="connsiteX3-675" fmla="*/ 31898 w 3742661"/>
                <a:gd name="connsiteY3-676" fmla="*/ 2945218 h 4492350"/>
                <a:gd name="connsiteX4-677" fmla="*/ 1127052 w 3742661"/>
                <a:gd name="connsiteY4-678" fmla="*/ 3242930 h 4492350"/>
                <a:gd name="connsiteX5-679" fmla="*/ 393405 w 3742661"/>
                <a:gd name="connsiteY5-680" fmla="*/ 2456121 h 4492350"/>
                <a:gd name="connsiteX6-681" fmla="*/ 1775638 w 3742661"/>
                <a:gd name="connsiteY6-682" fmla="*/ 3519376 h 4492350"/>
                <a:gd name="connsiteX7-683" fmla="*/ 1679945 w 3742661"/>
                <a:gd name="connsiteY7-684" fmla="*/ 2392325 h 4492350"/>
                <a:gd name="connsiteX8-685" fmla="*/ 0 w 3742661"/>
                <a:gd name="connsiteY8-686" fmla="*/ 754911 h 4492350"/>
                <a:gd name="connsiteX9-687" fmla="*/ 988828 w 3742661"/>
                <a:gd name="connsiteY9-688" fmla="*/ 1924493 h 4492350"/>
                <a:gd name="connsiteX10-689" fmla="*/ 1137684 w 3742661"/>
                <a:gd name="connsiteY10-690" fmla="*/ 861237 h 4492350"/>
                <a:gd name="connsiteX11-691" fmla="*/ 1222745 w 3742661"/>
                <a:gd name="connsiteY11-692" fmla="*/ 2062716 h 4492350"/>
                <a:gd name="connsiteX12-693" fmla="*/ 1690577 w 3742661"/>
                <a:gd name="connsiteY12-694" fmla="*/ 2190307 h 4492350"/>
                <a:gd name="connsiteX13-695" fmla="*/ 1956391 w 3742661"/>
                <a:gd name="connsiteY13-696" fmla="*/ 0 h 4492350"/>
                <a:gd name="connsiteX14-697" fmla="*/ 2083982 w 3742661"/>
                <a:gd name="connsiteY14-698" fmla="*/ 978195 h 4492350"/>
                <a:gd name="connsiteX15-699" fmla="*/ 1881963 w 3742661"/>
                <a:gd name="connsiteY15-700" fmla="*/ 2232837 h 4492350"/>
                <a:gd name="connsiteX16-701" fmla="*/ 2041452 w 3742661"/>
                <a:gd name="connsiteY16-702" fmla="*/ 3030279 h 4492350"/>
                <a:gd name="connsiteX17-703" fmla="*/ 2647507 w 3742661"/>
                <a:gd name="connsiteY17-704" fmla="*/ 2519916 h 4492350"/>
                <a:gd name="connsiteX18-705" fmla="*/ 2849526 w 3742661"/>
                <a:gd name="connsiteY18-706" fmla="*/ 1307804 h 4492350"/>
                <a:gd name="connsiteX19-707" fmla="*/ 2838893 w 3742661"/>
                <a:gd name="connsiteY19-708" fmla="*/ 2371060 h 4492350"/>
                <a:gd name="connsiteX20-709" fmla="*/ 3742661 w 3742661"/>
                <a:gd name="connsiteY20-710" fmla="*/ 1148316 h 4492350"/>
                <a:gd name="connsiteX21-711" fmla="*/ 2222205 w 3742661"/>
                <a:gd name="connsiteY21-712" fmla="*/ 3370521 h 4492350"/>
                <a:gd name="connsiteX22-713" fmla="*/ 2169042 w 3742661"/>
                <a:gd name="connsiteY22-714" fmla="*/ 3817088 h 4492350"/>
                <a:gd name="connsiteX23-715" fmla="*/ 3317358 w 3742661"/>
                <a:gd name="connsiteY23-716" fmla="*/ 3094074 h 4492350"/>
                <a:gd name="connsiteX24-717" fmla="*/ 2194317 w 3742661"/>
                <a:gd name="connsiteY24-718" fmla="*/ 4030951 h 4492350"/>
                <a:gd name="connsiteX25-719" fmla="*/ 2232838 w 3742661"/>
                <a:gd name="connsiteY25-720" fmla="*/ 4476307 h 4492350"/>
                <a:gd name="connsiteX26-721" fmla="*/ 2218194 w 3742661"/>
                <a:gd name="connsiteY26-722" fmla="*/ 4491415 h 4492350"/>
                <a:gd name="connsiteX27-723" fmla="*/ 1743740 w 3742661"/>
                <a:gd name="connsiteY27-724" fmla="*/ 4492350 h 4492350"/>
                <a:gd name="connsiteX0-725" fmla="*/ 1743740 w 3742661"/>
                <a:gd name="connsiteY0-726" fmla="*/ 4492350 h 4492350"/>
                <a:gd name="connsiteX1-727" fmla="*/ 1796903 w 3742661"/>
                <a:gd name="connsiteY1-728" fmla="*/ 3785190 h 4492350"/>
                <a:gd name="connsiteX2-729" fmla="*/ 1307805 w 3742661"/>
                <a:gd name="connsiteY2-730" fmla="*/ 3381153 h 4492350"/>
                <a:gd name="connsiteX3-731" fmla="*/ 31898 w 3742661"/>
                <a:gd name="connsiteY3-732" fmla="*/ 2945218 h 4492350"/>
                <a:gd name="connsiteX4-733" fmla="*/ 1127052 w 3742661"/>
                <a:gd name="connsiteY4-734" fmla="*/ 3242930 h 4492350"/>
                <a:gd name="connsiteX5-735" fmla="*/ 393405 w 3742661"/>
                <a:gd name="connsiteY5-736" fmla="*/ 2456121 h 4492350"/>
                <a:gd name="connsiteX6-737" fmla="*/ 1775638 w 3742661"/>
                <a:gd name="connsiteY6-738" fmla="*/ 3519376 h 4492350"/>
                <a:gd name="connsiteX7-739" fmla="*/ 1679945 w 3742661"/>
                <a:gd name="connsiteY7-740" fmla="*/ 2392325 h 4492350"/>
                <a:gd name="connsiteX8-741" fmla="*/ 0 w 3742661"/>
                <a:gd name="connsiteY8-742" fmla="*/ 754911 h 4492350"/>
                <a:gd name="connsiteX9-743" fmla="*/ 988828 w 3742661"/>
                <a:gd name="connsiteY9-744" fmla="*/ 1924493 h 4492350"/>
                <a:gd name="connsiteX10-745" fmla="*/ 1137684 w 3742661"/>
                <a:gd name="connsiteY10-746" fmla="*/ 861237 h 4492350"/>
                <a:gd name="connsiteX11-747" fmla="*/ 1222745 w 3742661"/>
                <a:gd name="connsiteY11-748" fmla="*/ 2062716 h 4492350"/>
                <a:gd name="connsiteX12-749" fmla="*/ 1690577 w 3742661"/>
                <a:gd name="connsiteY12-750" fmla="*/ 2190307 h 4492350"/>
                <a:gd name="connsiteX13-751" fmla="*/ 1956391 w 3742661"/>
                <a:gd name="connsiteY13-752" fmla="*/ 0 h 4492350"/>
                <a:gd name="connsiteX14-753" fmla="*/ 2083982 w 3742661"/>
                <a:gd name="connsiteY14-754" fmla="*/ 978195 h 4492350"/>
                <a:gd name="connsiteX15-755" fmla="*/ 1881963 w 3742661"/>
                <a:gd name="connsiteY15-756" fmla="*/ 2232837 h 4492350"/>
                <a:gd name="connsiteX16-757" fmla="*/ 2041452 w 3742661"/>
                <a:gd name="connsiteY16-758" fmla="*/ 3030279 h 4492350"/>
                <a:gd name="connsiteX17-759" fmla="*/ 2647507 w 3742661"/>
                <a:gd name="connsiteY17-760" fmla="*/ 2519916 h 4492350"/>
                <a:gd name="connsiteX18-761" fmla="*/ 2849526 w 3742661"/>
                <a:gd name="connsiteY18-762" fmla="*/ 1307804 h 4492350"/>
                <a:gd name="connsiteX19-763" fmla="*/ 2838893 w 3742661"/>
                <a:gd name="connsiteY19-764" fmla="*/ 2371060 h 4492350"/>
                <a:gd name="connsiteX20-765" fmla="*/ 3742661 w 3742661"/>
                <a:gd name="connsiteY20-766" fmla="*/ 1148316 h 4492350"/>
                <a:gd name="connsiteX21-767" fmla="*/ 2222205 w 3742661"/>
                <a:gd name="connsiteY21-768" fmla="*/ 3370521 h 4492350"/>
                <a:gd name="connsiteX22-769" fmla="*/ 2169042 w 3742661"/>
                <a:gd name="connsiteY22-770" fmla="*/ 3817088 h 4492350"/>
                <a:gd name="connsiteX23-771" fmla="*/ 3317358 w 3742661"/>
                <a:gd name="connsiteY23-772" fmla="*/ 3094074 h 4492350"/>
                <a:gd name="connsiteX24-773" fmla="*/ 2194317 w 3742661"/>
                <a:gd name="connsiteY24-774" fmla="*/ 4030951 h 4492350"/>
                <a:gd name="connsiteX25-775" fmla="*/ 2232838 w 3742661"/>
                <a:gd name="connsiteY25-776" fmla="*/ 4476307 h 4492350"/>
                <a:gd name="connsiteX26-777" fmla="*/ 2218194 w 3742661"/>
                <a:gd name="connsiteY26-778" fmla="*/ 4491415 h 4492350"/>
                <a:gd name="connsiteX27-779" fmla="*/ 1743740 w 3742661"/>
                <a:gd name="connsiteY27-780" fmla="*/ 4492350 h 4492350"/>
                <a:gd name="connsiteX0-781" fmla="*/ 1743740 w 3742661"/>
                <a:gd name="connsiteY0-782" fmla="*/ 4492350 h 4492350"/>
                <a:gd name="connsiteX1-783" fmla="*/ 1796903 w 3742661"/>
                <a:gd name="connsiteY1-784" fmla="*/ 3785190 h 4492350"/>
                <a:gd name="connsiteX2-785" fmla="*/ 1307805 w 3742661"/>
                <a:gd name="connsiteY2-786" fmla="*/ 3381153 h 4492350"/>
                <a:gd name="connsiteX3-787" fmla="*/ 31898 w 3742661"/>
                <a:gd name="connsiteY3-788" fmla="*/ 2945218 h 4492350"/>
                <a:gd name="connsiteX4-789" fmla="*/ 1127052 w 3742661"/>
                <a:gd name="connsiteY4-790" fmla="*/ 3242930 h 4492350"/>
                <a:gd name="connsiteX5-791" fmla="*/ 393405 w 3742661"/>
                <a:gd name="connsiteY5-792" fmla="*/ 2456121 h 4492350"/>
                <a:gd name="connsiteX6-793" fmla="*/ 1775638 w 3742661"/>
                <a:gd name="connsiteY6-794" fmla="*/ 3519376 h 4492350"/>
                <a:gd name="connsiteX7-795" fmla="*/ 1679945 w 3742661"/>
                <a:gd name="connsiteY7-796" fmla="*/ 2392325 h 4492350"/>
                <a:gd name="connsiteX8-797" fmla="*/ 0 w 3742661"/>
                <a:gd name="connsiteY8-798" fmla="*/ 754911 h 4492350"/>
                <a:gd name="connsiteX9-799" fmla="*/ 988828 w 3742661"/>
                <a:gd name="connsiteY9-800" fmla="*/ 1924493 h 4492350"/>
                <a:gd name="connsiteX10-801" fmla="*/ 1137684 w 3742661"/>
                <a:gd name="connsiteY10-802" fmla="*/ 861237 h 4492350"/>
                <a:gd name="connsiteX11-803" fmla="*/ 1222745 w 3742661"/>
                <a:gd name="connsiteY11-804" fmla="*/ 2062716 h 4492350"/>
                <a:gd name="connsiteX12-805" fmla="*/ 1690577 w 3742661"/>
                <a:gd name="connsiteY12-806" fmla="*/ 2190307 h 4492350"/>
                <a:gd name="connsiteX13-807" fmla="*/ 1956391 w 3742661"/>
                <a:gd name="connsiteY13-808" fmla="*/ 0 h 4492350"/>
                <a:gd name="connsiteX14-809" fmla="*/ 2083982 w 3742661"/>
                <a:gd name="connsiteY14-810" fmla="*/ 978195 h 4492350"/>
                <a:gd name="connsiteX15-811" fmla="*/ 1881963 w 3742661"/>
                <a:gd name="connsiteY15-812" fmla="*/ 2232837 h 4492350"/>
                <a:gd name="connsiteX16-813" fmla="*/ 2041452 w 3742661"/>
                <a:gd name="connsiteY16-814" fmla="*/ 3030279 h 4492350"/>
                <a:gd name="connsiteX17-815" fmla="*/ 2647507 w 3742661"/>
                <a:gd name="connsiteY17-816" fmla="*/ 2519916 h 4492350"/>
                <a:gd name="connsiteX18-817" fmla="*/ 2849526 w 3742661"/>
                <a:gd name="connsiteY18-818" fmla="*/ 1307804 h 4492350"/>
                <a:gd name="connsiteX19-819" fmla="*/ 2838893 w 3742661"/>
                <a:gd name="connsiteY19-820" fmla="*/ 2371060 h 4492350"/>
                <a:gd name="connsiteX20-821" fmla="*/ 3742661 w 3742661"/>
                <a:gd name="connsiteY20-822" fmla="*/ 1148316 h 4492350"/>
                <a:gd name="connsiteX21-823" fmla="*/ 2222205 w 3742661"/>
                <a:gd name="connsiteY21-824" fmla="*/ 3370521 h 4492350"/>
                <a:gd name="connsiteX22-825" fmla="*/ 2169042 w 3742661"/>
                <a:gd name="connsiteY22-826" fmla="*/ 3817088 h 4492350"/>
                <a:gd name="connsiteX23-827" fmla="*/ 3317358 w 3742661"/>
                <a:gd name="connsiteY23-828" fmla="*/ 3094074 h 4492350"/>
                <a:gd name="connsiteX24-829" fmla="*/ 2194317 w 3742661"/>
                <a:gd name="connsiteY24-830" fmla="*/ 4030951 h 4492350"/>
                <a:gd name="connsiteX25-831" fmla="*/ 2232838 w 3742661"/>
                <a:gd name="connsiteY25-832" fmla="*/ 4476307 h 4492350"/>
                <a:gd name="connsiteX26-833" fmla="*/ 2218194 w 3742661"/>
                <a:gd name="connsiteY26-834" fmla="*/ 4491415 h 4492350"/>
                <a:gd name="connsiteX27-835" fmla="*/ 1743740 w 3742661"/>
                <a:gd name="connsiteY27-836" fmla="*/ 4492350 h 4492350"/>
                <a:gd name="connsiteX0-837" fmla="*/ 1743740 w 3742661"/>
                <a:gd name="connsiteY0-838" fmla="*/ 4492350 h 4492350"/>
                <a:gd name="connsiteX1-839" fmla="*/ 1796903 w 3742661"/>
                <a:gd name="connsiteY1-840" fmla="*/ 3785190 h 4492350"/>
                <a:gd name="connsiteX2-841" fmla="*/ 1307805 w 3742661"/>
                <a:gd name="connsiteY2-842" fmla="*/ 3381153 h 4492350"/>
                <a:gd name="connsiteX3-843" fmla="*/ 31898 w 3742661"/>
                <a:gd name="connsiteY3-844" fmla="*/ 2945218 h 4492350"/>
                <a:gd name="connsiteX4-845" fmla="*/ 1127052 w 3742661"/>
                <a:gd name="connsiteY4-846" fmla="*/ 3242930 h 4492350"/>
                <a:gd name="connsiteX5-847" fmla="*/ 393405 w 3742661"/>
                <a:gd name="connsiteY5-848" fmla="*/ 2456121 h 4492350"/>
                <a:gd name="connsiteX6-849" fmla="*/ 1775638 w 3742661"/>
                <a:gd name="connsiteY6-850" fmla="*/ 3519376 h 4492350"/>
                <a:gd name="connsiteX7-851" fmla="*/ 1679945 w 3742661"/>
                <a:gd name="connsiteY7-852" fmla="*/ 2392325 h 4492350"/>
                <a:gd name="connsiteX8-853" fmla="*/ 0 w 3742661"/>
                <a:gd name="connsiteY8-854" fmla="*/ 754911 h 4492350"/>
                <a:gd name="connsiteX9-855" fmla="*/ 988828 w 3742661"/>
                <a:gd name="connsiteY9-856" fmla="*/ 1924493 h 4492350"/>
                <a:gd name="connsiteX10-857" fmla="*/ 1137684 w 3742661"/>
                <a:gd name="connsiteY10-858" fmla="*/ 861237 h 4492350"/>
                <a:gd name="connsiteX11-859" fmla="*/ 1222745 w 3742661"/>
                <a:gd name="connsiteY11-860" fmla="*/ 2062716 h 4492350"/>
                <a:gd name="connsiteX12-861" fmla="*/ 1690577 w 3742661"/>
                <a:gd name="connsiteY12-862" fmla="*/ 2190307 h 4492350"/>
                <a:gd name="connsiteX13-863" fmla="*/ 1956391 w 3742661"/>
                <a:gd name="connsiteY13-864" fmla="*/ 0 h 4492350"/>
                <a:gd name="connsiteX14-865" fmla="*/ 2083982 w 3742661"/>
                <a:gd name="connsiteY14-866" fmla="*/ 978195 h 4492350"/>
                <a:gd name="connsiteX15-867" fmla="*/ 1881963 w 3742661"/>
                <a:gd name="connsiteY15-868" fmla="*/ 2232837 h 4492350"/>
                <a:gd name="connsiteX16-869" fmla="*/ 2041452 w 3742661"/>
                <a:gd name="connsiteY16-870" fmla="*/ 3030279 h 4492350"/>
                <a:gd name="connsiteX17-871" fmla="*/ 2647507 w 3742661"/>
                <a:gd name="connsiteY17-872" fmla="*/ 2519916 h 4492350"/>
                <a:gd name="connsiteX18-873" fmla="*/ 2849526 w 3742661"/>
                <a:gd name="connsiteY18-874" fmla="*/ 1307804 h 4492350"/>
                <a:gd name="connsiteX19-875" fmla="*/ 2838893 w 3742661"/>
                <a:gd name="connsiteY19-876" fmla="*/ 2371060 h 4492350"/>
                <a:gd name="connsiteX20-877" fmla="*/ 3742661 w 3742661"/>
                <a:gd name="connsiteY20-878" fmla="*/ 1148316 h 4492350"/>
                <a:gd name="connsiteX21-879" fmla="*/ 2222205 w 3742661"/>
                <a:gd name="connsiteY21-880" fmla="*/ 3370521 h 4492350"/>
                <a:gd name="connsiteX22-881" fmla="*/ 2169042 w 3742661"/>
                <a:gd name="connsiteY22-882" fmla="*/ 3817088 h 4492350"/>
                <a:gd name="connsiteX23-883" fmla="*/ 3317358 w 3742661"/>
                <a:gd name="connsiteY23-884" fmla="*/ 3094074 h 4492350"/>
                <a:gd name="connsiteX24-885" fmla="*/ 2194317 w 3742661"/>
                <a:gd name="connsiteY24-886" fmla="*/ 4030951 h 4492350"/>
                <a:gd name="connsiteX25-887" fmla="*/ 2232838 w 3742661"/>
                <a:gd name="connsiteY25-888" fmla="*/ 4476307 h 4492350"/>
                <a:gd name="connsiteX26-889" fmla="*/ 2218194 w 3742661"/>
                <a:gd name="connsiteY26-890" fmla="*/ 4491415 h 4492350"/>
                <a:gd name="connsiteX27-891" fmla="*/ 1743740 w 3742661"/>
                <a:gd name="connsiteY27-892" fmla="*/ 4492350 h 4492350"/>
                <a:gd name="connsiteX0-893" fmla="*/ 1743740 w 3742661"/>
                <a:gd name="connsiteY0-894" fmla="*/ 4492350 h 4492350"/>
                <a:gd name="connsiteX1-895" fmla="*/ 1796903 w 3742661"/>
                <a:gd name="connsiteY1-896" fmla="*/ 3785190 h 4492350"/>
                <a:gd name="connsiteX2-897" fmla="*/ 1307805 w 3742661"/>
                <a:gd name="connsiteY2-898" fmla="*/ 3381153 h 4492350"/>
                <a:gd name="connsiteX3-899" fmla="*/ 31898 w 3742661"/>
                <a:gd name="connsiteY3-900" fmla="*/ 2945218 h 4492350"/>
                <a:gd name="connsiteX4-901" fmla="*/ 1127052 w 3742661"/>
                <a:gd name="connsiteY4-902" fmla="*/ 3242930 h 4492350"/>
                <a:gd name="connsiteX5-903" fmla="*/ 393405 w 3742661"/>
                <a:gd name="connsiteY5-904" fmla="*/ 2456121 h 4492350"/>
                <a:gd name="connsiteX6-905" fmla="*/ 1775638 w 3742661"/>
                <a:gd name="connsiteY6-906" fmla="*/ 3519376 h 4492350"/>
                <a:gd name="connsiteX7-907" fmla="*/ 1679945 w 3742661"/>
                <a:gd name="connsiteY7-908" fmla="*/ 2392325 h 4492350"/>
                <a:gd name="connsiteX8-909" fmla="*/ 0 w 3742661"/>
                <a:gd name="connsiteY8-910" fmla="*/ 754911 h 4492350"/>
                <a:gd name="connsiteX9-911" fmla="*/ 988828 w 3742661"/>
                <a:gd name="connsiteY9-912" fmla="*/ 1924493 h 4492350"/>
                <a:gd name="connsiteX10-913" fmla="*/ 1137684 w 3742661"/>
                <a:gd name="connsiteY10-914" fmla="*/ 861237 h 4492350"/>
                <a:gd name="connsiteX11-915" fmla="*/ 1222745 w 3742661"/>
                <a:gd name="connsiteY11-916" fmla="*/ 2062716 h 4492350"/>
                <a:gd name="connsiteX12-917" fmla="*/ 1690577 w 3742661"/>
                <a:gd name="connsiteY12-918" fmla="*/ 2190307 h 4492350"/>
                <a:gd name="connsiteX13-919" fmla="*/ 1956391 w 3742661"/>
                <a:gd name="connsiteY13-920" fmla="*/ 0 h 4492350"/>
                <a:gd name="connsiteX14-921" fmla="*/ 2083982 w 3742661"/>
                <a:gd name="connsiteY14-922" fmla="*/ 978195 h 4492350"/>
                <a:gd name="connsiteX15-923" fmla="*/ 1881963 w 3742661"/>
                <a:gd name="connsiteY15-924" fmla="*/ 2232837 h 4492350"/>
                <a:gd name="connsiteX16-925" fmla="*/ 2041452 w 3742661"/>
                <a:gd name="connsiteY16-926" fmla="*/ 3030279 h 4492350"/>
                <a:gd name="connsiteX17-927" fmla="*/ 2647507 w 3742661"/>
                <a:gd name="connsiteY17-928" fmla="*/ 2519916 h 4492350"/>
                <a:gd name="connsiteX18-929" fmla="*/ 2849526 w 3742661"/>
                <a:gd name="connsiteY18-930" fmla="*/ 1307804 h 4492350"/>
                <a:gd name="connsiteX19-931" fmla="*/ 2838893 w 3742661"/>
                <a:gd name="connsiteY19-932" fmla="*/ 2371060 h 4492350"/>
                <a:gd name="connsiteX20-933" fmla="*/ 3742661 w 3742661"/>
                <a:gd name="connsiteY20-934" fmla="*/ 1148316 h 4492350"/>
                <a:gd name="connsiteX21-935" fmla="*/ 2222205 w 3742661"/>
                <a:gd name="connsiteY21-936" fmla="*/ 3370521 h 4492350"/>
                <a:gd name="connsiteX22-937" fmla="*/ 2169042 w 3742661"/>
                <a:gd name="connsiteY22-938" fmla="*/ 3817088 h 4492350"/>
                <a:gd name="connsiteX23-939" fmla="*/ 3317358 w 3742661"/>
                <a:gd name="connsiteY23-940" fmla="*/ 3094074 h 4492350"/>
                <a:gd name="connsiteX24-941" fmla="*/ 2194317 w 3742661"/>
                <a:gd name="connsiteY24-942" fmla="*/ 4030951 h 4492350"/>
                <a:gd name="connsiteX25-943" fmla="*/ 2232838 w 3742661"/>
                <a:gd name="connsiteY25-944" fmla="*/ 4476307 h 4492350"/>
                <a:gd name="connsiteX26-945" fmla="*/ 2218194 w 3742661"/>
                <a:gd name="connsiteY26-946" fmla="*/ 4491415 h 4492350"/>
                <a:gd name="connsiteX27-947" fmla="*/ 1743740 w 3742661"/>
                <a:gd name="connsiteY27-948" fmla="*/ 4492350 h 4492350"/>
                <a:gd name="connsiteX0-949" fmla="*/ 1743740 w 3742661"/>
                <a:gd name="connsiteY0-950" fmla="*/ 4492350 h 4492350"/>
                <a:gd name="connsiteX1-951" fmla="*/ 1796903 w 3742661"/>
                <a:gd name="connsiteY1-952" fmla="*/ 3785190 h 4492350"/>
                <a:gd name="connsiteX2-953" fmla="*/ 1307805 w 3742661"/>
                <a:gd name="connsiteY2-954" fmla="*/ 3381153 h 4492350"/>
                <a:gd name="connsiteX3-955" fmla="*/ 31898 w 3742661"/>
                <a:gd name="connsiteY3-956" fmla="*/ 2945218 h 4492350"/>
                <a:gd name="connsiteX4-957" fmla="*/ 1127052 w 3742661"/>
                <a:gd name="connsiteY4-958" fmla="*/ 3242930 h 4492350"/>
                <a:gd name="connsiteX5-959" fmla="*/ 393405 w 3742661"/>
                <a:gd name="connsiteY5-960" fmla="*/ 2456121 h 4492350"/>
                <a:gd name="connsiteX6-961" fmla="*/ 1775638 w 3742661"/>
                <a:gd name="connsiteY6-962" fmla="*/ 3519376 h 4492350"/>
                <a:gd name="connsiteX7-963" fmla="*/ 1679945 w 3742661"/>
                <a:gd name="connsiteY7-964" fmla="*/ 2392325 h 4492350"/>
                <a:gd name="connsiteX8-965" fmla="*/ 0 w 3742661"/>
                <a:gd name="connsiteY8-966" fmla="*/ 754911 h 4492350"/>
                <a:gd name="connsiteX9-967" fmla="*/ 988828 w 3742661"/>
                <a:gd name="connsiteY9-968" fmla="*/ 1924493 h 4492350"/>
                <a:gd name="connsiteX10-969" fmla="*/ 1137684 w 3742661"/>
                <a:gd name="connsiteY10-970" fmla="*/ 861237 h 4492350"/>
                <a:gd name="connsiteX11-971" fmla="*/ 1222745 w 3742661"/>
                <a:gd name="connsiteY11-972" fmla="*/ 2062716 h 4492350"/>
                <a:gd name="connsiteX12-973" fmla="*/ 1690577 w 3742661"/>
                <a:gd name="connsiteY12-974" fmla="*/ 2190307 h 4492350"/>
                <a:gd name="connsiteX13-975" fmla="*/ 1956391 w 3742661"/>
                <a:gd name="connsiteY13-976" fmla="*/ 0 h 4492350"/>
                <a:gd name="connsiteX14-977" fmla="*/ 2083982 w 3742661"/>
                <a:gd name="connsiteY14-978" fmla="*/ 978195 h 4492350"/>
                <a:gd name="connsiteX15-979" fmla="*/ 1881963 w 3742661"/>
                <a:gd name="connsiteY15-980" fmla="*/ 2232837 h 4492350"/>
                <a:gd name="connsiteX16-981" fmla="*/ 2041452 w 3742661"/>
                <a:gd name="connsiteY16-982" fmla="*/ 3030279 h 4492350"/>
                <a:gd name="connsiteX17-983" fmla="*/ 2647507 w 3742661"/>
                <a:gd name="connsiteY17-984" fmla="*/ 2519916 h 4492350"/>
                <a:gd name="connsiteX18-985" fmla="*/ 2849526 w 3742661"/>
                <a:gd name="connsiteY18-986" fmla="*/ 1307804 h 4492350"/>
                <a:gd name="connsiteX19-987" fmla="*/ 2838893 w 3742661"/>
                <a:gd name="connsiteY19-988" fmla="*/ 2371060 h 4492350"/>
                <a:gd name="connsiteX20-989" fmla="*/ 3742661 w 3742661"/>
                <a:gd name="connsiteY20-990" fmla="*/ 1148316 h 4492350"/>
                <a:gd name="connsiteX21-991" fmla="*/ 2222205 w 3742661"/>
                <a:gd name="connsiteY21-992" fmla="*/ 3370521 h 4492350"/>
                <a:gd name="connsiteX22-993" fmla="*/ 2169042 w 3742661"/>
                <a:gd name="connsiteY22-994" fmla="*/ 3817088 h 4492350"/>
                <a:gd name="connsiteX23-995" fmla="*/ 3317358 w 3742661"/>
                <a:gd name="connsiteY23-996" fmla="*/ 3094074 h 4492350"/>
                <a:gd name="connsiteX24-997" fmla="*/ 2194317 w 3742661"/>
                <a:gd name="connsiteY24-998" fmla="*/ 4030951 h 4492350"/>
                <a:gd name="connsiteX25-999" fmla="*/ 2232838 w 3742661"/>
                <a:gd name="connsiteY25-1000" fmla="*/ 4476307 h 4492350"/>
                <a:gd name="connsiteX26-1001" fmla="*/ 2218194 w 3742661"/>
                <a:gd name="connsiteY26-1002" fmla="*/ 4491415 h 4492350"/>
                <a:gd name="connsiteX27-1003" fmla="*/ 1743740 w 3742661"/>
                <a:gd name="connsiteY27-1004" fmla="*/ 4492350 h 4492350"/>
                <a:gd name="connsiteX0-1005" fmla="*/ 1743740 w 3742661"/>
                <a:gd name="connsiteY0-1006" fmla="*/ 4492350 h 4492350"/>
                <a:gd name="connsiteX1-1007" fmla="*/ 1796903 w 3742661"/>
                <a:gd name="connsiteY1-1008" fmla="*/ 3785190 h 4492350"/>
                <a:gd name="connsiteX2-1009" fmla="*/ 1307805 w 3742661"/>
                <a:gd name="connsiteY2-1010" fmla="*/ 3381153 h 4492350"/>
                <a:gd name="connsiteX3-1011" fmla="*/ 31898 w 3742661"/>
                <a:gd name="connsiteY3-1012" fmla="*/ 2945218 h 4492350"/>
                <a:gd name="connsiteX4-1013" fmla="*/ 1127052 w 3742661"/>
                <a:gd name="connsiteY4-1014" fmla="*/ 3242930 h 4492350"/>
                <a:gd name="connsiteX5-1015" fmla="*/ 393405 w 3742661"/>
                <a:gd name="connsiteY5-1016" fmla="*/ 2456121 h 4492350"/>
                <a:gd name="connsiteX6-1017" fmla="*/ 1775638 w 3742661"/>
                <a:gd name="connsiteY6-1018" fmla="*/ 3519376 h 4492350"/>
                <a:gd name="connsiteX7-1019" fmla="*/ 1679945 w 3742661"/>
                <a:gd name="connsiteY7-1020" fmla="*/ 2392325 h 4492350"/>
                <a:gd name="connsiteX8-1021" fmla="*/ 0 w 3742661"/>
                <a:gd name="connsiteY8-1022" fmla="*/ 754911 h 4492350"/>
                <a:gd name="connsiteX9-1023" fmla="*/ 988828 w 3742661"/>
                <a:gd name="connsiteY9-1024" fmla="*/ 1924493 h 4492350"/>
                <a:gd name="connsiteX10-1025" fmla="*/ 1137684 w 3742661"/>
                <a:gd name="connsiteY10-1026" fmla="*/ 861237 h 4492350"/>
                <a:gd name="connsiteX11-1027" fmla="*/ 1222745 w 3742661"/>
                <a:gd name="connsiteY11-1028" fmla="*/ 2062716 h 4492350"/>
                <a:gd name="connsiteX12-1029" fmla="*/ 1690577 w 3742661"/>
                <a:gd name="connsiteY12-1030" fmla="*/ 2190307 h 4492350"/>
                <a:gd name="connsiteX13-1031" fmla="*/ 1956391 w 3742661"/>
                <a:gd name="connsiteY13-1032" fmla="*/ 0 h 4492350"/>
                <a:gd name="connsiteX14-1033" fmla="*/ 2083982 w 3742661"/>
                <a:gd name="connsiteY14-1034" fmla="*/ 978195 h 4492350"/>
                <a:gd name="connsiteX15-1035" fmla="*/ 1881963 w 3742661"/>
                <a:gd name="connsiteY15-1036" fmla="*/ 2232837 h 4492350"/>
                <a:gd name="connsiteX16-1037" fmla="*/ 2057494 w 3742661"/>
                <a:gd name="connsiteY16-1038" fmla="*/ 3046321 h 4492350"/>
                <a:gd name="connsiteX17-1039" fmla="*/ 2647507 w 3742661"/>
                <a:gd name="connsiteY17-1040" fmla="*/ 2519916 h 4492350"/>
                <a:gd name="connsiteX18-1041" fmla="*/ 2849526 w 3742661"/>
                <a:gd name="connsiteY18-1042" fmla="*/ 1307804 h 4492350"/>
                <a:gd name="connsiteX19-1043" fmla="*/ 2838893 w 3742661"/>
                <a:gd name="connsiteY19-1044" fmla="*/ 2371060 h 4492350"/>
                <a:gd name="connsiteX20-1045" fmla="*/ 3742661 w 3742661"/>
                <a:gd name="connsiteY20-1046" fmla="*/ 1148316 h 4492350"/>
                <a:gd name="connsiteX21-1047" fmla="*/ 2222205 w 3742661"/>
                <a:gd name="connsiteY21-1048" fmla="*/ 3370521 h 4492350"/>
                <a:gd name="connsiteX22-1049" fmla="*/ 2169042 w 3742661"/>
                <a:gd name="connsiteY22-1050" fmla="*/ 3817088 h 4492350"/>
                <a:gd name="connsiteX23-1051" fmla="*/ 3317358 w 3742661"/>
                <a:gd name="connsiteY23-1052" fmla="*/ 3094074 h 4492350"/>
                <a:gd name="connsiteX24-1053" fmla="*/ 2194317 w 3742661"/>
                <a:gd name="connsiteY24-1054" fmla="*/ 4030951 h 4492350"/>
                <a:gd name="connsiteX25-1055" fmla="*/ 2232838 w 3742661"/>
                <a:gd name="connsiteY25-1056" fmla="*/ 4476307 h 4492350"/>
                <a:gd name="connsiteX26-1057" fmla="*/ 2218194 w 3742661"/>
                <a:gd name="connsiteY26-1058" fmla="*/ 4491415 h 4492350"/>
                <a:gd name="connsiteX27-1059" fmla="*/ 1743740 w 3742661"/>
                <a:gd name="connsiteY27-1060" fmla="*/ 4492350 h 4492350"/>
                <a:gd name="connsiteX0-1061" fmla="*/ 1743740 w 3742661"/>
                <a:gd name="connsiteY0-1062" fmla="*/ 4492350 h 4492350"/>
                <a:gd name="connsiteX1-1063" fmla="*/ 1796903 w 3742661"/>
                <a:gd name="connsiteY1-1064" fmla="*/ 3785190 h 4492350"/>
                <a:gd name="connsiteX2-1065" fmla="*/ 1307805 w 3742661"/>
                <a:gd name="connsiteY2-1066" fmla="*/ 3381153 h 4492350"/>
                <a:gd name="connsiteX3-1067" fmla="*/ 31898 w 3742661"/>
                <a:gd name="connsiteY3-1068" fmla="*/ 2945218 h 4492350"/>
                <a:gd name="connsiteX4-1069" fmla="*/ 1127052 w 3742661"/>
                <a:gd name="connsiteY4-1070" fmla="*/ 3242930 h 4492350"/>
                <a:gd name="connsiteX5-1071" fmla="*/ 393405 w 3742661"/>
                <a:gd name="connsiteY5-1072" fmla="*/ 2456121 h 4492350"/>
                <a:gd name="connsiteX6-1073" fmla="*/ 1775638 w 3742661"/>
                <a:gd name="connsiteY6-1074" fmla="*/ 3519376 h 4492350"/>
                <a:gd name="connsiteX7-1075" fmla="*/ 1679945 w 3742661"/>
                <a:gd name="connsiteY7-1076" fmla="*/ 2392325 h 4492350"/>
                <a:gd name="connsiteX8-1077" fmla="*/ 0 w 3742661"/>
                <a:gd name="connsiteY8-1078" fmla="*/ 754911 h 4492350"/>
                <a:gd name="connsiteX9-1079" fmla="*/ 988828 w 3742661"/>
                <a:gd name="connsiteY9-1080" fmla="*/ 1924493 h 4492350"/>
                <a:gd name="connsiteX10-1081" fmla="*/ 1137684 w 3742661"/>
                <a:gd name="connsiteY10-1082" fmla="*/ 861237 h 4492350"/>
                <a:gd name="connsiteX11-1083" fmla="*/ 1222745 w 3742661"/>
                <a:gd name="connsiteY11-1084" fmla="*/ 2062716 h 4492350"/>
                <a:gd name="connsiteX12-1085" fmla="*/ 1690577 w 3742661"/>
                <a:gd name="connsiteY12-1086" fmla="*/ 2190307 h 4492350"/>
                <a:gd name="connsiteX13-1087" fmla="*/ 1956391 w 3742661"/>
                <a:gd name="connsiteY13-1088" fmla="*/ 0 h 4492350"/>
                <a:gd name="connsiteX14-1089" fmla="*/ 2083982 w 3742661"/>
                <a:gd name="connsiteY14-1090" fmla="*/ 978195 h 4492350"/>
                <a:gd name="connsiteX15-1091" fmla="*/ 1881963 w 3742661"/>
                <a:gd name="connsiteY15-1092" fmla="*/ 2232837 h 4492350"/>
                <a:gd name="connsiteX16-1093" fmla="*/ 2057494 w 3742661"/>
                <a:gd name="connsiteY16-1094" fmla="*/ 3046321 h 4492350"/>
                <a:gd name="connsiteX17-1095" fmla="*/ 2647507 w 3742661"/>
                <a:gd name="connsiteY17-1096" fmla="*/ 2519916 h 4492350"/>
                <a:gd name="connsiteX18-1097" fmla="*/ 2849526 w 3742661"/>
                <a:gd name="connsiteY18-1098" fmla="*/ 1307804 h 4492350"/>
                <a:gd name="connsiteX19-1099" fmla="*/ 2838893 w 3742661"/>
                <a:gd name="connsiteY19-1100" fmla="*/ 2371060 h 4492350"/>
                <a:gd name="connsiteX20-1101" fmla="*/ 3742661 w 3742661"/>
                <a:gd name="connsiteY20-1102" fmla="*/ 1148316 h 4492350"/>
                <a:gd name="connsiteX21-1103" fmla="*/ 2222205 w 3742661"/>
                <a:gd name="connsiteY21-1104" fmla="*/ 3370521 h 4492350"/>
                <a:gd name="connsiteX22-1105" fmla="*/ 2169042 w 3742661"/>
                <a:gd name="connsiteY22-1106" fmla="*/ 3817088 h 4492350"/>
                <a:gd name="connsiteX23-1107" fmla="*/ 3317358 w 3742661"/>
                <a:gd name="connsiteY23-1108" fmla="*/ 3094074 h 4492350"/>
                <a:gd name="connsiteX24-1109" fmla="*/ 2194317 w 3742661"/>
                <a:gd name="connsiteY24-1110" fmla="*/ 4030951 h 4492350"/>
                <a:gd name="connsiteX25-1111" fmla="*/ 2232838 w 3742661"/>
                <a:gd name="connsiteY25-1112" fmla="*/ 4476307 h 4492350"/>
                <a:gd name="connsiteX26-1113" fmla="*/ 2218194 w 3742661"/>
                <a:gd name="connsiteY26-1114" fmla="*/ 4491415 h 4492350"/>
                <a:gd name="connsiteX27-1115" fmla="*/ 1743740 w 3742661"/>
                <a:gd name="connsiteY27-1116" fmla="*/ 4492350 h 4492350"/>
                <a:gd name="connsiteX0-1117" fmla="*/ 1743740 w 3742661"/>
                <a:gd name="connsiteY0-1118" fmla="*/ 4492350 h 4492350"/>
                <a:gd name="connsiteX1-1119" fmla="*/ 1796903 w 3742661"/>
                <a:gd name="connsiteY1-1120" fmla="*/ 3785190 h 4492350"/>
                <a:gd name="connsiteX2-1121" fmla="*/ 1307805 w 3742661"/>
                <a:gd name="connsiteY2-1122" fmla="*/ 3381153 h 4492350"/>
                <a:gd name="connsiteX3-1123" fmla="*/ 31898 w 3742661"/>
                <a:gd name="connsiteY3-1124" fmla="*/ 2945218 h 4492350"/>
                <a:gd name="connsiteX4-1125" fmla="*/ 1127052 w 3742661"/>
                <a:gd name="connsiteY4-1126" fmla="*/ 3242930 h 4492350"/>
                <a:gd name="connsiteX5-1127" fmla="*/ 393405 w 3742661"/>
                <a:gd name="connsiteY5-1128" fmla="*/ 2456121 h 4492350"/>
                <a:gd name="connsiteX6-1129" fmla="*/ 1775638 w 3742661"/>
                <a:gd name="connsiteY6-1130" fmla="*/ 3519376 h 4492350"/>
                <a:gd name="connsiteX7-1131" fmla="*/ 1679945 w 3742661"/>
                <a:gd name="connsiteY7-1132" fmla="*/ 2392325 h 4492350"/>
                <a:gd name="connsiteX8-1133" fmla="*/ 0 w 3742661"/>
                <a:gd name="connsiteY8-1134" fmla="*/ 754911 h 4492350"/>
                <a:gd name="connsiteX9-1135" fmla="*/ 988828 w 3742661"/>
                <a:gd name="connsiteY9-1136" fmla="*/ 1924493 h 4492350"/>
                <a:gd name="connsiteX10-1137" fmla="*/ 1137684 w 3742661"/>
                <a:gd name="connsiteY10-1138" fmla="*/ 861237 h 4492350"/>
                <a:gd name="connsiteX11-1139" fmla="*/ 1222745 w 3742661"/>
                <a:gd name="connsiteY11-1140" fmla="*/ 2062716 h 4492350"/>
                <a:gd name="connsiteX12-1141" fmla="*/ 1690577 w 3742661"/>
                <a:gd name="connsiteY12-1142" fmla="*/ 2190307 h 4492350"/>
                <a:gd name="connsiteX13-1143" fmla="*/ 1956391 w 3742661"/>
                <a:gd name="connsiteY13-1144" fmla="*/ 0 h 4492350"/>
                <a:gd name="connsiteX14-1145" fmla="*/ 2083982 w 3742661"/>
                <a:gd name="connsiteY14-1146" fmla="*/ 978195 h 4492350"/>
                <a:gd name="connsiteX15-1147" fmla="*/ 1881963 w 3742661"/>
                <a:gd name="connsiteY15-1148" fmla="*/ 2232837 h 4492350"/>
                <a:gd name="connsiteX16-1149" fmla="*/ 2057494 w 3742661"/>
                <a:gd name="connsiteY16-1150" fmla="*/ 3046321 h 4492350"/>
                <a:gd name="connsiteX17-1151" fmla="*/ 2647507 w 3742661"/>
                <a:gd name="connsiteY17-1152" fmla="*/ 2519916 h 4492350"/>
                <a:gd name="connsiteX18-1153" fmla="*/ 2849526 w 3742661"/>
                <a:gd name="connsiteY18-1154" fmla="*/ 1307804 h 4492350"/>
                <a:gd name="connsiteX19-1155" fmla="*/ 2838893 w 3742661"/>
                <a:gd name="connsiteY19-1156" fmla="*/ 2371060 h 4492350"/>
                <a:gd name="connsiteX20-1157" fmla="*/ 3742661 w 3742661"/>
                <a:gd name="connsiteY20-1158" fmla="*/ 1148316 h 4492350"/>
                <a:gd name="connsiteX21-1159" fmla="*/ 2222205 w 3742661"/>
                <a:gd name="connsiteY21-1160" fmla="*/ 3370521 h 4492350"/>
                <a:gd name="connsiteX22-1161" fmla="*/ 2169042 w 3742661"/>
                <a:gd name="connsiteY22-1162" fmla="*/ 3817088 h 4492350"/>
                <a:gd name="connsiteX23-1163" fmla="*/ 3317358 w 3742661"/>
                <a:gd name="connsiteY23-1164" fmla="*/ 3094074 h 4492350"/>
                <a:gd name="connsiteX24-1165" fmla="*/ 2194317 w 3742661"/>
                <a:gd name="connsiteY24-1166" fmla="*/ 4030951 h 4492350"/>
                <a:gd name="connsiteX25-1167" fmla="*/ 2232838 w 3742661"/>
                <a:gd name="connsiteY25-1168" fmla="*/ 4476307 h 4492350"/>
                <a:gd name="connsiteX26-1169" fmla="*/ 2218194 w 3742661"/>
                <a:gd name="connsiteY26-1170" fmla="*/ 4491415 h 4492350"/>
                <a:gd name="connsiteX27-1171" fmla="*/ 1743740 w 3742661"/>
                <a:gd name="connsiteY27-1172" fmla="*/ 4492350 h 4492350"/>
                <a:gd name="connsiteX0-1173" fmla="*/ 1743740 w 3742661"/>
                <a:gd name="connsiteY0-1174" fmla="*/ 4492350 h 4492350"/>
                <a:gd name="connsiteX1-1175" fmla="*/ 1796903 w 3742661"/>
                <a:gd name="connsiteY1-1176" fmla="*/ 3785190 h 4492350"/>
                <a:gd name="connsiteX2-1177" fmla="*/ 1307805 w 3742661"/>
                <a:gd name="connsiteY2-1178" fmla="*/ 3381153 h 4492350"/>
                <a:gd name="connsiteX3-1179" fmla="*/ 31898 w 3742661"/>
                <a:gd name="connsiteY3-1180" fmla="*/ 2945218 h 4492350"/>
                <a:gd name="connsiteX4-1181" fmla="*/ 1127052 w 3742661"/>
                <a:gd name="connsiteY4-1182" fmla="*/ 3242930 h 4492350"/>
                <a:gd name="connsiteX5-1183" fmla="*/ 393405 w 3742661"/>
                <a:gd name="connsiteY5-1184" fmla="*/ 2456121 h 4492350"/>
                <a:gd name="connsiteX6-1185" fmla="*/ 1775638 w 3742661"/>
                <a:gd name="connsiteY6-1186" fmla="*/ 3519376 h 4492350"/>
                <a:gd name="connsiteX7-1187" fmla="*/ 1679945 w 3742661"/>
                <a:gd name="connsiteY7-1188" fmla="*/ 2392325 h 4492350"/>
                <a:gd name="connsiteX8-1189" fmla="*/ 0 w 3742661"/>
                <a:gd name="connsiteY8-1190" fmla="*/ 754911 h 4492350"/>
                <a:gd name="connsiteX9-1191" fmla="*/ 988828 w 3742661"/>
                <a:gd name="connsiteY9-1192" fmla="*/ 1924493 h 4492350"/>
                <a:gd name="connsiteX10-1193" fmla="*/ 1137684 w 3742661"/>
                <a:gd name="connsiteY10-1194" fmla="*/ 861237 h 4492350"/>
                <a:gd name="connsiteX11-1195" fmla="*/ 1222745 w 3742661"/>
                <a:gd name="connsiteY11-1196" fmla="*/ 2062716 h 4492350"/>
                <a:gd name="connsiteX12-1197" fmla="*/ 1690577 w 3742661"/>
                <a:gd name="connsiteY12-1198" fmla="*/ 2190307 h 4492350"/>
                <a:gd name="connsiteX13-1199" fmla="*/ 1956391 w 3742661"/>
                <a:gd name="connsiteY13-1200" fmla="*/ 0 h 4492350"/>
                <a:gd name="connsiteX14-1201" fmla="*/ 2083982 w 3742661"/>
                <a:gd name="connsiteY14-1202" fmla="*/ 978195 h 4492350"/>
                <a:gd name="connsiteX15-1203" fmla="*/ 1881963 w 3742661"/>
                <a:gd name="connsiteY15-1204" fmla="*/ 2232837 h 4492350"/>
                <a:gd name="connsiteX16-1205" fmla="*/ 2057494 w 3742661"/>
                <a:gd name="connsiteY16-1206" fmla="*/ 3046321 h 4492350"/>
                <a:gd name="connsiteX17-1207" fmla="*/ 2647507 w 3742661"/>
                <a:gd name="connsiteY17-1208" fmla="*/ 2519916 h 4492350"/>
                <a:gd name="connsiteX18-1209" fmla="*/ 2913694 w 3742661"/>
                <a:gd name="connsiteY18-1210" fmla="*/ 1291762 h 4492350"/>
                <a:gd name="connsiteX19-1211" fmla="*/ 2838893 w 3742661"/>
                <a:gd name="connsiteY19-1212" fmla="*/ 2371060 h 4492350"/>
                <a:gd name="connsiteX20-1213" fmla="*/ 3742661 w 3742661"/>
                <a:gd name="connsiteY20-1214" fmla="*/ 1148316 h 4492350"/>
                <a:gd name="connsiteX21-1215" fmla="*/ 2222205 w 3742661"/>
                <a:gd name="connsiteY21-1216" fmla="*/ 3370521 h 4492350"/>
                <a:gd name="connsiteX22-1217" fmla="*/ 2169042 w 3742661"/>
                <a:gd name="connsiteY22-1218" fmla="*/ 3817088 h 4492350"/>
                <a:gd name="connsiteX23-1219" fmla="*/ 3317358 w 3742661"/>
                <a:gd name="connsiteY23-1220" fmla="*/ 3094074 h 4492350"/>
                <a:gd name="connsiteX24-1221" fmla="*/ 2194317 w 3742661"/>
                <a:gd name="connsiteY24-1222" fmla="*/ 4030951 h 4492350"/>
                <a:gd name="connsiteX25-1223" fmla="*/ 2232838 w 3742661"/>
                <a:gd name="connsiteY25-1224" fmla="*/ 4476307 h 4492350"/>
                <a:gd name="connsiteX26-1225" fmla="*/ 2218194 w 3742661"/>
                <a:gd name="connsiteY26-1226" fmla="*/ 4491415 h 4492350"/>
                <a:gd name="connsiteX27-1227" fmla="*/ 1743740 w 3742661"/>
                <a:gd name="connsiteY27-1228" fmla="*/ 4492350 h 4492350"/>
                <a:gd name="connsiteX0-1229" fmla="*/ 1743740 w 3742661"/>
                <a:gd name="connsiteY0-1230" fmla="*/ 4492350 h 4492350"/>
                <a:gd name="connsiteX1-1231" fmla="*/ 1796903 w 3742661"/>
                <a:gd name="connsiteY1-1232" fmla="*/ 3785190 h 4492350"/>
                <a:gd name="connsiteX2-1233" fmla="*/ 1307805 w 3742661"/>
                <a:gd name="connsiteY2-1234" fmla="*/ 3381153 h 4492350"/>
                <a:gd name="connsiteX3-1235" fmla="*/ 31898 w 3742661"/>
                <a:gd name="connsiteY3-1236" fmla="*/ 2945218 h 4492350"/>
                <a:gd name="connsiteX4-1237" fmla="*/ 1127052 w 3742661"/>
                <a:gd name="connsiteY4-1238" fmla="*/ 3242930 h 4492350"/>
                <a:gd name="connsiteX5-1239" fmla="*/ 393405 w 3742661"/>
                <a:gd name="connsiteY5-1240" fmla="*/ 2456121 h 4492350"/>
                <a:gd name="connsiteX6-1241" fmla="*/ 1775638 w 3742661"/>
                <a:gd name="connsiteY6-1242" fmla="*/ 3519376 h 4492350"/>
                <a:gd name="connsiteX7-1243" fmla="*/ 1679945 w 3742661"/>
                <a:gd name="connsiteY7-1244" fmla="*/ 2392325 h 4492350"/>
                <a:gd name="connsiteX8-1245" fmla="*/ 0 w 3742661"/>
                <a:gd name="connsiteY8-1246" fmla="*/ 754911 h 4492350"/>
                <a:gd name="connsiteX9-1247" fmla="*/ 988828 w 3742661"/>
                <a:gd name="connsiteY9-1248" fmla="*/ 1924493 h 4492350"/>
                <a:gd name="connsiteX10-1249" fmla="*/ 1137684 w 3742661"/>
                <a:gd name="connsiteY10-1250" fmla="*/ 861237 h 4492350"/>
                <a:gd name="connsiteX11-1251" fmla="*/ 1222745 w 3742661"/>
                <a:gd name="connsiteY11-1252" fmla="*/ 2062716 h 4492350"/>
                <a:gd name="connsiteX12-1253" fmla="*/ 1690577 w 3742661"/>
                <a:gd name="connsiteY12-1254" fmla="*/ 2190307 h 4492350"/>
                <a:gd name="connsiteX13-1255" fmla="*/ 1956391 w 3742661"/>
                <a:gd name="connsiteY13-1256" fmla="*/ 0 h 4492350"/>
                <a:gd name="connsiteX14-1257" fmla="*/ 2083982 w 3742661"/>
                <a:gd name="connsiteY14-1258" fmla="*/ 978195 h 4492350"/>
                <a:gd name="connsiteX15-1259" fmla="*/ 1881963 w 3742661"/>
                <a:gd name="connsiteY15-1260" fmla="*/ 2232837 h 4492350"/>
                <a:gd name="connsiteX16-1261" fmla="*/ 2057494 w 3742661"/>
                <a:gd name="connsiteY16-1262" fmla="*/ 3046321 h 4492350"/>
                <a:gd name="connsiteX17-1263" fmla="*/ 2647507 w 3742661"/>
                <a:gd name="connsiteY17-1264" fmla="*/ 2519916 h 4492350"/>
                <a:gd name="connsiteX18-1265" fmla="*/ 2913694 w 3742661"/>
                <a:gd name="connsiteY18-1266" fmla="*/ 1291762 h 4492350"/>
                <a:gd name="connsiteX19-1267" fmla="*/ 2838893 w 3742661"/>
                <a:gd name="connsiteY19-1268" fmla="*/ 2371060 h 4492350"/>
                <a:gd name="connsiteX20-1269" fmla="*/ 3742661 w 3742661"/>
                <a:gd name="connsiteY20-1270" fmla="*/ 1148316 h 4492350"/>
                <a:gd name="connsiteX21-1271" fmla="*/ 2222205 w 3742661"/>
                <a:gd name="connsiteY21-1272" fmla="*/ 3370521 h 4492350"/>
                <a:gd name="connsiteX22-1273" fmla="*/ 2169042 w 3742661"/>
                <a:gd name="connsiteY22-1274" fmla="*/ 3817088 h 4492350"/>
                <a:gd name="connsiteX23-1275" fmla="*/ 3317358 w 3742661"/>
                <a:gd name="connsiteY23-1276" fmla="*/ 3094074 h 4492350"/>
                <a:gd name="connsiteX24-1277" fmla="*/ 2194317 w 3742661"/>
                <a:gd name="connsiteY24-1278" fmla="*/ 4030951 h 4492350"/>
                <a:gd name="connsiteX25-1279" fmla="*/ 2232838 w 3742661"/>
                <a:gd name="connsiteY25-1280" fmla="*/ 4476307 h 4492350"/>
                <a:gd name="connsiteX26-1281" fmla="*/ 2218194 w 3742661"/>
                <a:gd name="connsiteY26-1282" fmla="*/ 4491415 h 4492350"/>
                <a:gd name="connsiteX27-1283" fmla="*/ 1743740 w 3742661"/>
                <a:gd name="connsiteY27-1284" fmla="*/ 4492350 h 4492350"/>
                <a:gd name="connsiteX0-1285" fmla="*/ 1743740 w 3742661"/>
                <a:gd name="connsiteY0-1286" fmla="*/ 4492350 h 4492350"/>
                <a:gd name="connsiteX1-1287" fmla="*/ 1796903 w 3742661"/>
                <a:gd name="connsiteY1-1288" fmla="*/ 3785190 h 4492350"/>
                <a:gd name="connsiteX2-1289" fmla="*/ 1307805 w 3742661"/>
                <a:gd name="connsiteY2-1290" fmla="*/ 3381153 h 4492350"/>
                <a:gd name="connsiteX3-1291" fmla="*/ 31898 w 3742661"/>
                <a:gd name="connsiteY3-1292" fmla="*/ 2945218 h 4492350"/>
                <a:gd name="connsiteX4-1293" fmla="*/ 1127052 w 3742661"/>
                <a:gd name="connsiteY4-1294" fmla="*/ 3242930 h 4492350"/>
                <a:gd name="connsiteX5-1295" fmla="*/ 393405 w 3742661"/>
                <a:gd name="connsiteY5-1296" fmla="*/ 2456121 h 4492350"/>
                <a:gd name="connsiteX6-1297" fmla="*/ 1775638 w 3742661"/>
                <a:gd name="connsiteY6-1298" fmla="*/ 3519376 h 4492350"/>
                <a:gd name="connsiteX7-1299" fmla="*/ 1679945 w 3742661"/>
                <a:gd name="connsiteY7-1300" fmla="*/ 2392325 h 4492350"/>
                <a:gd name="connsiteX8-1301" fmla="*/ 0 w 3742661"/>
                <a:gd name="connsiteY8-1302" fmla="*/ 754911 h 4492350"/>
                <a:gd name="connsiteX9-1303" fmla="*/ 988828 w 3742661"/>
                <a:gd name="connsiteY9-1304" fmla="*/ 1924493 h 4492350"/>
                <a:gd name="connsiteX10-1305" fmla="*/ 1137684 w 3742661"/>
                <a:gd name="connsiteY10-1306" fmla="*/ 861237 h 4492350"/>
                <a:gd name="connsiteX11-1307" fmla="*/ 1222745 w 3742661"/>
                <a:gd name="connsiteY11-1308" fmla="*/ 2062716 h 4492350"/>
                <a:gd name="connsiteX12-1309" fmla="*/ 1690577 w 3742661"/>
                <a:gd name="connsiteY12-1310" fmla="*/ 2190307 h 4492350"/>
                <a:gd name="connsiteX13-1311" fmla="*/ 1956391 w 3742661"/>
                <a:gd name="connsiteY13-1312" fmla="*/ 0 h 4492350"/>
                <a:gd name="connsiteX14-1313" fmla="*/ 2083982 w 3742661"/>
                <a:gd name="connsiteY14-1314" fmla="*/ 978195 h 4492350"/>
                <a:gd name="connsiteX15-1315" fmla="*/ 1881963 w 3742661"/>
                <a:gd name="connsiteY15-1316" fmla="*/ 2232837 h 4492350"/>
                <a:gd name="connsiteX16-1317" fmla="*/ 2057494 w 3742661"/>
                <a:gd name="connsiteY16-1318" fmla="*/ 3046321 h 4492350"/>
                <a:gd name="connsiteX17-1319" fmla="*/ 2647507 w 3742661"/>
                <a:gd name="connsiteY17-1320" fmla="*/ 2519916 h 4492350"/>
                <a:gd name="connsiteX18-1321" fmla="*/ 2913694 w 3742661"/>
                <a:gd name="connsiteY18-1322" fmla="*/ 1291762 h 4492350"/>
                <a:gd name="connsiteX19-1323" fmla="*/ 2838893 w 3742661"/>
                <a:gd name="connsiteY19-1324" fmla="*/ 2371060 h 4492350"/>
                <a:gd name="connsiteX20-1325" fmla="*/ 3742661 w 3742661"/>
                <a:gd name="connsiteY20-1326" fmla="*/ 1148316 h 4492350"/>
                <a:gd name="connsiteX21-1327" fmla="*/ 2222205 w 3742661"/>
                <a:gd name="connsiteY21-1328" fmla="*/ 3370521 h 4492350"/>
                <a:gd name="connsiteX22-1329" fmla="*/ 2169042 w 3742661"/>
                <a:gd name="connsiteY22-1330" fmla="*/ 3817088 h 4492350"/>
                <a:gd name="connsiteX23-1331" fmla="*/ 3317358 w 3742661"/>
                <a:gd name="connsiteY23-1332" fmla="*/ 3094074 h 4492350"/>
                <a:gd name="connsiteX24-1333" fmla="*/ 2194317 w 3742661"/>
                <a:gd name="connsiteY24-1334" fmla="*/ 4030951 h 4492350"/>
                <a:gd name="connsiteX25-1335" fmla="*/ 2232838 w 3742661"/>
                <a:gd name="connsiteY25-1336" fmla="*/ 4476307 h 4492350"/>
                <a:gd name="connsiteX26-1337" fmla="*/ 2218194 w 3742661"/>
                <a:gd name="connsiteY26-1338" fmla="*/ 4491415 h 4492350"/>
                <a:gd name="connsiteX27-1339" fmla="*/ 1743740 w 3742661"/>
                <a:gd name="connsiteY27-1340" fmla="*/ 4492350 h 4492350"/>
                <a:gd name="connsiteX0-1341" fmla="*/ 1743740 w 3742661"/>
                <a:gd name="connsiteY0-1342" fmla="*/ 4492350 h 4492350"/>
                <a:gd name="connsiteX1-1343" fmla="*/ 1796903 w 3742661"/>
                <a:gd name="connsiteY1-1344" fmla="*/ 3785190 h 4492350"/>
                <a:gd name="connsiteX2-1345" fmla="*/ 1307805 w 3742661"/>
                <a:gd name="connsiteY2-1346" fmla="*/ 3381153 h 4492350"/>
                <a:gd name="connsiteX3-1347" fmla="*/ 31898 w 3742661"/>
                <a:gd name="connsiteY3-1348" fmla="*/ 2945218 h 4492350"/>
                <a:gd name="connsiteX4-1349" fmla="*/ 1127052 w 3742661"/>
                <a:gd name="connsiteY4-1350" fmla="*/ 3242930 h 4492350"/>
                <a:gd name="connsiteX5-1351" fmla="*/ 393405 w 3742661"/>
                <a:gd name="connsiteY5-1352" fmla="*/ 2456121 h 4492350"/>
                <a:gd name="connsiteX6-1353" fmla="*/ 1775638 w 3742661"/>
                <a:gd name="connsiteY6-1354" fmla="*/ 3519376 h 4492350"/>
                <a:gd name="connsiteX7-1355" fmla="*/ 1679945 w 3742661"/>
                <a:gd name="connsiteY7-1356" fmla="*/ 2392325 h 4492350"/>
                <a:gd name="connsiteX8-1357" fmla="*/ 0 w 3742661"/>
                <a:gd name="connsiteY8-1358" fmla="*/ 754911 h 4492350"/>
                <a:gd name="connsiteX9-1359" fmla="*/ 988828 w 3742661"/>
                <a:gd name="connsiteY9-1360" fmla="*/ 1924493 h 4492350"/>
                <a:gd name="connsiteX10-1361" fmla="*/ 1137684 w 3742661"/>
                <a:gd name="connsiteY10-1362" fmla="*/ 861237 h 4492350"/>
                <a:gd name="connsiteX11-1363" fmla="*/ 1222745 w 3742661"/>
                <a:gd name="connsiteY11-1364" fmla="*/ 2062716 h 4492350"/>
                <a:gd name="connsiteX12-1365" fmla="*/ 1690577 w 3742661"/>
                <a:gd name="connsiteY12-1366" fmla="*/ 2190307 h 4492350"/>
                <a:gd name="connsiteX13-1367" fmla="*/ 1956391 w 3742661"/>
                <a:gd name="connsiteY13-1368" fmla="*/ 0 h 4492350"/>
                <a:gd name="connsiteX14-1369" fmla="*/ 2083982 w 3742661"/>
                <a:gd name="connsiteY14-1370" fmla="*/ 978195 h 4492350"/>
                <a:gd name="connsiteX15-1371" fmla="*/ 1881963 w 3742661"/>
                <a:gd name="connsiteY15-1372" fmla="*/ 2232837 h 4492350"/>
                <a:gd name="connsiteX16-1373" fmla="*/ 2057494 w 3742661"/>
                <a:gd name="connsiteY16-1374" fmla="*/ 3046321 h 4492350"/>
                <a:gd name="connsiteX17-1375" fmla="*/ 2647507 w 3742661"/>
                <a:gd name="connsiteY17-1376" fmla="*/ 2519916 h 4492350"/>
                <a:gd name="connsiteX18-1377" fmla="*/ 2913694 w 3742661"/>
                <a:gd name="connsiteY18-1378" fmla="*/ 1291762 h 4492350"/>
                <a:gd name="connsiteX19-1379" fmla="*/ 2806809 w 3742661"/>
                <a:gd name="connsiteY19-1380" fmla="*/ 2383091 h 4492350"/>
                <a:gd name="connsiteX20-1381" fmla="*/ 3742661 w 3742661"/>
                <a:gd name="connsiteY20-1382" fmla="*/ 1148316 h 4492350"/>
                <a:gd name="connsiteX21-1383" fmla="*/ 2222205 w 3742661"/>
                <a:gd name="connsiteY21-1384" fmla="*/ 3370521 h 4492350"/>
                <a:gd name="connsiteX22-1385" fmla="*/ 2169042 w 3742661"/>
                <a:gd name="connsiteY22-1386" fmla="*/ 3817088 h 4492350"/>
                <a:gd name="connsiteX23-1387" fmla="*/ 3317358 w 3742661"/>
                <a:gd name="connsiteY23-1388" fmla="*/ 3094074 h 4492350"/>
                <a:gd name="connsiteX24-1389" fmla="*/ 2194317 w 3742661"/>
                <a:gd name="connsiteY24-1390" fmla="*/ 4030951 h 4492350"/>
                <a:gd name="connsiteX25-1391" fmla="*/ 2232838 w 3742661"/>
                <a:gd name="connsiteY25-1392" fmla="*/ 4476307 h 4492350"/>
                <a:gd name="connsiteX26-1393" fmla="*/ 2218194 w 3742661"/>
                <a:gd name="connsiteY26-1394" fmla="*/ 4491415 h 4492350"/>
                <a:gd name="connsiteX27-1395" fmla="*/ 1743740 w 3742661"/>
                <a:gd name="connsiteY27-1396" fmla="*/ 4492350 h 4492350"/>
                <a:gd name="connsiteX0-1397" fmla="*/ 1743740 w 3742661"/>
                <a:gd name="connsiteY0-1398" fmla="*/ 4492350 h 4492350"/>
                <a:gd name="connsiteX1-1399" fmla="*/ 1796903 w 3742661"/>
                <a:gd name="connsiteY1-1400" fmla="*/ 3785190 h 4492350"/>
                <a:gd name="connsiteX2-1401" fmla="*/ 1307805 w 3742661"/>
                <a:gd name="connsiteY2-1402" fmla="*/ 3381153 h 4492350"/>
                <a:gd name="connsiteX3-1403" fmla="*/ 31898 w 3742661"/>
                <a:gd name="connsiteY3-1404" fmla="*/ 2945218 h 4492350"/>
                <a:gd name="connsiteX4-1405" fmla="*/ 1127052 w 3742661"/>
                <a:gd name="connsiteY4-1406" fmla="*/ 3242930 h 4492350"/>
                <a:gd name="connsiteX5-1407" fmla="*/ 393405 w 3742661"/>
                <a:gd name="connsiteY5-1408" fmla="*/ 2456121 h 4492350"/>
                <a:gd name="connsiteX6-1409" fmla="*/ 1775638 w 3742661"/>
                <a:gd name="connsiteY6-1410" fmla="*/ 3519376 h 4492350"/>
                <a:gd name="connsiteX7-1411" fmla="*/ 1679945 w 3742661"/>
                <a:gd name="connsiteY7-1412" fmla="*/ 2392325 h 4492350"/>
                <a:gd name="connsiteX8-1413" fmla="*/ 0 w 3742661"/>
                <a:gd name="connsiteY8-1414" fmla="*/ 754911 h 4492350"/>
                <a:gd name="connsiteX9-1415" fmla="*/ 988828 w 3742661"/>
                <a:gd name="connsiteY9-1416" fmla="*/ 1924493 h 4492350"/>
                <a:gd name="connsiteX10-1417" fmla="*/ 1137684 w 3742661"/>
                <a:gd name="connsiteY10-1418" fmla="*/ 861237 h 4492350"/>
                <a:gd name="connsiteX11-1419" fmla="*/ 1222745 w 3742661"/>
                <a:gd name="connsiteY11-1420" fmla="*/ 2062716 h 4492350"/>
                <a:gd name="connsiteX12-1421" fmla="*/ 1690577 w 3742661"/>
                <a:gd name="connsiteY12-1422" fmla="*/ 2190307 h 4492350"/>
                <a:gd name="connsiteX13-1423" fmla="*/ 1956391 w 3742661"/>
                <a:gd name="connsiteY13-1424" fmla="*/ 0 h 4492350"/>
                <a:gd name="connsiteX14-1425" fmla="*/ 2083982 w 3742661"/>
                <a:gd name="connsiteY14-1426" fmla="*/ 978195 h 4492350"/>
                <a:gd name="connsiteX15-1427" fmla="*/ 1881963 w 3742661"/>
                <a:gd name="connsiteY15-1428" fmla="*/ 2232837 h 4492350"/>
                <a:gd name="connsiteX16-1429" fmla="*/ 2057494 w 3742661"/>
                <a:gd name="connsiteY16-1430" fmla="*/ 3046321 h 4492350"/>
                <a:gd name="connsiteX17-1431" fmla="*/ 2647507 w 3742661"/>
                <a:gd name="connsiteY17-1432" fmla="*/ 2519916 h 4492350"/>
                <a:gd name="connsiteX18-1433" fmla="*/ 2913694 w 3742661"/>
                <a:gd name="connsiteY18-1434" fmla="*/ 1291762 h 4492350"/>
                <a:gd name="connsiteX19-1435" fmla="*/ 2806809 w 3742661"/>
                <a:gd name="connsiteY19-1436" fmla="*/ 2383091 h 4492350"/>
                <a:gd name="connsiteX20-1437" fmla="*/ 3742661 w 3742661"/>
                <a:gd name="connsiteY20-1438" fmla="*/ 1148316 h 4492350"/>
                <a:gd name="connsiteX21-1439" fmla="*/ 2222205 w 3742661"/>
                <a:gd name="connsiteY21-1440" fmla="*/ 3370521 h 4492350"/>
                <a:gd name="connsiteX22-1441" fmla="*/ 2169042 w 3742661"/>
                <a:gd name="connsiteY22-1442" fmla="*/ 3817088 h 4492350"/>
                <a:gd name="connsiteX23-1443" fmla="*/ 3317358 w 3742661"/>
                <a:gd name="connsiteY23-1444" fmla="*/ 3094074 h 4492350"/>
                <a:gd name="connsiteX24-1445" fmla="*/ 2194317 w 3742661"/>
                <a:gd name="connsiteY24-1446" fmla="*/ 4030951 h 4492350"/>
                <a:gd name="connsiteX25-1447" fmla="*/ 2232838 w 3742661"/>
                <a:gd name="connsiteY25-1448" fmla="*/ 4476307 h 4492350"/>
                <a:gd name="connsiteX26-1449" fmla="*/ 2218194 w 3742661"/>
                <a:gd name="connsiteY26-1450" fmla="*/ 4491415 h 4492350"/>
                <a:gd name="connsiteX27-1451" fmla="*/ 1743740 w 3742661"/>
                <a:gd name="connsiteY27-1452" fmla="*/ 4492350 h 4492350"/>
                <a:gd name="connsiteX0-1453" fmla="*/ 1743740 w 3742661"/>
                <a:gd name="connsiteY0-1454" fmla="*/ 4492350 h 4492350"/>
                <a:gd name="connsiteX1-1455" fmla="*/ 1796903 w 3742661"/>
                <a:gd name="connsiteY1-1456" fmla="*/ 3785190 h 4492350"/>
                <a:gd name="connsiteX2-1457" fmla="*/ 1307805 w 3742661"/>
                <a:gd name="connsiteY2-1458" fmla="*/ 3381153 h 4492350"/>
                <a:gd name="connsiteX3-1459" fmla="*/ 31898 w 3742661"/>
                <a:gd name="connsiteY3-1460" fmla="*/ 2945218 h 4492350"/>
                <a:gd name="connsiteX4-1461" fmla="*/ 1127052 w 3742661"/>
                <a:gd name="connsiteY4-1462" fmla="*/ 3242930 h 4492350"/>
                <a:gd name="connsiteX5-1463" fmla="*/ 393405 w 3742661"/>
                <a:gd name="connsiteY5-1464" fmla="*/ 2456121 h 4492350"/>
                <a:gd name="connsiteX6-1465" fmla="*/ 1775638 w 3742661"/>
                <a:gd name="connsiteY6-1466" fmla="*/ 3519376 h 4492350"/>
                <a:gd name="connsiteX7-1467" fmla="*/ 1679945 w 3742661"/>
                <a:gd name="connsiteY7-1468" fmla="*/ 2392325 h 4492350"/>
                <a:gd name="connsiteX8-1469" fmla="*/ 0 w 3742661"/>
                <a:gd name="connsiteY8-1470" fmla="*/ 754911 h 4492350"/>
                <a:gd name="connsiteX9-1471" fmla="*/ 988828 w 3742661"/>
                <a:gd name="connsiteY9-1472" fmla="*/ 1924493 h 4492350"/>
                <a:gd name="connsiteX10-1473" fmla="*/ 1137684 w 3742661"/>
                <a:gd name="connsiteY10-1474" fmla="*/ 861237 h 4492350"/>
                <a:gd name="connsiteX11-1475" fmla="*/ 1222745 w 3742661"/>
                <a:gd name="connsiteY11-1476" fmla="*/ 2062716 h 4492350"/>
                <a:gd name="connsiteX12-1477" fmla="*/ 1690577 w 3742661"/>
                <a:gd name="connsiteY12-1478" fmla="*/ 2190307 h 4492350"/>
                <a:gd name="connsiteX13-1479" fmla="*/ 1956391 w 3742661"/>
                <a:gd name="connsiteY13-1480" fmla="*/ 0 h 4492350"/>
                <a:gd name="connsiteX14-1481" fmla="*/ 2083982 w 3742661"/>
                <a:gd name="connsiteY14-1482" fmla="*/ 978195 h 4492350"/>
                <a:gd name="connsiteX15-1483" fmla="*/ 1881963 w 3742661"/>
                <a:gd name="connsiteY15-1484" fmla="*/ 2232837 h 4492350"/>
                <a:gd name="connsiteX16-1485" fmla="*/ 2057494 w 3742661"/>
                <a:gd name="connsiteY16-1486" fmla="*/ 3046321 h 4492350"/>
                <a:gd name="connsiteX17-1487" fmla="*/ 2647507 w 3742661"/>
                <a:gd name="connsiteY17-1488" fmla="*/ 2519916 h 4492350"/>
                <a:gd name="connsiteX18-1489" fmla="*/ 2913694 w 3742661"/>
                <a:gd name="connsiteY18-1490" fmla="*/ 1291762 h 4492350"/>
                <a:gd name="connsiteX19-1491" fmla="*/ 2806809 w 3742661"/>
                <a:gd name="connsiteY19-1492" fmla="*/ 2383091 h 4492350"/>
                <a:gd name="connsiteX20-1493" fmla="*/ 3742661 w 3742661"/>
                <a:gd name="connsiteY20-1494" fmla="*/ 1148316 h 4492350"/>
                <a:gd name="connsiteX21-1495" fmla="*/ 2222205 w 3742661"/>
                <a:gd name="connsiteY21-1496" fmla="*/ 3370521 h 4492350"/>
                <a:gd name="connsiteX22-1497" fmla="*/ 2169042 w 3742661"/>
                <a:gd name="connsiteY22-1498" fmla="*/ 3817088 h 4492350"/>
                <a:gd name="connsiteX23-1499" fmla="*/ 3317358 w 3742661"/>
                <a:gd name="connsiteY23-1500" fmla="*/ 3094074 h 4492350"/>
                <a:gd name="connsiteX24-1501" fmla="*/ 2194317 w 3742661"/>
                <a:gd name="connsiteY24-1502" fmla="*/ 4030951 h 4492350"/>
                <a:gd name="connsiteX25-1503" fmla="*/ 2232838 w 3742661"/>
                <a:gd name="connsiteY25-1504" fmla="*/ 4476307 h 4492350"/>
                <a:gd name="connsiteX26-1505" fmla="*/ 2218194 w 3742661"/>
                <a:gd name="connsiteY26-1506" fmla="*/ 4491415 h 4492350"/>
                <a:gd name="connsiteX27-1507" fmla="*/ 1743740 w 3742661"/>
                <a:gd name="connsiteY27-1508" fmla="*/ 4492350 h 4492350"/>
                <a:gd name="connsiteX0-1509" fmla="*/ 1743740 w 3742661"/>
                <a:gd name="connsiteY0-1510" fmla="*/ 4492350 h 4492350"/>
                <a:gd name="connsiteX1-1511" fmla="*/ 1796903 w 3742661"/>
                <a:gd name="connsiteY1-1512" fmla="*/ 3785190 h 4492350"/>
                <a:gd name="connsiteX2-1513" fmla="*/ 1307805 w 3742661"/>
                <a:gd name="connsiteY2-1514" fmla="*/ 3381153 h 4492350"/>
                <a:gd name="connsiteX3-1515" fmla="*/ 31898 w 3742661"/>
                <a:gd name="connsiteY3-1516" fmla="*/ 2945218 h 4492350"/>
                <a:gd name="connsiteX4-1517" fmla="*/ 1127052 w 3742661"/>
                <a:gd name="connsiteY4-1518" fmla="*/ 3242930 h 4492350"/>
                <a:gd name="connsiteX5-1519" fmla="*/ 393405 w 3742661"/>
                <a:gd name="connsiteY5-1520" fmla="*/ 2456121 h 4492350"/>
                <a:gd name="connsiteX6-1521" fmla="*/ 1775638 w 3742661"/>
                <a:gd name="connsiteY6-1522" fmla="*/ 3519376 h 4492350"/>
                <a:gd name="connsiteX7-1523" fmla="*/ 1679945 w 3742661"/>
                <a:gd name="connsiteY7-1524" fmla="*/ 2392325 h 4492350"/>
                <a:gd name="connsiteX8-1525" fmla="*/ 0 w 3742661"/>
                <a:gd name="connsiteY8-1526" fmla="*/ 754911 h 4492350"/>
                <a:gd name="connsiteX9-1527" fmla="*/ 988828 w 3742661"/>
                <a:gd name="connsiteY9-1528" fmla="*/ 1924493 h 4492350"/>
                <a:gd name="connsiteX10-1529" fmla="*/ 1137684 w 3742661"/>
                <a:gd name="connsiteY10-1530" fmla="*/ 861237 h 4492350"/>
                <a:gd name="connsiteX11-1531" fmla="*/ 1222745 w 3742661"/>
                <a:gd name="connsiteY11-1532" fmla="*/ 2062716 h 4492350"/>
                <a:gd name="connsiteX12-1533" fmla="*/ 1690577 w 3742661"/>
                <a:gd name="connsiteY12-1534" fmla="*/ 2190307 h 4492350"/>
                <a:gd name="connsiteX13-1535" fmla="*/ 1956391 w 3742661"/>
                <a:gd name="connsiteY13-1536" fmla="*/ 0 h 4492350"/>
                <a:gd name="connsiteX14-1537" fmla="*/ 2083982 w 3742661"/>
                <a:gd name="connsiteY14-1538" fmla="*/ 978195 h 4492350"/>
                <a:gd name="connsiteX15-1539" fmla="*/ 1881963 w 3742661"/>
                <a:gd name="connsiteY15-1540" fmla="*/ 2232837 h 4492350"/>
                <a:gd name="connsiteX16-1541" fmla="*/ 2057494 w 3742661"/>
                <a:gd name="connsiteY16-1542" fmla="*/ 3046321 h 4492350"/>
                <a:gd name="connsiteX17-1543" fmla="*/ 2647507 w 3742661"/>
                <a:gd name="connsiteY17-1544" fmla="*/ 2519916 h 4492350"/>
                <a:gd name="connsiteX18-1545" fmla="*/ 2913694 w 3742661"/>
                <a:gd name="connsiteY18-1546" fmla="*/ 1291762 h 4492350"/>
                <a:gd name="connsiteX19-1547" fmla="*/ 2806809 w 3742661"/>
                <a:gd name="connsiteY19-1548" fmla="*/ 2383091 h 4492350"/>
                <a:gd name="connsiteX20-1549" fmla="*/ 3742661 w 3742661"/>
                <a:gd name="connsiteY20-1550" fmla="*/ 1148316 h 4492350"/>
                <a:gd name="connsiteX21-1551" fmla="*/ 2222205 w 3742661"/>
                <a:gd name="connsiteY21-1552" fmla="*/ 3370521 h 4492350"/>
                <a:gd name="connsiteX22-1553" fmla="*/ 2169042 w 3742661"/>
                <a:gd name="connsiteY22-1554" fmla="*/ 3817088 h 4492350"/>
                <a:gd name="connsiteX23-1555" fmla="*/ 3317358 w 3742661"/>
                <a:gd name="connsiteY23-1556" fmla="*/ 3094074 h 4492350"/>
                <a:gd name="connsiteX24-1557" fmla="*/ 2194317 w 3742661"/>
                <a:gd name="connsiteY24-1558" fmla="*/ 4030951 h 4492350"/>
                <a:gd name="connsiteX25-1559" fmla="*/ 2232838 w 3742661"/>
                <a:gd name="connsiteY25-1560" fmla="*/ 4476307 h 4492350"/>
                <a:gd name="connsiteX26-1561" fmla="*/ 2218194 w 3742661"/>
                <a:gd name="connsiteY26-1562" fmla="*/ 4491415 h 4492350"/>
                <a:gd name="connsiteX27-1563" fmla="*/ 1743740 w 3742661"/>
                <a:gd name="connsiteY27-1564" fmla="*/ 4492350 h 4492350"/>
                <a:gd name="connsiteX0-1565" fmla="*/ 1743740 w 3742661"/>
                <a:gd name="connsiteY0-1566" fmla="*/ 4492350 h 4492350"/>
                <a:gd name="connsiteX1-1567" fmla="*/ 1796903 w 3742661"/>
                <a:gd name="connsiteY1-1568" fmla="*/ 3785190 h 4492350"/>
                <a:gd name="connsiteX2-1569" fmla="*/ 1307805 w 3742661"/>
                <a:gd name="connsiteY2-1570" fmla="*/ 3381153 h 4492350"/>
                <a:gd name="connsiteX3-1571" fmla="*/ 31898 w 3742661"/>
                <a:gd name="connsiteY3-1572" fmla="*/ 2945218 h 4492350"/>
                <a:gd name="connsiteX4-1573" fmla="*/ 1127052 w 3742661"/>
                <a:gd name="connsiteY4-1574" fmla="*/ 3242930 h 4492350"/>
                <a:gd name="connsiteX5-1575" fmla="*/ 393405 w 3742661"/>
                <a:gd name="connsiteY5-1576" fmla="*/ 2456121 h 4492350"/>
                <a:gd name="connsiteX6-1577" fmla="*/ 1775638 w 3742661"/>
                <a:gd name="connsiteY6-1578" fmla="*/ 3519376 h 4492350"/>
                <a:gd name="connsiteX7-1579" fmla="*/ 1679945 w 3742661"/>
                <a:gd name="connsiteY7-1580" fmla="*/ 2392325 h 4492350"/>
                <a:gd name="connsiteX8-1581" fmla="*/ 0 w 3742661"/>
                <a:gd name="connsiteY8-1582" fmla="*/ 754911 h 4492350"/>
                <a:gd name="connsiteX9-1583" fmla="*/ 988828 w 3742661"/>
                <a:gd name="connsiteY9-1584" fmla="*/ 1924493 h 4492350"/>
                <a:gd name="connsiteX10-1585" fmla="*/ 1137684 w 3742661"/>
                <a:gd name="connsiteY10-1586" fmla="*/ 861237 h 4492350"/>
                <a:gd name="connsiteX11-1587" fmla="*/ 1222745 w 3742661"/>
                <a:gd name="connsiteY11-1588" fmla="*/ 2062716 h 4492350"/>
                <a:gd name="connsiteX12-1589" fmla="*/ 1690577 w 3742661"/>
                <a:gd name="connsiteY12-1590" fmla="*/ 2190307 h 4492350"/>
                <a:gd name="connsiteX13-1591" fmla="*/ 1956391 w 3742661"/>
                <a:gd name="connsiteY13-1592" fmla="*/ 0 h 4492350"/>
                <a:gd name="connsiteX14-1593" fmla="*/ 2083982 w 3742661"/>
                <a:gd name="connsiteY14-1594" fmla="*/ 978195 h 4492350"/>
                <a:gd name="connsiteX15-1595" fmla="*/ 1881963 w 3742661"/>
                <a:gd name="connsiteY15-1596" fmla="*/ 2232837 h 4492350"/>
                <a:gd name="connsiteX16-1597" fmla="*/ 2057494 w 3742661"/>
                <a:gd name="connsiteY16-1598" fmla="*/ 3046321 h 4492350"/>
                <a:gd name="connsiteX17-1599" fmla="*/ 2647507 w 3742661"/>
                <a:gd name="connsiteY17-1600" fmla="*/ 2519916 h 4492350"/>
                <a:gd name="connsiteX18-1601" fmla="*/ 2913694 w 3742661"/>
                <a:gd name="connsiteY18-1602" fmla="*/ 1291762 h 4492350"/>
                <a:gd name="connsiteX19-1603" fmla="*/ 2806809 w 3742661"/>
                <a:gd name="connsiteY19-1604" fmla="*/ 2383091 h 4492350"/>
                <a:gd name="connsiteX20-1605" fmla="*/ 3742661 w 3742661"/>
                <a:gd name="connsiteY20-1606" fmla="*/ 1148316 h 4492350"/>
                <a:gd name="connsiteX21-1607" fmla="*/ 2222205 w 3742661"/>
                <a:gd name="connsiteY21-1608" fmla="*/ 3370521 h 4492350"/>
                <a:gd name="connsiteX22-1609" fmla="*/ 2169042 w 3742661"/>
                <a:gd name="connsiteY22-1610" fmla="*/ 3817088 h 4492350"/>
                <a:gd name="connsiteX23-1611" fmla="*/ 3317358 w 3742661"/>
                <a:gd name="connsiteY23-1612" fmla="*/ 3094074 h 4492350"/>
                <a:gd name="connsiteX24-1613" fmla="*/ 2194317 w 3742661"/>
                <a:gd name="connsiteY24-1614" fmla="*/ 4030951 h 4492350"/>
                <a:gd name="connsiteX25-1615" fmla="*/ 2232838 w 3742661"/>
                <a:gd name="connsiteY25-1616" fmla="*/ 4476307 h 4492350"/>
                <a:gd name="connsiteX26-1617" fmla="*/ 2218194 w 3742661"/>
                <a:gd name="connsiteY26-1618" fmla="*/ 4491415 h 4492350"/>
                <a:gd name="connsiteX27-1619" fmla="*/ 1743740 w 3742661"/>
                <a:gd name="connsiteY27-1620" fmla="*/ 4492350 h 4492350"/>
                <a:gd name="connsiteX0-1621" fmla="*/ 1743740 w 3718598"/>
                <a:gd name="connsiteY0-1622" fmla="*/ 4492350 h 4492350"/>
                <a:gd name="connsiteX1-1623" fmla="*/ 1796903 w 3718598"/>
                <a:gd name="connsiteY1-1624" fmla="*/ 3785190 h 4492350"/>
                <a:gd name="connsiteX2-1625" fmla="*/ 1307805 w 3718598"/>
                <a:gd name="connsiteY2-1626" fmla="*/ 3381153 h 4492350"/>
                <a:gd name="connsiteX3-1627" fmla="*/ 31898 w 3718598"/>
                <a:gd name="connsiteY3-1628" fmla="*/ 2945218 h 4492350"/>
                <a:gd name="connsiteX4-1629" fmla="*/ 1127052 w 3718598"/>
                <a:gd name="connsiteY4-1630" fmla="*/ 3242930 h 4492350"/>
                <a:gd name="connsiteX5-1631" fmla="*/ 393405 w 3718598"/>
                <a:gd name="connsiteY5-1632" fmla="*/ 2456121 h 4492350"/>
                <a:gd name="connsiteX6-1633" fmla="*/ 1775638 w 3718598"/>
                <a:gd name="connsiteY6-1634" fmla="*/ 3519376 h 4492350"/>
                <a:gd name="connsiteX7-1635" fmla="*/ 1679945 w 3718598"/>
                <a:gd name="connsiteY7-1636" fmla="*/ 2392325 h 4492350"/>
                <a:gd name="connsiteX8-1637" fmla="*/ 0 w 3718598"/>
                <a:gd name="connsiteY8-1638" fmla="*/ 754911 h 4492350"/>
                <a:gd name="connsiteX9-1639" fmla="*/ 988828 w 3718598"/>
                <a:gd name="connsiteY9-1640" fmla="*/ 1924493 h 4492350"/>
                <a:gd name="connsiteX10-1641" fmla="*/ 1137684 w 3718598"/>
                <a:gd name="connsiteY10-1642" fmla="*/ 861237 h 4492350"/>
                <a:gd name="connsiteX11-1643" fmla="*/ 1222745 w 3718598"/>
                <a:gd name="connsiteY11-1644" fmla="*/ 2062716 h 4492350"/>
                <a:gd name="connsiteX12-1645" fmla="*/ 1690577 w 3718598"/>
                <a:gd name="connsiteY12-1646" fmla="*/ 2190307 h 4492350"/>
                <a:gd name="connsiteX13-1647" fmla="*/ 1956391 w 3718598"/>
                <a:gd name="connsiteY13-1648" fmla="*/ 0 h 4492350"/>
                <a:gd name="connsiteX14-1649" fmla="*/ 2083982 w 3718598"/>
                <a:gd name="connsiteY14-1650" fmla="*/ 978195 h 4492350"/>
                <a:gd name="connsiteX15-1651" fmla="*/ 1881963 w 3718598"/>
                <a:gd name="connsiteY15-1652" fmla="*/ 2232837 h 4492350"/>
                <a:gd name="connsiteX16-1653" fmla="*/ 2057494 w 3718598"/>
                <a:gd name="connsiteY16-1654" fmla="*/ 3046321 h 4492350"/>
                <a:gd name="connsiteX17-1655" fmla="*/ 2647507 w 3718598"/>
                <a:gd name="connsiteY17-1656" fmla="*/ 2519916 h 4492350"/>
                <a:gd name="connsiteX18-1657" fmla="*/ 2913694 w 3718598"/>
                <a:gd name="connsiteY18-1658" fmla="*/ 1291762 h 4492350"/>
                <a:gd name="connsiteX19-1659" fmla="*/ 2806809 w 3718598"/>
                <a:gd name="connsiteY19-1660" fmla="*/ 2383091 h 4492350"/>
                <a:gd name="connsiteX20-1661" fmla="*/ 3718598 w 3718598"/>
                <a:gd name="connsiteY20-1662" fmla="*/ 1120242 h 4492350"/>
                <a:gd name="connsiteX21-1663" fmla="*/ 2222205 w 3718598"/>
                <a:gd name="connsiteY21-1664" fmla="*/ 3370521 h 4492350"/>
                <a:gd name="connsiteX22-1665" fmla="*/ 2169042 w 3718598"/>
                <a:gd name="connsiteY22-1666" fmla="*/ 3817088 h 4492350"/>
                <a:gd name="connsiteX23-1667" fmla="*/ 3317358 w 3718598"/>
                <a:gd name="connsiteY23-1668" fmla="*/ 3094074 h 4492350"/>
                <a:gd name="connsiteX24-1669" fmla="*/ 2194317 w 3718598"/>
                <a:gd name="connsiteY24-1670" fmla="*/ 4030951 h 4492350"/>
                <a:gd name="connsiteX25-1671" fmla="*/ 2232838 w 3718598"/>
                <a:gd name="connsiteY25-1672" fmla="*/ 4476307 h 4492350"/>
                <a:gd name="connsiteX26-1673" fmla="*/ 2218194 w 3718598"/>
                <a:gd name="connsiteY26-1674" fmla="*/ 4491415 h 4492350"/>
                <a:gd name="connsiteX27-1675" fmla="*/ 1743740 w 3718598"/>
                <a:gd name="connsiteY27-1676" fmla="*/ 4492350 h 4492350"/>
                <a:gd name="connsiteX0-1677" fmla="*/ 1743740 w 3718598"/>
                <a:gd name="connsiteY0-1678" fmla="*/ 4492350 h 4492350"/>
                <a:gd name="connsiteX1-1679" fmla="*/ 1796903 w 3718598"/>
                <a:gd name="connsiteY1-1680" fmla="*/ 3785190 h 4492350"/>
                <a:gd name="connsiteX2-1681" fmla="*/ 1307805 w 3718598"/>
                <a:gd name="connsiteY2-1682" fmla="*/ 3381153 h 4492350"/>
                <a:gd name="connsiteX3-1683" fmla="*/ 31898 w 3718598"/>
                <a:gd name="connsiteY3-1684" fmla="*/ 2945218 h 4492350"/>
                <a:gd name="connsiteX4-1685" fmla="*/ 1127052 w 3718598"/>
                <a:gd name="connsiteY4-1686" fmla="*/ 3242930 h 4492350"/>
                <a:gd name="connsiteX5-1687" fmla="*/ 393405 w 3718598"/>
                <a:gd name="connsiteY5-1688" fmla="*/ 2456121 h 4492350"/>
                <a:gd name="connsiteX6-1689" fmla="*/ 1775638 w 3718598"/>
                <a:gd name="connsiteY6-1690" fmla="*/ 3519376 h 4492350"/>
                <a:gd name="connsiteX7-1691" fmla="*/ 1679945 w 3718598"/>
                <a:gd name="connsiteY7-1692" fmla="*/ 2392325 h 4492350"/>
                <a:gd name="connsiteX8-1693" fmla="*/ 0 w 3718598"/>
                <a:gd name="connsiteY8-1694" fmla="*/ 754911 h 4492350"/>
                <a:gd name="connsiteX9-1695" fmla="*/ 988828 w 3718598"/>
                <a:gd name="connsiteY9-1696" fmla="*/ 1924493 h 4492350"/>
                <a:gd name="connsiteX10-1697" fmla="*/ 1137684 w 3718598"/>
                <a:gd name="connsiteY10-1698" fmla="*/ 861237 h 4492350"/>
                <a:gd name="connsiteX11-1699" fmla="*/ 1222745 w 3718598"/>
                <a:gd name="connsiteY11-1700" fmla="*/ 2062716 h 4492350"/>
                <a:gd name="connsiteX12-1701" fmla="*/ 1690577 w 3718598"/>
                <a:gd name="connsiteY12-1702" fmla="*/ 2190307 h 4492350"/>
                <a:gd name="connsiteX13-1703" fmla="*/ 1956391 w 3718598"/>
                <a:gd name="connsiteY13-1704" fmla="*/ 0 h 4492350"/>
                <a:gd name="connsiteX14-1705" fmla="*/ 2083982 w 3718598"/>
                <a:gd name="connsiteY14-1706" fmla="*/ 978195 h 4492350"/>
                <a:gd name="connsiteX15-1707" fmla="*/ 1881963 w 3718598"/>
                <a:gd name="connsiteY15-1708" fmla="*/ 2232837 h 4492350"/>
                <a:gd name="connsiteX16-1709" fmla="*/ 2057494 w 3718598"/>
                <a:gd name="connsiteY16-1710" fmla="*/ 3046321 h 4492350"/>
                <a:gd name="connsiteX17-1711" fmla="*/ 2647507 w 3718598"/>
                <a:gd name="connsiteY17-1712" fmla="*/ 2519916 h 4492350"/>
                <a:gd name="connsiteX18-1713" fmla="*/ 2913694 w 3718598"/>
                <a:gd name="connsiteY18-1714" fmla="*/ 1291762 h 4492350"/>
                <a:gd name="connsiteX19-1715" fmla="*/ 2806809 w 3718598"/>
                <a:gd name="connsiteY19-1716" fmla="*/ 2383091 h 4492350"/>
                <a:gd name="connsiteX20-1717" fmla="*/ 3718598 w 3718598"/>
                <a:gd name="connsiteY20-1718" fmla="*/ 1120242 h 4492350"/>
                <a:gd name="connsiteX21-1719" fmla="*/ 2222205 w 3718598"/>
                <a:gd name="connsiteY21-1720" fmla="*/ 3370521 h 4492350"/>
                <a:gd name="connsiteX22-1721" fmla="*/ 2169042 w 3718598"/>
                <a:gd name="connsiteY22-1722" fmla="*/ 3817088 h 4492350"/>
                <a:gd name="connsiteX23-1723" fmla="*/ 3317358 w 3718598"/>
                <a:gd name="connsiteY23-1724" fmla="*/ 3094074 h 4492350"/>
                <a:gd name="connsiteX24-1725" fmla="*/ 2194317 w 3718598"/>
                <a:gd name="connsiteY24-1726" fmla="*/ 4030951 h 4492350"/>
                <a:gd name="connsiteX25-1727" fmla="*/ 2232838 w 3718598"/>
                <a:gd name="connsiteY25-1728" fmla="*/ 4476307 h 4492350"/>
                <a:gd name="connsiteX26-1729" fmla="*/ 2218194 w 3718598"/>
                <a:gd name="connsiteY26-1730" fmla="*/ 4491415 h 4492350"/>
                <a:gd name="connsiteX27-1731" fmla="*/ 1743740 w 3718598"/>
                <a:gd name="connsiteY27-1732" fmla="*/ 4492350 h 4492350"/>
                <a:gd name="connsiteX0-1733" fmla="*/ 1743740 w 3718598"/>
                <a:gd name="connsiteY0-1734" fmla="*/ 4492350 h 4492350"/>
                <a:gd name="connsiteX1-1735" fmla="*/ 1796903 w 3718598"/>
                <a:gd name="connsiteY1-1736" fmla="*/ 3785190 h 4492350"/>
                <a:gd name="connsiteX2-1737" fmla="*/ 1307805 w 3718598"/>
                <a:gd name="connsiteY2-1738" fmla="*/ 3381153 h 4492350"/>
                <a:gd name="connsiteX3-1739" fmla="*/ 31898 w 3718598"/>
                <a:gd name="connsiteY3-1740" fmla="*/ 2945218 h 4492350"/>
                <a:gd name="connsiteX4-1741" fmla="*/ 1127052 w 3718598"/>
                <a:gd name="connsiteY4-1742" fmla="*/ 3242930 h 4492350"/>
                <a:gd name="connsiteX5-1743" fmla="*/ 393405 w 3718598"/>
                <a:gd name="connsiteY5-1744" fmla="*/ 2456121 h 4492350"/>
                <a:gd name="connsiteX6-1745" fmla="*/ 1775638 w 3718598"/>
                <a:gd name="connsiteY6-1746" fmla="*/ 3519376 h 4492350"/>
                <a:gd name="connsiteX7-1747" fmla="*/ 1679945 w 3718598"/>
                <a:gd name="connsiteY7-1748" fmla="*/ 2392325 h 4492350"/>
                <a:gd name="connsiteX8-1749" fmla="*/ 0 w 3718598"/>
                <a:gd name="connsiteY8-1750" fmla="*/ 754911 h 4492350"/>
                <a:gd name="connsiteX9-1751" fmla="*/ 988828 w 3718598"/>
                <a:gd name="connsiteY9-1752" fmla="*/ 1924493 h 4492350"/>
                <a:gd name="connsiteX10-1753" fmla="*/ 1137684 w 3718598"/>
                <a:gd name="connsiteY10-1754" fmla="*/ 861237 h 4492350"/>
                <a:gd name="connsiteX11-1755" fmla="*/ 1222745 w 3718598"/>
                <a:gd name="connsiteY11-1756" fmla="*/ 2062716 h 4492350"/>
                <a:gd name="connsiteX12-1757" fmla="*/ 1690577 w 3718598"/>
                <a:gd name="connsiteY12-1758" fmla="*/ 2190307 h 4492350"/>
                <a:gd name="connsiteX13-1759" fmla="*/ 1956391 w 3718598"/>
                <a:gd name="connsiteY13-1760" fmla="*/ 0 h 4492350"/>
                <a:gd name="connsiteX14-1761" fmla="*/ 2083982 w 3718598"/>
                <a:gd name="connsiteY14-1762" fmla="*/ 978195 h 4492350"/>
                <a:gd name="connsiteX15-1763" fmla="*/ 1881963 w 3718598"/>
                <a:gd name="connsiteY15-1764" fmla="*/ 2232837 h 4492350"/>
                <a:gd name="connsiteX16-1765" fmla="*/ 2057494 w 3718598"/>
                <a:gd name="connsiteY16-1766" fmla="*/ 3046321 h 4492350"/>
                <a:gd name="connsiteX17-1767" fmla="*/ 2647507 w 3718598"/>
                <a:gd name="connsiteY17-1768" fmla="*/ 2519916 h 4492350"/>
                <a:gd name="connsiteX18-1769" fmla="*/ 2913694 w 3718598"/>
                <a:gd name="connsiteY18-1770" fmla="*/ 1291762 h 4492350"/>
                <a:gd name="connsiteX19-1771" fmla="*/ 2806809 w 3718598"/>
                <a:gd name="connsiteY19-1772" fmla="*/ 2383091 h 4492350"/>
                <a:gd name="connsiteX20-1773" fmla="*/ 3718598 w 3718598"/>
                <a:gd name="connsiteY20-1774" fmla="*/ 1120242 h 4492350"/>
                <a:gd name="connsiteX21-1775" fmla="*/ 2222205 w 3718598"/>
                <a:gd name="connsiteY21-1776" fmla="*/ 3370521 h 4492350"/>
                <a:gd name="connsiteX22-1777" fmla="*/ 2169042 w 3718598"/>
                <a:gd name="connsiteY22-1778" fmla="*/ 3817088 h 4492350"/>
                <a:gd name="connsiteX23-1779" fmla="*/ 3317358 w 3718598"/>
                <a:gd name="connsiteY23-1780" fmla="*/ 3094074 h 4492350"/>
                <a:gd name="connsiteX24-1781" fmla="*/ 2194317 w 3718598"/>
                <a:gd name="connsiteY24-1782" fmla="*/ 4030951 h 4492350"/>
                <a:gd name="connsiteX25-1783" fmla="*/ 2232838 w 3718598"/>
                <a:gd name="connsiteY25-1784" fmla="*/ 4476307 h 4492350"/>
                <a:gd name="connsiteX26-1785" fmla="*/ 2218194 w 3718598"/>
                <a:gd name="connsiteY26-1786" fmla="*/ 4491415 h 4492350"/>
                <a:gd name="connsiteX27-1787" fmla="*/ 1743740 w 3718598"/>
                <a:gd name="connsiteY27-1788" fmla="*/ 4492350 h 4492350"/>
                <a:gd name="connsiteX0-1789" fmla="*/ 1743740 w 3718598"/>
                <a:gd name="connsiteY0-1790" fmla="*/ 4492350 h 4492350"/>
                <a:gd name="connsiteX1-1791" fmla="*/ 1796903 w 3718598"/>
                <a:gd name="connsiteY1-1792" fmla="*/ 3785190 h 4492350"/>
                <a:gd name="connsiteX2-1793" fmla="*/ 1307805 w 3718598"/>
                <a:gd name="connsiteY2-1794" fmla="*/ 3381153 h 4492350"/>
                <a:gd name="connsiteX3-1795" fmla="*/ 31898 w 3718598"/>
                <a:gd name="connsiteY3-1796" fmla="*/ 2945218 h 4492350"/>
                <a:gd name="connsiteX4-1797" fmla="*/ 1127052 w 3718598"/>
                <a:gd name="connsiteY4-1798" fmla="*/ 3242930 h 4492350"/>
                <a:gd name="connsiteX5-1799" fmla="*/ 393405 w 3718598"/>
                <a:gd name="connsiteY5-1800" fmla="*/ 2456121 h 4492350"/>
                <a:gd name="connsiteX6-1801" fmla="*/ 1775638 w 3718598"/>
                <a:gd name="connsiteY6-1802" fmla="*/ 3519376 h 4492350"/>
                <a:gd name="connsiteX7-1803" fmla="*/ 1679945 w 3718598"/>
                <a:gd name="connsiteY7-1804" fmla="*/ 2392325 h 4492350"/>
                <a:gd name="connsiteX8-1805" fmla="*/ 0 w 3718598"/>
                <a:gd name="connsiteY8-1806" fmla="*/ 754911 h 4492350"/>
                <a:gd name="connsiteX9-1807" fmla="*/ 988828 w 3718598"/>
                <a:gd name="connsiteY9-1808" fmla="*/ 1924493 h 4492350"/>
                <a:gd name="connsiteX10-1809" fmla="*/ 1137684 w 3718598"/>
                <a:gd name="connsiteY10-1810" fmla="*/ 861237 h 4492350"/>
                <a:gd name="connsiteX11-1811" fmla="*/ 1222745 w 3718598"/>
                <a:gd name="connsiteY11-1812" fmla="*/ 2062716 h 4492350"/>
                <a:gd name="connsiteX12-1813" fmla="*/ 1690577 w 3718598"/>
                <a:gd name="connsiteY12-1814" fmla="*/ 2190307 h 4492350"/>
                <a:gd name="connsiteX13-1815" fmla="*/ 1956391 w 3718598"/>
                <a:gd name="connsiteY13-1816" fmla="*/ 0 h 4492350"/>
                <a:gd name="connsiteX14-1817" fmla="*/ 2083982 w 3718598"/>
                <a:gd name="connsiteY14-1818" fmla="*/ 978195 h 4492350"/>
                <a:gd name="connsiteX15-1819" fmla="*/ 1881963 w 3718598"/>
                <a:gd name="connsiteY15-1820" fmla="*/ 2232837 h 4492350"/>
                <a:gd name="connsiteX16-1821" fmla="*/ 2057494 w 3718598"/>
                <a:gd name="connsiteY16-1822" fmla="*/ 3046321 h 4492350"/>
                <a:gd name="connsiteX17-1823" fmla="*/ 2647507 w 3718598"/>
                <a:gd name="connsiteY17-1824" fmla="*/ 2519916 h 4492350"/>
                <a:gd name="connsiteX18-1825" fmla="*/ 2913694 w 3718598"/>
                <a:gd name="connsiteY18-1826" fmla="*/ 1291762 h 4492350"/>
                <a:gd name="connsiteX19-1827" fmla="*/ 2806809 w 3718598"/>
                <a:gd name="connsiteY19-1828" fmla="*/ 2383091 h 4492350"/>
                <a:gd name="connsiteX20-1829" fmla="*/ 3718598 w 3718598"/>
                <a:gd name="connsiteY20-1830" fmla="*/ 1120242 h 4492350"/>
                <a:gd name="connsiteX21-1831" fmla="*/ 2222205 w 3718598"/>
                <a:gd name="connsiteY21-1832" fmla="*/ 3370521 h 4492350"/>
                <a:gd name="connsiteX22-1833" fmla="*/ 2169042 w 3718598"/>
                <a:gd name="connsiteY22-1834" fmla="*/ 3817088 h 4492350"/>
                <a:gd name="connsiteX23-1835" fmla="*/ 3317358 w 3718598"/>
                <a:gd name="connsiteY23-1836" fmla="*/ 3094074 h 4492350"/>
                <a:gd name="connsiteX24-1837" fmla="*/ 2194317 w 3718598"/>
                <a:gd name="connsiteY24-1838" fmla="*/ 4030951 h 4492350"/>
                <a:gd name="connsiteX25-1839" fmla="*/ 2232838 w 3718598"/>
                <a:gd name="connsiteY25-1840" fmla="*/ 4476307 h 4492350"/>
                <a:gd name="connsiteX26-1841" fmla="*/ 2218194 w 3718598"/>
                <a:gd name="connsiteY26-1842" fmla="*/ 4491415 h 4492350"/>
                <a:gd name="connsiteX27-1843" fmla="*/ 1743740 w 3718598"/>
                <a:gd name="connsiteY27-1844" fmla="*/ 4492350 h 4492350"/>
                <a:gd name="connsiteX0-1845" fmla="*/ 1743740 w 3718598"/>
                <a:gd name="connsiteY0-1846" fmla="*/ 4492350 h 4492350"/>
                <a:gd name="connsiteX1-1847" fmla="*/ 1796903 w 3718598"/>
                <a:gd name="connsiteY1-1848" fmla="*/ 3785190 h 4492350"/>
                <a:gd name="connsiteX2-1849" fmla="*/ 1307805 w 3718598"/>
                <a:gd name="connsiteY2-1850" fmla="*/ 3381153 h 4492350"/>
                <a:gd name="connsiteX3-1851" fmla="*/ 31898 w 3718598"/>
                <a:gd name="connsiteY3-1852" fmla="*/ 2945218 h 4492350"/>
                <a:gd name="connsiteX4-1853" fmla="*/ 1127052 w 3718598"/>
                <a:gd name="connsiteY4-1854" fmla="*/ 3242930 h 4492350"/>
                <a:gd name="connsiteX5-1855" fmla="*/ 393405 w 3718598"/>
                <a:gd name="connsiteY5-1856" fmla="*/ 2456121 h 4492350"/>
                <a:gd name="connsiteX6-1857" fmla="*/ 1775638 w 3718598"/>
                <a:gd name="connsiteY6-1858" fmla="*/ 3519376 h 4492350"/>
                <a:gd name="connsiteX7-1859" fmla="*/ 1679945 w 3718598"/>
                <a:gd name="connsiteY7-1860" fmla="*/ 2392325 h 4492350"/>
                <a:gd name="connsiteX8-1861" fmla="*/ 0 w 3718598"/>
                <a:gd name="connsiteY8-1862" fmla="*/ 754911 h 4492350"/>
                <a:gd name="connsiteX9-1863" fmla="*/ 988828 w 3718598"/>
                <a:gd name="connsiteY9-1864" fmla="*/ 1924493 h 4492350"/>
                <a:gd name="connsiteX10-1865" fmla="*/ 1137684 w 3718598"/>
                <a:gd name="connsiteY10-1866" fmla="*/ 861237 h 4492350"/>
                <a:gd name="connsiteX11-1867" fmla="*/ 1222745 w 3718598"/>
                <a:gd name="connsiteY11-1868" fmla="*/ 2062716 h 4492350"/>
                <a:gd name="connsiteX12-1869" fmla="*/ 1690577 w 3718598"/>
                <a:gd name="connsiteY12-1870" fmla="*/ 2190307 h 4492350"/>
                <a:gd name="connsiteX13-1871" fmla="*/ 1956391 w 3718598"/>
                <a:gd name="connsiteY13-1872" fmla="*/ 0 h 4492350"/>
                <a:gd name="connsiteX14-1873" fmla="*/ 2083982 w 3718598"/>
                <a:gd name="connsiteY14-1874" fmla="*/ 978195 h 4492350"/>
                <a:gd name="connsiteX15-1875" fmla="*/ 1881963 w 3718598"/>
                <a:gd name="connsiteY15-1876" fmla="*/ 2232837 h 4492350"/>
                <a:gd name="connsiteX16-1877" fmla="*/ 2057494 w 3718598"/>
                <a:gd name="connsiteY16-1878" fmla="*/ 3046321 h 4492350"/>
                <a:gd name="connsiteX17-1879" fmla="*/ 2647507 w 3718598"/>
                <a:gd name="connsiteY17-1880" fmla="*/ 2519916 h 4492350"/>
                <a:gd name="connsiteX18-1881" fmla="*/ 2913694 w 3718598"/>
                <a:gd name="connsiteY18-1882" fmla="*/ 1291762 h 4492350"/>
                <a:gd name="connsiteX19-1883" fmla="*/ 2806809 w 3718598"/>
                <a:gd name="connsiteY19-1884" fmla="*/ 2383091 h 4492350"/>
                <a:gd name="connsiteX20-1885" fmla="*/ 3718598 w 3718598"/>
                <a:gd name="connsiteY20-1886" fmla="*/ 1120242 h 4492350"/>
                <a:gd name="connsiteX21-1887" fmla="*/ 2222205 w 3718598"/>
                <a:gd name="connsiteY21-1888" fmla="*/ 3370521 h 4492350"/>
                <a:gd name="connsiteX22-1889" fmla="*/ 2169042 w 3718598"/>
                <a:gd name="connsiteY22-1890" fmla="*/ 3817088 h 4492350"/>
                <a:gd name="connsiteX23-1891" fmla="*/ 3317358 w 3718598"/>
                <a:gd name="connsiteY23-1892" fmla="*/ 3094074 h 4492350"/>
                <a:gd name="connsiteX24-1893" fmla="*/ 2194317 w 3718598"/>
                <a:gd name="connsiteY24-1894" fmla="*/ 4030951 h 4492350"/>
                <a:gd name="connsiteX25-1895" fmla="*/ 2232838 w 3718598"/>
                <a:gd name="connsiteY25-1896" fmla="*/ 4476307 h 4492350"/>
                <a:gd name="connsiteX26-1897" fmla="*/ 2218194 w 3718598"/>
                <a:gd name="connsiteY26-1898" fmla="*/ 4491415 h 4492350"/>
                <a:gd name="connsiteX27-1899" fmla="*/ 1743740 w 3718598"/>
                <a:gd name="connsiteY27-1900" fmla="*/ 4492350 h 4492350"/>
                <a:gd name="connsiteX0-1901" fmla="*/ 1743740 w 3718598"/>
                <a:gd name="connsiteY0-1902" fmla="*/ 4492350 h 4492350"/>
                <a:gd name="connsiteX1-1903" fmla="*/ 1796903 w 3718598"/>
                <a:gd name="connsiteY1-1904" fmla="*/ 3785190 h 4492350"/>
                <a:gd name="connsiteX2-1905" fmla="*/ 1307805 w 3718598"/>
                <a:gd name="connsiteY2-1906" fmla="*/ 3381153 h 4492350"/>
                <a:gd name="connsiteX3-1907" fmla="*/ 31898 w 3718598"/>
                <a:gd name="connsiteY3-1908" fmla="*/ 2945218 h 4492350"/>
                <a:gd name="connsiteX4-1909" fmla="*/ 1127052 w 3718598"/>
                <a:gd name="connsiteY4-1910" fmla="*/ 3242930 h 4492350"/>
                <a:gd name="connsiteX5-1911" fmla="*/ 393405 w 3718598"/>
                <a:gd name="connsiteY5-1912" fmla="*/ 2456121 h 4492350"/>
                <a:gd name="connsiteX6-1913" fmla="*/ 1775638 w 3718598"/>
                <a:gd name="connsiteY6-1914" fmla="*/ 3519376 h 4492350"/>
                <a:gd name="connsiteX7-1915" fmla="*/ 1679945 w 3718598"/>
                <a:gd name="connsiteY7-1916" fmla="*/ 2392325 h 4492350"/>
                <a:gd name="connsiteX8-1917" fmla="*/ 0 w 3718598"/>
                <a:gd name="connsiteY8-1918" fmla="*/ 754911 h 4492350"/>
                <a:gd name="connsiteX9-1919" fmla="*/ 988828 w 3718598"/>
                <a:gd name="connsiteY9-1920" fmla="*/ 1924493 h 4492350"/>
                <a:gd name="connsiteX10-1921" fmla="*/ 1137684 w 3718598"/>
                <a:gd name="connsiteY10-1922" fmla="*/ 861237 h 4492350"/>
                <a:gd name="connsiteX11-1923" fmla="*/ 1222745 w 3718598"/>
                <a:gd name="connsiteY11-1924" fmla="*/ 2062716 h 4492350"/>
                <a:gd name="connsiteX12-1925" fmla="*/ 1690577 w 3718598"/>
                <a:gd name="connsiteY12-1926" fmla="*/ 2190307 h 4492350"/>
                <a:gd name="connsiteX13-1927" fmla="*/ 1956391 w 3718598"/>
                <a:gd name="connsiteY13-1928" fmla="*/ 0 h 4492350"/>
                <a:gd name="connsiteX14-1929" fmla="*/ 2083982 w 3718598"/>
                <a:gd name="connsiteY14-1930" fmla="*/ 978195 h 4492350"/>
                <a:gd name="connsiteX15-1931" fmla="*/ 1881963 w 3718598"/>
                <a:gd name="connsiteY15-1932" fmla="*/ 2232837 h 4492350"/>
                <a:gd name="connsiteX16-1933" fmla="*/ 2057494 w 3718598"/>
                <a:gd name="connsiteY16-1934" fmla="*/ 3046321 h 4492350"/>
                <a:gd name="connsiteX17-1935" fmla="*/ 2647507 w 3718598"/>
                <a:gd name="connsiteY17-1936" fmla="*/ 2519916 h 4492350"/>
                <a:gd name="connsiteX18-1937" fmla="*/ 2913694 w 3718598"/>
                <a:gd name="connsiteY18-1938" fmla="*/ 1291762 h 4492350"/>
                <a:gd name="connsiteX19-1939" fmla="*/ 2806809 w 3718598"/>
                <a:gd name="connsiteY19-1940" fmla="*/ 2383091 h 4492350"/>
                <a:gd name="connsiteX20-1941" fmla="*/ 3718598 w 3718598"/>
                <a:gd name="connsiteY20-1942" fmla="*/ 1120242 h 4492350"/>
                <a:gd name="connsiteX21-1943" fmla="*/ 2222205 w 3718598"/>
                <a:gd name="connsiteY21-1944" fmla="*/ 3370521 h 4492350"/>
                <a:gd name="connsiteX22-1945" fmla="*/ 2169042 w 3718598"/>
                <a:gd name="connsiteY22-1946" fmla="*/ 3817088 h 4492350"/>
                <a:gd name="connsiteX23-1947" fmla="*/ 3317358 w 3718598"/>
                <a:gd name="connsiteY23-1948" fmla="*/ 3094074 h 4492350"/>
                <a:gd name="connsiteX24-1949" fmla="*/ 2194317 w 3718598"/>
                <a:gd name="connsiteY24-1950" fmla="*/ 4030951 h 4492350"/>
                <a:gd name="connsiteX25-1951" fmla="*/ 2232838 w 3718598"/>
                <a:gd name="connsiteY25-1952" fmla="*/ 4476307 h 4492350"/>
                <a:gd name="connsiteX26-1953" fmla="*/ 2218194 w 3718598"/>
                <a:gd name="connsiteY26-1954" fmla="*/ 4491415 h 4492350"/>
                <a:gd name="connsiteX27-1955" fmla="*/ 1743740 w 3718598"/>
                <a:gd name="connsiteY27-1956" fmla="*/ 4492350 h 4492350"/>
                <a:gd name="connsiteX0-1957" fmla="*/ 1743740 w 3718598"/>
                <a:gd name="connsiteY0-1958" fmla="*/ 4492350 h 4492350"/>
                <a:gd name="connsiteX1-1959" fmla="*/ 1796903 w 3718598"/>
                <a:gd name="connsiteY1-1960" fmla="*/ 3785190 h 4492350"/>
                <a:gd name="connsiteX2-1961" fmla="*/ 1307805 w 3718598"/>
                <a:gd name="connsiteY2-1962" fmla="*/ 3381153 h 4492350"/>
                <a:gd name="connsiteX3-1963" fmla="*/ 31898 w 3718598"/>
                <a:gd name="connsiteY3-1964" fmla="*/ 2945218 h 4492350"/>
                <a:gd name="connsiteX4-1965" fmla="*/ 1127052 w 3718598"/>
                <a:gd name="connsiteY4-1966" fmla="*/ 3242930 h 4492350"/>
                <a:gd name="connsiteX5-1967" fmla="*/ 393405 w 3718598"/>
                <a:gd name="connsiteY5-1968" fmla="*/ 2456121 h 4492350"/>
                <a:gd name="connsiteX6-1969" fmla="*/ 1775638 w 3718598"/>
                <a:gd name="connsiteY6-1970" fmla="*/ 3519376 h 4492350"/>
                <a:gd name="connsiteX7-1971" fmla="*/ 1679945 w 3718598"/>
                <a:gd name="connsiteY7-1972" fmla="*/ 2392325 h 4492350"/>
                <a:gd name="connsiteX8-1973" fmla="*/ 0 w 3718598"/>
                <a:gd name="connsiteY8-1974" fmla="*/ 754911 h 4492350"/>
                <a:gd name="connsiteX9-1975" fmla="*/ 988828 w 3718598"/>
                <a:gd name="connsiteY9-1976" fmla="*/ 1924493 h 4492350"/>
                <a:gd name="connsiteX10-1977" fmla="*/ 1137684 w 3718598"/>
                <a:gd name="connsiteY10-1978" fmla="*/ 861237 h 4492350"/>
                <a:gd name="connsiteX11-1979" fmla="*/ 1222745 w 3718598"/>
                <a:gd name="connsiteY11-1980" fmla="*/ 2062716 h 4492350"/>
                <a:gd name="connsiteX12-1981" fmla="*/ 1690577 w 3718598"/>
                <a:gd name="connsiteY12-1982" fmla="*/ 2190307 h 4492350"/>
                <a:gd name="connsiteX13-1983" fmla="*/ 1956391 w 3718598"/>
                <a:gd name="connsiteY13-1984" fmla="*/ 0 h 4492350"/>
                <a:gd name="connsiteX14-1985" fmla="*/ 2083982 w 3718598"/>
                <a:gd name="connsiteY14-1986" fmla="*/ 978195 h 4492350"/>
                <a:gd name="connsiteX15-1987" fmla="*/ 1881963 w 3718598"/>
                <a:gd name="connsiteY15-1988" fmla="*/ 2232837 h 4492350"/>
                <a:gd name="connsiteX16-1989" fmla="*/ 2057494 w 3718598"/>
                <a:gd name="connsiteY16-1990" fmla="*/ 3046321 h 4492350"/>
                <a:gd name="connsiteX17-1991" fmla="*/ 2647507 w 3718598"/>
                <a:gd name="connsiteY17-1992" fmla="*/ 2519916 h 4492350"/>
                <a:gd name="connsiteX18-1993" fmla="*/ 2913694 w 3718598"/>
                <a:gd name="connsiteY18-1994" fmla="*/ 1291762 h 4492350"/>
                <a:gd name="connsiteX19-1995" fmla="*/ 2806809 w 3718598"/>
                <a:gd name="connsiteY19-1996" fmla="*/ 2383091 h 4492350"/>
                <a:gd name="connsiteX20-1997" fmla="*/ 3718598 w 3718598"/>
                <a:gd name="connsiteY20-1998" fmla="*/ 1120242 h 4492350"/>
                <a:gd name="connsiteX21-1999" fmla="*/ 2222205 w 3718598"/>
                <a:gd name="connsiteY21-2000" fmla="*/ 3370521 h 4492350"/>
                <a:gd name="connsiteX22-2001" fmla="*/ 2169042 w 3718598"/>
                <a:gd name="connsiteY22-2002" fmla="*/ 3817088 h 4492350"/>
                <a:gd name="connsiteX23-2003" fmla="*/ 3317358 w 3718598"/>
                <a:gd name="connsiteY23-2004" fmla="*/ 3094074 h 4492350"/>
                <a:gd name="connsiteX24-2005" fmla="*/ 2194317 w 3718598"/>
                <a:gd name="connsiteY24-2006" fmla="*/ 4030951 h 4492350"/>
                <a:gd name="connsiteX25-2007" fmla="*/ 2232838 w 3718598"/>
                <a:gd name="connsiteY25-2008" fmla="*/ 4476307 h 4492350"/>
                <a:gd name="connsiteX26-2009" fmla="*/ 2218194 w 3718598"/>
                <a:gd name="connsiteY26-2010" fmla="*/ 4491415 h 4492350"/>
                <a:gd name="connsiteX27-2011" fmla="*/ 1743740 w 3718598"/>
                <a:gd name="connsiteY27-2012" fmla="*/ 4492350 h 4492350"/>
                <a:gd name="connsiteX0-2013" fmla="*/ 1743740 w 3694535"/>
                <a:gd name="connsiteY0-2014" fmla="*/ 4492350 h 4492350"/>
                <a:gd name="connsiteX1-2015" fmla="*/ 1796903 w 3694535"/>
                <a:gd name="connsiteY1-2016" fmla="*/ 3785190 h 4492350"/>
                <a:gd name="connsiteX2-2017" fmla="*/ 1307805 w 3694535"/>
                <a:gd name="connsiteY2-2018" fmla="*/ 3381153 h 4492350"/>
                <a:gd name="connsiteX3-2019" fmla="*/ 31898 w 3694535"/>
                <a:gd name="connsiteY3-2020" fmla="*/ 2945218 h 4492350"/>
                <a:gd name="connsiteX4-2021" fmla="*/ 1127052 w 3694535"/>
                <a:gd name="connsiteY4-2022" fmla="*/ 3242930 h 4492350"/>
                <a:gd name="connsiteX5-2023" fmla="*/ 393405 w 3694535"/>
                <a:gd name="connsiteY5-2024" fmla="*/ 2456121 h 4492350"/>
                <a:gd name="connsiteX6-2025" fmla="*/ 1775638 w 3694535"/>
                <a:gd name="connsiteY6-2026" fmla="*/ 3519376 h 4492350"/>
                <a:gd name="connsiteX7-2027" fmla="*/ 1679945 w 3694535"/>
                <a:gd name="connsiteY7-2028" fmla="*/ 2392325 h 4492350"/>
                <a:gd name="connsiteX8-2029" fmla="*/ 0 w 3694535"/>
                <a:gd name="connsiteY8-2030" fmla="*/ 754911 h 4492350"/>
                <a:gd name="connsiteX9-2031" fmla="*/ 988828 w 3694535"/>
                <a:gd name="connsiteY9-2032" fmla="*/ 1924493 h 4492350"/>
                <a:gd name="connsiteX10-2033" fmla="*/ 1137684 w 3694535"/>
                <a:gd name="connsiteY10-2034" fmla="*/ 861237 h 4492350"/>
                <a:gd name="connsiteX11-2035" fmla="*/ 1222745 w 3694535"/>
                <a:gd name="connsiteY11-2036" fmla="*/ 2062716 h 4492350"/>
                <a:gd name="connsiteX12-2037" fmla="*/ 1690577 w 3694535"/>
                <a:gd name="connsiteY12-2038" fmla="*/ 2190307 h 4492350"/>
                <a:gd name="connsiteX13-2039" fmla="*/ 1956391 w 3694535"/>
                <a:gd name="connsiteY13-2040" fmla="*/ 0 h 4492350"/>
                <a:gd name="connsiteX14-2041" fmla="*/ 2083982 w 3694535"/>
                <a:gd name="connsiteY14-2042" fmla="*/ 978195 h 4492350"/>
                <a:gd name="connsiteX15-2043" fmla="*/ 1881963 w 3694535"/>
                <a:gd name="connsiteY15-2044" fmla="*/ 2232837 h 4492350"/>
                <a:gd name="connsiteX16-2045" fmla="*/ 2057494 w 3694535"/>
                <a:gd name="connsiteY16-2046" fmla="*/ 3046321 h 4492350"/>
                <a:gd name="connsiteX17-2047" fmla="*/ 2647507 w 3694535"/>
                <a:gd name="connsiteY17-2048" fmla="*/ 2519916 h 4492350"/>
                <a:gd name="connsiteX18-2049" fmla="*/ 2913694 w 3694535"/>
                <a:gd name="connsiteY18-2050" fmla="*/ 1291762 h 4492350"/>
                <a:gd name="connsiteX19-2051" fmla="*/ 2806809 w 3694535"/>
                <a:gd name="connsiteY19-2052" fmla="*/ 2383091 h 4492350"/>
                <a:gd name="connsiteX20-2053" fmla="*/ 3694535 w 3694535"/>
                <a:gd name="connsiteY20-2054" fmla="*/ 1124252 h 4492350"/>
                <a:gd name="connsiteX21-2055" fmla="*/ 2222205 w 3694535"/>
                <a:gd name="connsiteY21-2056" fmla="*/ 3370521 h 4492350"/>
                <a:gd name="connsiteX22-2057" fmla="*/ 2169042 w 3694535"/>
                <a:gd name="connsiteY22-2058" fmla="*/ 3817088 h 4492350"/>
                <a:gd name="connsiteX23-2059" fmla="*/ 3317358 w 3694535"/>
                <a:gd name="connsiteY23-2060" fmla="*/ 3094074 h 4492350"/>
                <a:gd name="connsiteX24-2061" fmla="*/ 2194317 w 3694535"/>
                <a:gd name="connsiteY24-2062" fmla="*/ 4030951 h 4492350"/>
                <a:gd name="connsiteX25-2063" fmla="*/ 2232838 w 3694535"/>
                <a:gd name="connsiteY25-2064" fmla="*/ 4476307 h 4492350"/>
                <a:gd name="connsiteX26-2065" fmla="*/ 2218194 w 3694535"/>
                <a:gd name="connsiteY26-2066" fmla="*/ 4491415 h 4492350"/>
                <a:gd name="connsiteX27-2067" fmla="*/ 1743740 w 3694535"/>
                <a:gd name="connsiteY27-2068" fmla="*/ 4492350 h 4492350"/>
                <a:gd name="connsiteX0-2069" fmla="*/ 1743740 w 3694535"/>
                <a:gd name="connsiteY0-2070" fmla="*/ 4492350 h 4492350"/>
                <a:gd name="connsiteX1-2071" fmla="*/ 1796903 w 3694535"/>
                <a:gd name="connsiteY1-2072" fmla="*/ 3785190 h 4492350"/>
                <a:gd name="connsiteX2-2073" fmla="*/ 1307805 w 3694535"/>
                <a:gd name="connsiteY2-2074" fmla="*/ 3381153 h 4492350"/>
                <a:gd name="connsiteX3-2075" fmla="*/ 31898 w 3694535"/>
                <a:gd name="connsiteY3-2076" fmla="*/ 2945218 h 4492350"/>
                <a:gd name="connsiteX4-2077" fmla="*/ 1127052 w 3694535"/>
                <a:gd name="connsiteY4-2078" fmla="*/ 3242930 h 4492350"/>
                <a:gd name="connsiteX5-2079" fmla="*/ 393405 w 3694535"/>
                <a:gd name="connsiteY5-2080" fmla="*/ 2456121 h 4492350"/>
                <a:gd name="connsiteX6-2081" fmla="*/ 1775638 w 3694535"/>
                <a:gd name="connsiteY6-2082" fmla="*/ 3519376 h 4492350"/>
                <a:gd name="connsiteX7-2083" fmla="*/ 1679945 w 3694535"/>
                <a:gd name="connsiteY7-2084" fmla="*/ 2392325 h 4492350"/>
                <a:gd name="connsiteX8-2085" fmla="*/ 0 w 3694535"/>
                <a:gd name="connsiteY8-2086" fmla="*/ 754911 h 4492350"/>
                <a:gd name="connsiteX9-2087" fmla="*/ 988828 w 3694535"/>
                <a:gd name="connsiteY9-2088" fmla="*/ 1924493 h 4492350"/>
                <a:gd name="connsiteX10-2089" fmla="*/ 1137684 w 3694535"/>
                <a:gd name="connsiteY10-2090" fmla="*/ 861237 h 4492350"/>
                <a:gd name="connsiteX11-2091" fmla="*/ 1222745 w 3694535"/>
                <a:gd name="connsiteY11-2092" fmla="*/ 2062716 h 4492350"/>
                <a:gd name="connsiteX12-2093" fmla="*/ 1690577 w 3694535"/>
                <a:gd name="connsiteY12-2094" fmla="*/ 2190307 h 4492350"/>
                <a:gd name="connsiteX13-2095" fmla="*/ 1956391 w 3694535"/>
                <a:gd name="connsiteY13-2096" fmla="*/ 0 h 4492350"/>
                <a:gd name="connsiteX14-2097" fmla="*/ 2083982 w 3694535"/>
                <a:gd name="connsiteY14-2098" fmla="*/ 978195 h 4492350"/>
                <a:gd name="connsiteX15-2099" fmla="*/ 1881963 w 3694535"/>
                <a:gd name="connsiteY15-2100" fmla="*/ 2232837 h 4492350"/>
                <a:gd name="connsiteX16-2101" fmla="*/ 2057494 w 3694535"/>
                <a:gd name="connsiteY16-2102" fmla="*/ 3046321 h 4492350"/>
                <a:gd name="connsiteX17-2103" fmla="*/ 2647507 w 3694535"/>
                <a:gd name="connsiteY17-2104" fmla="*/ 2519916 h 4492350"/>
                <a:gd name="connsiteX18-2105" fmla="*/ 2913694 w 3694535"/>
                <a:gd name="connsiteY18-2106" fmla="*/ 1291762 h 4492350"/>
                <a:gd name="connsiteX19-2107" fmla="*/ 2806809 w 3694535"/>
                <a:gd name="connsiteY19-2108" fmla="*/ 2383091 h 4492350"/>
                <a:gd name="connsiteX20-2109" fmla="*/ 3694535 w 3694535"/>
                <a:gd name="connsiteY20-2110" fmla="*/ 1124252 h 4492350"/>
                <a:gd name="connsiteX21-2111" fmla="*/ 2222205 w 3694535"/>
                <a:gd name="connsiteY21-2112" fmla="*/ 3370521 h 4492350"/>
                <a:gd name="connsiteX22-2113" fmla="*/ 2169042 w 3694535"/>
                <a:gd name="connsiteY22-2114" fmla="*/ 3817088 h 4492350"/>
                <a:gd name="connsiteX23-2115" fmla="*/ 3317358 w 3694535"/>
                <a:gd name="connsiteY23-2116" fmla="*/ 3094074 h 4492350"/>
                <a:gd name="connsiteX24-2117" fmla="*/ 2194317 w 3694535"/>
                <a:gd name="connsiteY24-2118" fmla="*/ 4030951 h 4492350"/>
                <a:gd name="connsiteX25-2119" fmla="*/ 2232838 w 3694535"/>
                <a:gd name="connsiteY25-2120" fmla="*/ 4476307 h 4492350"/>
                <a:gd name="connsiteX26-2121" fmla="*/ 2218194 w 3694535"/>
                <a:gd name="connsiteY26-2122" fmla="*/ 4491415 h 4492350"/>
                <a:gd name="connsiteX27-2123" fmla="*/ 1743740 w 3694535"/>
                <a:gd name="connsiteY27-2124" fmla="*/ 4492350 h 4492350"/>
                <a:gd name="connsiteX0-2125" fmla="*/ 1743740 w 3694535"/>
                <a:gd name="connsiteY0-2126" fmla="*/ 4492350 h 4492350"/>
                <a:gd name="connsiteX1-2127" fmla="*/ 1796903 w 3694535"/>
                <a:gd name="connsiteY1-2128" fmla="*/ 3785190 h 4492350"/>
                <a:gd name="connsiteX2-2129" fmla="*/ 1307805 w 3694535"/>
                <a:gd name="connsiteY2-2130" fmla="*/ 3381153 h 4492350"/>
                <a:gd name="connsiteX3-2131" fmla="*/ 31898 w 3694535"/>
                <a:gd name="connsiteY3-2132" fmla="*/ 2945218 h 4492350"/>
                <a:gd name="connsiteX4-2133" fmla="*/ 1127052 w 3694535"/>
                <a:gd name="connsiteY4-2134" fmla="*/ 3242930 h 4492350"/>
                <a:gd name="connsiteX5-2135" fmla="*/ 393405 w 3694535"/>
                <a:gd name="connsiteY5-2136" fmla="*/ 2456121 h 4492350"/>
                <a:gd name="connsiteX6-2137" fmla="*/ 1775638 w 3694535"/>
                <a:gd name="connsiteY6-2138" fmla="*/ 3519376 h 4492350"/>
                <a:gd name="connsiteX7-2139" fmla="*/ 1679945 w 3694535"/>
                <a:gd name="connsiteY7-2140" fmla="*/ 2392325 h 4492350"/>
                <a:gd name="connsiteX8-2141" fmla="*/ 0 w 3694535"/>
                <a:gd name="connsiteY8-2142" fmla="*/ 754911 h 4492350"/>
                <a:gd name="connsiteX9-2143" fmla="*/ 988828 w 3694535"/>
                <a:gd name="connsiteY9-2144" fmla="*/ 1924493 h 4492350"/>
                <a:gd name="connsiteX10-2145" fmla="*/ 1137684 w 3694535"/>
                <a:gd name="connsiteY10-2146" fmla="*/ 861237 h 4492350"/>
                <a:gd name="connsiteX11-2147" fmla="*/ 1222745 w 3694535"/>
                <a:gd name="connsiteY11-2148" fmla="*/ 2062716 h 4492350"/>
                <a:gd name="connsiteX12-2149" fmla="*/ 1690577 w 3694535"/>
                <a:gd name="connsiteY12-2150" fmla="*/ 2190307 h 4492350"/>
                <a:gd name="connsiteX13-2151" fmla="*/ 1956391 w 3694535"/>
                <a:gd name="connsiteY13-2152" fmla="*/ 0 h 4492350"/>
                <a:gd name="connsiteX14-2153" fmla="*/ 2083982 w 3694535"/>
                <a:gd name="connsiteY14-2154" fmla="*/ 978195 h 4492350"/>
                <a:gd name="connsiteX15-2155" fmla="*/ 1881963 w 3694535"/>
                <a:gd name="connsiteY15-2156" fmla="*/ 2232837 h 4492350"/>
                <a:gd name="connsiteX16-2157" fmla="*/ 2057494 w 3694535"/>
                <a:gd name="connsiteY16-2158" fmla="*/ 3046321 h 4492350"/>
                <a:gd name="connsiteX17-2159" fmla="*/ 2647507 w 3694535"/>
                <a:gd name="connsiteY17-2160" fmla="*/ 2519916 h 4492350"/>
                <a:gd name="connsiteX18-2161" fmla="*/ 2913694 w 3694535"/>
                <a:gd name="connsiteY18-2162" fmla="*/ 1291762 h 4492350"/>
                <a:gd name="connsiteX19-2163" fmla="*/ 2806809 w 3694535"/>
                <a:gd name="connsiteY19-2164" fmla="*/ 2383091 h 4492350"/>
                <a:gd name="connsiteX20-2165" fmla="*/ 3694535 w 3694535"/>
                <a:gd name="connsiteY20-2166" fmla="*/ 1124252 h 4492350"/>
                <a:gd name="connsiteX21-2167" fmla="*/ 2222205 w 3694535"/>
                <a:gd name="connsiteY21-2168" fmla="*/ 3370521 h 4492350"/>
                <a:gd name="connsiteX22-2169" fmla="*/ 2169042 w 3694535"/>
                <a:gd name="connsiteY22-2170" fmla="*/ 3817088 h 4492350"/>
                <a:gd name="connsiteX23-2171" fmla="*/ 3317358 w 3694535"/>
                <a:gd name="connsiteY23-2172" fmla="*/ 3094074 h 4492350"/>
                <a:gd name="connsiteX24-2173" fmla="*/ 2194317 w 3694535"/>
                <a:gd name="connsiteY24-2174" fmla="*/ 4030951 h 4492350"/>
                <a:gd name="connsiteX25-2175" fmla="*/ 2232838 w 3694535"/>
                <a:gd name="connsiteY25-2176" fmla="*/ 4476307 h 4492350"/>
                <a:gd name="connsiteX26-2177" fmla="*/ 2218194 w 3694535"/>
                <a:gd name="connsiteY26-2178" fmla="*/ 4491415 h 4492350"/>
                <a:gd name="connsiteX27-2179" fmla="*/ 1743740 w 3694535"/>
                <a:gd name="connsiteY27-2180" fmla="*/ 4492350 h 4492350"/>
                <a:gd name="connsiteX0-2181" fmla="*/ 1743740 w 3694535"/>
                <a:gd name="connsiteY0-2182" fmla="*/ 4492350 h 4492350"/>
                <a:gd name="connsiteX1-2183" fmla="*/ 1796903 w 3694535"/>
                <a:gd name="connsiteY1-2184" fmla="*/ 3785190 h 4492350"/>
                <a:gd name="connsiteX2-2185" fmla="*/ 1307805 w 3694535"/>
                <a:gd name="connsiteY2-2186" fmla="*/ 3381153 h 4492350"/>
                <a:gd name="connsiteX3-2187" fmla="*/ 31898 w 3694535"/>
                <a:gd name="connsiteY3-2188" fmla="*/ 2945218 h 4492350"/>
                <a:gd name="connsiteX4-2189" fmla="*/ 1127052 w 3694535"/>
                <a:gd name="connsiteY4-2190" fmla="*/ 3242930 h 4492350"/>
                <a:gd name="connsiteX5-2191" fmla="*/ 393405 w 3694535"/>
                <a:gd name="connsiteY5-2192" fmla="*/ 2456121 h 4492350"/>
                <a:gd name="connsiteX6-2193" fmla="*/ 1775638 w 3694535"/>
                <a:gd name="connsiteY6-2194" fmla="*/ 3519376 h 4492350"/>
                <a:gd name="connsiteX7-2195" fmla="*/ 1679945 w 3694535"/>
                <a:gd name="connsiteY7-2196" fmla="*/ 2392325 h 4492350"/>
                <a:gd name="connsiteX8-2197" fmla="*/ 0 w 3694535"/>
                <a:gd name="connsiteY8-2198" fmla="*/ 754911 h 4492350"/>
                <a:gd name="connsiteX9-2199" fmla="*/ 988828 w 3694535"/>
                <a:gd name="connsiteY9-2200" fmla="*/ 1924493 h 4492350"/>
                <a:gd name="connsiteX10-2201" fmla="*/ 1137684 w 3694535"/>
                <a:gd name="connsiteY10-2202" fmla="*/ 861237 h 4492350"/>
                <a:gd name="connsiteX11-2203" fmla="*/ 1222745 w 3694535"/>
                <a:gd name="connsiteY11-2204" fmla="*/ 2062716 h 4492350"/>
                <a:gd name="connsiteX12-2205" fmla="*/ 1690577 w 3694535"/>
                <a:gd name="connsiteY12-2206" fmla="*/ 2190307 h 4492350"/>
                <a:gd name="connsiteX13-2207" fmla="*/ 1956391 w 3694535"/>
                <a:gd name="connsiteY13-2208" fmla="*/ 0 h 4492350"/>
                <a:gd name="connsiteX14-2209" fmla="*/ 2083982 w 3694535"/>
                <a:gd name="connsiteY14-2210" fmla="*/ 978195 h 4492350"/>
                <a:gd name="connsiteX15-2211" fmla="*/ 1881963 w 3694535"/>
                <a:gd name="connsiteY15-2212" fmla="*/ 2232837 h 4492350"/>
                <a:gd name="connsiteX16-2213" fmla="*/ 2057494 w 3694535"/>
                <a:gd name="connsiteY16-2214" fmla="*/ 3046321 h 4492350"/>
                <a:gd name="connsiteX17-2215" fmla="*/ 2647507 w 3694535"/>
                <a:gd name="connsiteY17-2216" fmla="*/ 2519916 h 4492350"/>
                <a:gd name="connsiteX18-2217" fmla="*/ 2913694 w 3694535"/>
                <a:gd name="connsiteY18-2218" fmla="*/ 1291762 h 4492350"/>
                <a:gd name="connsiteX19-2219" fmla="*/ 2806809 w 3694535"/>
                <a:gd name="connsiteY19-2220" fmla="*/ 2383091 h 4492350"/>
                <a:gd name="connsiteX20-2221" fmla="*/ 3694535 w 3694535"/>
                <a:gd name="connsiteY20-2222" fmla="*/ 1124252 h 4492350"/>
                <a:gd name="connsiteX21-2223" fmla="*/ 2222205 w 3694535"/>
                <a:gd name="connsiteY21-2224" fmla="*/ 3370521 h 4492350"/>
                <a:gd name="connsiteX22-2225" fmla="*/ 2169042 w 3694535"/>
                <a:gd name="connsiteY22-2226" fmla="*/ 3817088 h 4492350"/>
                <a:gd name="connsiteX23-2227" fmla="*/ 3317358 w 3694535"/>
                <a:gd name="connsiteY23-2228" fmla="*/ 3094074 h 4492350"/>
                <a:gd name="connsiteX24-2229" fmla="*/ 2194317 w 3694535"/>
                <a:gd name="connsiteY24-2230" fmla="*/ 4030951 h 4492350"/>
                <a:gd name="connsiteX25-2231" fmla="*/ 2232838 w 3694535"/>
                <a:gd name="connsiteY25-2232" fmla="*/ 4476307 h 4492350"/>
                <a:gd name="connsiteX26-2233" fmla="*/ 2218194 w 3694535"/>
                <a:gd name="connsiteY26-2234" fmla="*/ 4491415 h 4492350"/>
                <a:gd name="connsiteX27-2235" fmla="*/ 1743740 w 3694535"/>
                <a:gd name="connsiteY27-2236" fmla="*/ 4492350 h 4492350"/>
                <a:gd name="connsiteX0-2237" fmla="*/ 1743740 w 3694535"/>
                <a:gd name="connsiteY0-2238" fmla="*/ 4492350 h 4492350"/>
                <a:gd name="connsiteX1-2239" fmla="*/ 1796903 w 3694535"/>
                <a:gd name="connsiteY1-2240" fmla="*/ 3785190 h 4492350"/>
                <a:gd name="connsiteX2-2241" fmla="*/ 1307805 w 3694535"/>
                <a:gd name="connsiteY2-2242" fmla="*/ 3381153 h 4492350"/>
                <a:gd name="connsiteX3-2243" fmla="*/ 31898 w 3694535"/>
                <a:gd name="connsiteY3-2244" fmla="*/ 2945218 h 4492350"/>
                <a:gd name="connsiteX4-2245" fmla="*/ 1127052 w 3694535"/>
                <a:gd name="connsiteY4-2246" fmla="*/ 3242930 h 4492350"/>
                <a:gd name="connsiteX5-2247" fmla="*/ 393405 w 3694535"/>
                <a:gd name="connsiteY5-2248" fmla="*/ 2456121 h 4492350"/>
                <a:gd name="connsiteX6-2249" fmla="*/ 1775638 w 3694535"/>
                <a:gd name="connsiteY6-2250" fmla="*/ 3519376 h 4492350"/>
                <a:gd name="connsiteX7-2251" fmla="*/ 1679945 w 3694535"/>
                <a:gd name="connsiteY7-2252" fmla="*/ 2392325 h 4492350"/>
                <a:gd name="connsiteX8-2253" fmla="*/ 0 w 3694535"/>
                <a:gd name="connsiteY8-2254" fmla="*/ 754911 h 4492350"/>
                <a:gd name="connsiteX9-2255" fmla="*/ 988828 w 3694535"/>
                <a:gd name="connsiteY9-2256" fmla="*/ 1924493 h 4492350"/>
                <a:gd name="connsiteX10-2257" fmla="*/ 1137684 w 3694535"/>
                <a:gd name="connsiteY10-2258" fmla="*/ 861237 h 4492350"/>
                <a:gd name="connsiteX11-2259" fmla="*/ 1222745 w 3694535"/>
                <a:gd name="connsiteY11-2260" fmla="*/ 2062716 h 4492350"/>
                <a:gd name="connsiteX12-2261" fmla="*/ 1690577 w 3694535"/>
                <a:gd name="connsiteY12-2262" fmla="*/ 2190307 h 4492350"/>
                <a:gd name="connsiteX13-2263" fmla="*/ 1956391 w 3694535"/>
                <a:gd name="connsiteY13-2264" fmla="*/ 0 h 4492350"/>
                <a:gd name="connsiteX14-2265" fmla="*/ 2083982 w 3694535"/>
                <a:gd name="connsiteY14-2266" fmla="*/ 978195 h 4492350"/>
                <a:gd name="connsiteX15-2267" fmla="*/ 1881963 w 3694535"/>
                <a:gd name="connsiteY15-2268" fmla="*/ 2232837 h 4492350"/>
                <a:gd name="connsiteX16-2269" fmla="*/ 2057494 w 3694535"/>
                <a:gd name="connsiteY16-2270" fmla="*/ 3046321 h 4492350"/>
                <a:gd name="connsiteX17-2271" fmla="*/ 2647507 w 3694535"/>
                <a:gd name="connsiteY17-2272" fmla="*/ 2519916 h 4492350"/>
                <a:gd name="connsiteX18-2273" fmla="*/ 2913694 w 3694535"/>
                <a:gd name="connsiteY18-2274" fmla="*/ 1291762 h 4492350"/>
                <a:gd name="connsiteX19-2275" fmla="*/ 2806809 w 3694535"/>
                <a:gd name="connsiteY19-2276" fmla="*/ 2383091 h 4492350"/>
                <a:gd name="connsiteX20-2277" fmla="*/ 3694535 w 3694535"/>
                <a:gd name="connsiteY20-2278" fmla="*/ 1124252 h 4492350"/>
                <a:gd name="connsiteX21-2279" fmla="*/ 2222205 w 3694535"/>
                <a:gd name="connsiteY21-2280" fmla="*/ 3370521 h 4492350"/>
                <a:gd name="connsiteX22-2281" fmla="*/ 2169042 w 3694535"/>
                <a:gd name="connsiteY22-2282" fmla="*/ 3817088 h 4492350"/>
                <a:gd name="connsiteX23-2283" fmla="*/ 3317358 w 3694535"/>
                <a:gd name="connsiteY23-2284" fmla="*/ 3094074 h 4492350"/>
                <a:gd name="connsiteX24-2285" fmla="*/ 2194317 w 3694535"/>
                <a:gd name="connsiteY24-2286" fmla="*/ 4030951 h 4492350"/>
                <a:gd name="connsiteX25-2287" fmla="*/ 2232838 w 3694535"/>
                <a:gd name="connsiteY25-2288" fmla="*/ 4476307 h 4492350"/>
                <a:gd name="connsiteX26-2289" fmla="*/ 2218194 w 3694535"/>
                <a:gd name="connsiteY26-2290" fmla="*/ 4491415 h 4492350"/>
                <a:gd name="connsiteX27-2291" fmla="*/ 1743740 w 3694535"/>
                <a:gd name="connsiteY27-2292" fmla="*/ 4492350 h 4492350"/>
                <a:gd name="connsiteX0-2293" fmla="*/ 1743740 w 3694535"/>
                <a:gd name="connsiteY0-2294" fmla="*/ 4492350 h 4492350"/>
                <a:gd name="connsiteX1-2295" fmla="*/ 1796903 w 3694535"/>
                <a:gd name="connsiteY1-2296" fmla="*/ 3785190 h 4492350"/>
                <a:gd name="connsiteX2-2297" fmla="*/ 1307805 w 3694535"/>
                <a:gd name="connsiteY2-2298" fmla="*/ 3381153 h 4492350"/>
                <a:gd name="connsiteX3-2299" fmla="*/ 31898 w 3694535"/>
                <a:gd name="connsiteY3-2300" fmla="*/ 2945218 h 4492350"/>
                <a:gd name="connsiteX4-2301" fmla="*/ 1127052 w 3694535"/>
                <a:gd name="connsiteY4-2302" fmla="*/ 3242930 h 4492350"/>
                <a:gd name="connsiteX5-2303" fmla="*/ 393405 w 3694535"/>
                <a:gd name="connsiteY5-2304" fmla="*/ 2456121 h 4492350"/>
                <a:gd name="connsiteX6-2305" fmla="*/ 1775638 w 3694535"/>
                <a:gd name="connsiteY6-2306" fmla="*/ 3519376 h 4492350"/>
                <a:gd name="connsiteX7-2307" fmla="*/ 1679945 w 3694535"/>
                <a:gd name="connsiteY7-2308" fmla="*/ 2392325 h 4492350"/>
                <a:gd name="connsiteX8-2309" fmla="*/ 0 w 3694535"/>
                <a:gd name="connsiteY8-2310" fmla="*/ 754911 h 4492350"/>
                <a:gd name="connsiteX9-2311" fmla="*/ 988828 w 3694535"/>
                <a:gd name="connsiteY9-2312" fmla="*/ 1924493 h 4492350"/>
                <a:gd name="connsiteX10-2313" fmla="*/ 1137684 w 3694535"/>
                <a:gd name="connsiteY10-2314" fmla="*/ 861237 h 4492350"/>
                <a:gd name="connsiteX11-2315" fmla="*/ 1222745 w 3694535"/>
                <a:gd name="connsiteY11-2316" fmla="*/ 2062716 h 4492350"/>
                <a:gd name="connsiteX12-2317" fmla="*/ 1690577 w 3694535"/>
                <a:gd name="connsiteY12-2318" fmla="*/ 2190307 h 4492350"/>
                <a:gd name="connsiteX13-2319" fmla="*/ 1956391 w 3694535"/>
                <a:gd name="connsiteY13-2320" fmla="*/ 0 h 4492350"/>
                <a:gd name="connsiteX14-2321" fmla="*/ 2083982 w 3694535"/>
                <a:gd name="connsiteY14-2322" fmla="*/ 978195 h 4492350"/>
                <a:gd name="connsiteX15-2323" fmla="*/ 1881963 w 3694535"/>
                <a:gd name="connsiteY15-2324" fmla="*/ 2232837 h 4492350"/>
                <a:gd name="connsiteX16-2325" fmla="*/ 2057494 w 3694535"/>
                <a:gd name="connsiteY16-2326" fmla="*/ 3046321 h 4492350"/>
                <a:gd name="connsiteX17-2327" fmla="*/ 2647507 w 3694535"/>
                <a:gd name="connsiteY17-2328" fmla="*/ 2519916 h 4492350"/>
                <a:gd name="connsiteX18-2329" fmla="*/ 2913694 w 3694535"/>
                <a:gd name="connsiteY18-2330" fmla="*/ 1291762 h 4492350"/>
                <a:gd name="connsiteX19-2331" fmla="*/ 2806809 w 3694535"/>
                <a:gd name="connsiteY19-2332" fmla="*/ 2383091 h 4492350"/>
                <a:gd name="connsiteX20-2333" fmla="*/ 3694535 w 3694535"/>
                <a:gd name="connsiteY20-2334" fmla="*/ 1124252 h 4492350"/>
                <a:gd name="connsiteX21-2335" fmla="*/ 2222205 w 3694535"/>
                <a:gd name="connsiteY21-2336" fmla="*/ 3370521 h 4492350"/>
                <a:gd name="connsiteX22-2337" fmla="*/ 2169042 w 3694535"/>
                <a:gd name="connsiteY22-2338" fmla="*/ 3817088 h 4492350"/>
                <a:gd name="connsiteX23-2339" fmla="*/ 3317358 w 3694535"/>
                <a:gd name="connsiteY23-2340" fmla="*/ 3094074 h 4492350"/>
                <a:gd name="connsiteX24-2341" fmla="*/ 2194317 w 3694535"/>
                <a:gd name="connsiteY24-2342" fmla="*/ 4030951 h 4492350"/>
                <a:gd name="connsiteX25-2343" fmla="*/ 2232838 w 3694535"/>
                <a:gd name="connsiteY25-2344" fmla="*/ 4476307 h 4492350"/>
                <a:gd name="connsiteX26-2345" fmla="*/ 2218194 w 3694535"/>
                <a:gd name="connsiteY26-2346" fmla="*/ 4491415 h 4492350"/>
                <a:gd name="connsiteX27-2347" fmla="*/ 1743740 w 3694535"/>
                <a:gd name="connsiteY27-2348" fmla="*/ 4492350 h 4492350"/>
                <a:gd name="connsiteX0-2349" fmla="*/ 1743740 w 3694535"/>
                <a:gd name="connsiteY0-2350" fmla="*/ 4492350 h 4492350"/>
                <a:gd name="connsiteX1-2351" fmla="*/ 1796903 w 3694535"/>
                <a:gd name="connsiteY1-2352" fmla="*/ 3785190 h 4492350"/>
                <a:gd name="connsiteX2-2353" fmla="*/ 1307805 w 3694535"/>
                <a:gd name="connsiteY2-2354" fmla="*/ 3381153 h 4492350"/>
                <a:gd name="connsiteX3-2355" fmla="*/ 31898 w 3694535"/>
                <a:gd name="connsiteY3-2356" fmla="*/ 2945218 h 4492350"/>
                <a:gd name="connsiteX4-2357" fmla="*/ 1127052 w 3694535"/>
                <a:gd name="connsiteY4-2358" fmla="*/ 3242930 h 4492350"/>
                <a:gd name="connsiteX5-2359" fmla="*/ 393405 w 3694535"/>
                <a:gd name="connsiteY5-2360" fmla="*/ 2456121 h 4492350"/>
                <a:gd name="connsiteX6-2361" fmla="*/ 1775638 w 3694535"/>
                <a:gd name="connsiteY6-2362" fmla="*/ 3519376 h 4492350"/>
                <a:gd name="connsiteX7-2363" fmla="*/ 1679945 w 3694535"/>
                <a:gd name="connsiteY7-2364" fmla="*/ 2392325 h 4492350"/>
                <a:gd name="connsiteX8-2365" fmla="*/ 0 w 3694535"/>
                <a:gd name="connsiteY8-2366" fmla="*/ 754911 h 4492350"/>
                <a:gd name="connsiteX9-2367" fmla="*/ 988828 w 3694535"/>
                <a:gd name="connsiteY9-2368" fmla="*/ 1924493 h 4492350"/>
                <a:gd name="connsiteX10-2369" fmla="*/ 1137684 w 3694535"/>
                <a:gd name="connsiteY10-2370" fmla="*/ 861237 h 4492350"/>
                <a:gd name="connsiteX11-2371" fmla="*/ 1222745 w 3694535"/>
                <a:gd name="connsiteY11-2372" fmla="*/ 2062716 h 4492350"/>
                <a:gd name="connsiteX12-2373" fmla="*/ 1690577 w 3694535"/>
                <a:gd name="connsiteY12-2374" fmla="*/ 2190307 h 4492350"/>
                <a:gd name="connsiteX13-2375" fmla="*/ 1956391 w 3694535"/>
                <a:gd name="connsiteY13-2376" fmla="*/ 0 h 4492350"/>
                <a:gd name="connsiteX14-2377" fmla="*/ 2083982 w 3694535"/>
                <a:gd name="connsiteY14-2378" fmla="*/ 978195 h 4492350"/>
                <a:gd name="connsiteX15-2379" fmla="*/ 1881963 w 3694535"/>
                <a:gd name="connsiteY15-2380" fmla="*/ 2232837 h 4492350"/>
                <a:gd name="connsiteX16-2381" fmla="*/ 2057494 w 3694535"/>
                <a:gd name="connsiteY16-2382" fmla="*/ 3046321 h 4492350"/>
                <a:gd name="connsiteX17-2383" fmla="*/ 2647507 w 3694535"/>
                <a:gd name="connsiteY17-2384" fmla="*/ 2519916 h 4492350"/>
                <a:gd name="connsiteX18-2385" fmla="*/ 2913694 w 3694535"/>
                <a:gd name="connsiteY18-2386" fmla="*/ 1291762 h 4492350"/>
                <a:gd name="connsiteX19-2387" fmla="*/ 2806809 w 3694535"/>
                <a:gd name="connsiteY19-2388" fmla="*/ 2383091 h 4492350"/>
                <a:gd name="connsiteX20-2389" fmla="*/ 3694535 w 3694535"/>
                <a:gd name="connsiteY20-2390" fmla="*/ 1124252 h 4492350"/>
                <a:gd name="connsiteX21-2391" fmla="*/ 2222205 w 3694535"/>
                <a:gd name="connsiteY21-2392" fmla="*/ 3370521 h 4492350"/>
                <a:gd name="connsiteX22-2393" fmla="*/ 2169042 w 3694535"/>
                <a:gd name="connsiteY22-2394" fmla="*/ 3817088 h 4492350"/>
                <a:gd name="connsiteX23-2395" fmla="*/ 3317358 w 3694535"/>
                <a:gd name="connsiteY23-2396" fmla="*/ 3094074 h 4492350"/>
                <a:gd name="connsiteX24-2397" fmla="*/ 2194317 w 3694535"/>
                <a:gd name="connsiteY24-2398" fmla="*/ 4030951 h 4492350"/>
                <a:gd name="connsiteX25-2399" fmla="*/ 2232838 w 3694535"/>
                <a:gd name="connsiteY25-2400" fmla="*/ 4476307 h 4492350"/>
                <a:gd name="connsiteX26-2401" fmla="*/ 2218194 w 3694535"/>
                <a:gd name="connsiteY26-2402" fmla="*/ 4491415 h 4492350"/>
                <a:gd name="connsiteX27-2403" fmla="*/ 1743740 w 3694535"/>
                <a:gd name="connsiteY27-2404" fmla="*/ 4492350 h 4492350"/>
                <a:gd name="connsiteX0-2405" fmla="*/ 1743740 w 3694535"/>
                <a:gd name="connsiteY0-2406" fmla="*/ 4492350 h 4492350"/>
                <a:gd name="connsiteX1-2407" fmla="*/ 1796903 w 3694535"/>
                <a:gd name="connsiteY1-2408" fmla="*/ 3785190 h 4492350"/>
                <a:gd name="connsiteX2-2409" fmla="*/ 1307805 w 3694535"/>
                <a:gd name="connsiteY2-2410" fmla="*/ 3381153 h 4492350"/>
                <a:gd name="connsiteX3-2411" fmla="*/ 31898 w 3694535"/>
                <a:gd name="connsiteY3-2412" fmla="*/ 2945218 h 4492350"/>
                <a:gd name="connsiteX4-2413" fmla="*/ 1127052 w 3694535"/>
                <a:gd name="connsiteY4-2414" fmla="*/ 3242930 h 4492350"/>
                <a:gd name="connsiteX5-2415" fmla="*/ 393405 w 3694535"/>
                <a:gd name="connsiteY5-2416" fmla="*/ 2456121 h 4492350"/>
                <a:gd name="connsiteX6-2417" fmla="*/ 1775638 w 3694535"/>
                <a:gd name="connsiteY6-2418" fmla="*/ 3519376 h 4492350"/>
                <a:gd name="connsiteX7-2419" fmla="*/ 1679945 w 3694535"/>
                <a:gd name="connsiteY7-2420" fmla="*/ 2392325 h 4492350"/>
                <a:gd name="connsiteX8-2421" fmla="*/ 0 w 3694535"/>
                <a:gd name="connsiteY8-2422" fmla="*/ 754911 h 4492350"/>
                <a:gd name="connsiteX9-2423" fmla="*/ 988828 w 3694535"/>
                <a:gd name="connsiteY9-2424" fmla="*/ 1924493 h 4492350"/>
                <a:gd name="connsiteX10-2425" fmla="*/ 1137684 w 3694535"/>
                <a:gd name="connsiteY10-2426" fmla="*/ 861237 h 4492350"/>
                <a:gd name="connsiteX11-2427" fmla="*/ 1222745 w 3694535"/>
                <a:gd name="connsiteY11-2428" fmla="*/ 2062716 h 4492350"/>
                <a:gd name="connsiteX12-2429" fmla="*/ 1690577 w 3694535"/>
                <a:gd name="connsiteY12-2430" fmla="*/ 2190307 h 4492350"/>
                <a:gd name="connsiteX13-2431" fmla="*/ 1956391 w 3694535"/>
                <a:gd name="connsiteY13-2432" fmla="*/ 0 h 4492350"/>
                <a:gd name="connsiteX14-2433" fmla="*/ 2083982 w 3694535"/>
                <a:gd name="connsiteY14-2434" fmla="*/ 978195 h 4492350"/>
                <a:gd name="connsiteX15-2435" fmla="*/ 1881963 w 3694535"/>
                <a:gd name="connsiteY15-2436" fmla="*/ 2232837 h 4492350"/>
                <a:gd name="connsiteX16-2437" fmla="*/ 2057494 w 3694535"/>
                <a:gd name="connsiteY16-2438" fmla="*/ 3046321 h 4492350"/>
                <a:gd name="connsiteX17-2439" fmla="*/ 2647507 w 3694535"/>
                <a:gd name="connsiteY17-2440" fmla="*/ 2519916 h 4492350"/>
                <a:gd name="connsiteX18-2441" fmla="*/ 2913694 w 3694535"/>
                <a:gd name="connsiteY18-2442" fmla="*/ 1291762 h 4492350"/>
                <a:gd name="connsiteX19-2443" fmla="*/ 2806809 w 3694535"/>
                <a:gd name="connsiteY19-2444" fmla="*/ 2383091 h 4492350"/>
                <a:gd name="connsiteX20-2445" fmla="*/ 3694535 w 3694535"/>
                <a:gd name="connsiteY20-2446" fmla="*/ 1124252 h 4492350"/>
                <a:gd name="connsiteX21-2447" fmla="*/ 2222205 w 3694535"/>
                <a:gd name="connsiteY21-2448" fmla="*/ 3370521 h 4492350"/>
                <a:gd name="connsiteX22-2449" fmla="*/ 2169042 w 3694535"/>
                <a:gd name="connsiteY22-2450" fmla="*/ 3817088 h 4492350"/>
                <a:gd name="connsiteX23-2451" fmla="*/ 3317358 w 3694535"/>
                <a:gd name="connsiteY23-2452" fmla="*/ 3094074 h 4492350"/>
                <a:gd name="connsiteX24-2453" fmla="*/ 2194317 w 3694535"/>
                <a:gd name="connsiteY24-2454" fmla="*/ 4030951 h 4492350"/>
                <a:gd name="connsiteX25-2455" fmla="*/ 2232838 w 3694535"/>
                <a:gd name="connsiteY25-2456" fmla="*/ 4476307 h 4492350"/>
                <a:gd name="connsiteX26-2457" fmla="*/ 2218194 w 3694535"/>
                <a:gd name="connsiteY26-2458" fmla="*/ 4491415 h 4492350"/>
                <a:gd name="connsiteX27-2459" fmla="*/ 1743740 w 3694535"/>
                <a:gd name="connsiteY27-2460" fmla="*/ 4492350 h 4492350"/>
                <a:gd name="connsiteX0-2461" fmla="*/ 1743740 w 3694535"/>
                <a:gd name="connsiteY0-2462" fmla="*/ 4492350 h 4492350"/>
                <a:gd name="connsiteX1-2463" fmla="*/ 1796903 w 3694535"/>
                <a:gd name="connsiteY1-2464" fmla="*/ 3785190 h 4492350"/>
                <a:gd name="connsiteX2-2465" fmla="*/ 1307805 w 3694535"/>
                <a:gd name="connsiteY2-2466" fmla="*/ 3381153 h 4492350"/>
                <a:gd name="connsiteX3-2467" fmla="*/ 31898 w 3694535"/>
                <a:gd name="connsiteY3-2468" fmla="*/ 2945218 h 4492350"/>
                <a:gd name="connsiteX4-2469" fmla="*/ 1127052 w 3694535"/>
                <a:gd name="connsiteY4-2470" fmla="*/ 3242930 h 4492350"/>
                <a:gd name="connsiteX5-2471" fmla="*/ 393405 w 3694535"/>
                <a:gd name="connsiteY5-2472" fmla="*/ 2456121 h 4492350"/>
                <a:gd name="connsiteX6-2473" fmla="*/ 1775638 w 3694535"/>
                <a:gd name="connsiteY6-2474" fmla="*/ 3519376 h 4492350"/>
                <a:gd name="connsiteX7-2475" fmla="*/ 1679945 w 3694535"/>
                <a:gd name="connsiteY7-2476" fmla="*/ 2392325 h 4492350"/>
                <a:gd name="connsiteX8-2477" fmla="*/ 0 w 3694535"/>
                <a:gd name="connsiteY8-2478" fmla="*/ 754911 h 4492350"/>
                <a:gd name="connsiteX9-2479" fmla="*/ 988828 w 3694535"/>
                <a:gd name="connsiteY9-2480" fmla="*/ 1924493 h 4492350"/>
                <a:gd name="connsiteX10-2481" fmla="*/ 1137684 w 3694535"/>
                <a:gd name="connsiteY10-2482" fmla="*/ 861237 h 4492350"/>
                <a:gd name="connsiteX11-2483" fmla="*/ 1222745 w 3694535"/>
                <a:gd name="connsiteY11-2484" fmla="*/ 2062716 h 4492350"/>
                <a:gd name="connsiteX12-2485" fmla="*/ 1690577 w 3694535"/>
                <a:gd name="connsiteY12-2486" fmla="*/ 2190307 h 4492350"/>
                <a:gd name="connsiteX13-2487" fmla="*/ 1956391 w 3694535"/>
                <a:gd name="connsiteY13-2488" fmla="*/ 0 h 4492350"/>
                <a:gd name="connsiteX14-2489" fmla="*/ 2083982 w 3694535"/>
                <a:gd name="connsiteY14-2490" fmla="*/ 978195 h 4492350"/>
                <a:gd name="connsiteX15-2491" fmla="*/ 1881963 w 3694535"/>
                <a:gd name="connsiteY15-2492" fmla="*/ 2232837 h 4492350"/>
                <a:gd name="connsiteX16-2493" fmla="*/ 2057494 w 3694535"/>
                <a:gd name="connsiteY16-2494" fmla="*/ 3046321 h 4492350"/>
                <a:gd name="connsiteX17-2495" fmla="*/ 2647507 w 3694535"/>
                <a:gd name="connsiteY17-2496" fmla="*/ 2519916 h 4492350"/>
                <a:gd name="connsiteX18-2497" fmla="*/ 2913694 w 3694535"/>
                <a:gd name="connsiteY18-2498" fmla="*/ 1291762 h 4492350"/>
                <a:gd name="connsiteX19-2499" fmla="*/ 2806809 w 3694535"/>
                <a:gd name="connsiteY19-2500" fmla="*/ 2383091 h 4492350"/>
                <a:gd name="connsiteX20-2501" fmla="*/ 3694535 w 3694535"/>
                <a:gd name="connsiteY20-2502" fmla="*/ 1124252 h 4492350"/>
                <a:gd name="connsiteX21-2503" fmla="*/ 2222205 w 3694535"/>
                <a:gd name="connsiteY21-2504" fmla="*/ 3370521 h 4492350"/>
                <a:gd name="connsiteX22-2505" fmla="*/ 2169042 w 3694535"/>
                <a:gd name="connsiteY22-2506" fmla="*/ 3817088 h 4492350"/>
                <a:gd name="connsiteX23-2507" fmla="*/ 3317358 w 3694535"/>
                <a:gd name="connsiteY23-2508" fmla="*/ 3094074 h 4492350"/>
                <a:gd name="connsiteX24-2509" fmla="*/ 2194317 w 3694535"/>
                <a:gd name="connsiteY24-2510" fmla="*/ 4030951 h 4492350"/>
                <a:gd name="connsiteX25-2511" fmla="*/ 2232838 w 3694535"/>
                <a:gd name="connsiteY25-2512" fmla="*/ 4476307 h 4492350"/>
                <a:gd name="connsiteX26-2513" fmla="*/ 2218194 w 3694535"/>
                <a:gd name="connsiteY26-2514" fmla="*/ 4491415 h 4492350"/>
                <a:gd name="connsiteX27-2515" fmla="*/ 1743740 w 3694535"/>
                <a:gd name="connsiteY27-2516" fmla="*/ 4492350 h 4492350"/>
                <a:gd name="connsiteX0-2517" fmla="*/ 1743740 w 3694535"/>
                <a:gd name="connsiteY0-2518" fmla="*/ 4492350 h 4492350"/>
                <a:gd name="connsiteX1-2519" fmla="*/ 1796903 w 3694535"/>
                <a:gd name="connsiteY1-2520" fmla="*/ 3785190 h 4492350"/>
                <a:gd name="connsiteX2-2521" fmla="*/ 1307805 w 3694535"/>
                <a:gd name="connsiteY2-2522" fmla="*/ 3381153 h 4492350"/>
                <a:gd name="connsiteX3-2523" fmla="*/ 31898 w 3694535"/>
                <a:gd name="connsiteY3-2524" fmla="*/ 2945218 h 4492350"/>
                <a:gd name="connsiteX4-2525" fmla="*/ 1127052 w 3694535"/>
                <a:gd name="connsiteY4-2526" fmla="*/ 3242930 h 4492350"/>
                <a:gd name="connsiteX5-2527" fmla="*/ 393405 w 3694535"/>
                <a:gd name="connsiteY5-2528" fmla="*/ 2456121 h 4492350"/>
                <a:gd name="connsiteX6-2529" fmla="*/ 1775638 w 3694535"/>
                <a:gd name="connsiteY6-2530" fmla="*/ 3519376 h 4492350"/>
                <a:gd name="connsiteX7-2531" fmla="*/ 1679945 w 3694535"/>
                <a:gd name="connsiteY7-2532" fmla="*/ 2392325 h 4492350"/>
                <a:gd name="connsiteX8-2533" fmla="*/ 0 w 3694535"/>
                <a:gd name="connsiteY8-2534" fmla="*/ 754911 h 4492350"/>
                <a:gd name="connsiteX9-2535" fmla="*/ 988828 w 3694535"/>
                <a:gd name="connsiteY9-2536" fmla="*/ 1924493 h 4492350"/>
                <a:gd name="connsiteX10-2537" fmla="*/ 1137684 w 3694535"/>
                <a:gd name="connsiteY10-2538" fmla="*/ 861237 h 4492350"/>
                <a:gd name="connsiteX11-2539" fmla="*/ 1222745 w 3694535"/>
                <a:gd name="connsiteY11-2540" fmla="*/ 2062716 h 4492350"/>
                <a:gd name="connsiteX12-2541" fmla="*/ 1690577 w 3694535"/>
                <a:gd name="connsiteY12-2542" fmla="*/ 2190307 h 4492350"/>
                <a:gd name="connsiteX13-2543" fmla="*/ 1956391 w 3694535"/>
                <a:gd name="connsiteY13-2544" fmla="*/ 0 h 4492350"/>
                <a:gd name="connsiteX14-2545" fmla="*/ 2083982 w 3694535"/>
                <a:gd name="connsiteY14-2546" fmla="*/ 978195 h 4492350"/>
                <a:gd name="connsiteX15-2547" fmla="*/ 1881963 w 3694535"/>
                <a:gd name="connsiteY15-2548" fmla="*/ 2232837 h 4492350"/>
                <a:gd name="connsiteX16-2549" fmla="*/ 2057494 w 3694535"/>
                <a:gd name="connsiteY16-2550" fmla="*/ 3046321 h 4492350"/>
                <a:gd name="connsiteX17-2551" fmla="*/ 2647507 w 3694535"/>
                <a:gd name="connsiteY17-2552" fmla="*/ 2519916 h 4492350"/>
                <a:gd name="connsiteX18-2553" fmla="*/ 2913694 w 3694535"/>
                <a:gd name="connsiteY18-2554" fmla="*/ 1291762 h 4492350"/>
                <a:gd name="connsiteX19-2555" fmla="*/ 2806809 w 3694535"/>
                <a:gd name="connsiteY19-2556" fmla="*/ 2383091 h 4492350"/>
                <a:gd name="connsiteX20-2557" fmla="*/ 3694535 w 3694535"/>
                <a:gd name="connsiteY20-2558" fmla="*/ 1124252 h 4492350"/>
                <a:gd name="connsiteX21-2559" fmla="*/ 2222205 w 3694535"/>
                <a:gd name="connsiteY21-2560" fmla="*/ 3370521 h 4492350"/>
                <a:gd name="connsiteX22-2561" fmla="*/ 2169042 w 3694535"/>
                <a:gd name="connsiteY22-2562" fmla="*/ 3817088 h 4492350"/>
                <a:gd name="connsiteX23-2563" fmla="*/ 3317358 w 3694535"/>
                <a:gd name="connsiteY23-2564" fmla="*/ 3094074 h 4492350"/>
                <a:gd name="connsiteX24-2565" fmla="*/ 2194317 w 3694535"/>
                <a:gd name="connsiteY24-2566" fmla="*/ 4030951 h 4492350"/>
                <a:gd name="connsiteX25-2567" fmla="*/ 2232838 w 3694535"/>
                <a:gd name="connsiteY25-2568" fmla="*/ 4476307 h 4492350"/>
                <a:gd name="connsiteX26-2569" fmla="*/ 2218194 w 3694535"/>
                <a:gd name="connsiteY26-2570" fmla="*/ 4491415 h 4492350"/>
                <a:gd name="connsiteX27-2571" fmla="*/ 1743740 w 3694535"/>
                <a:gd name="connsiteY27-2572" fmla="*/ 4492350 h 4492350"/>
                <a:gd name="connsiteX0-2573" fmla="*/ 1743740 w 3694535"/>
                <a:gd name="connsiteY0-2574" fmla="*/ 4492350 h 4492350"/>
                <a:gd name="connsiteX1-2575" fmla="*/ 1796903 w 3694535"/>
                <a:gd name="connsiteY1-2576" fmla="*/ 3785190 h 4492350"/>
                <a:gd name="connsiteX2-2577" fmla="*/ 1307805 w 3694535"/>
                <a:gd name="connsiteY2-2578" fmla="*/ 3381153 h 4492350"/>
                <a:gd name="connsiteX3-2579" fmla="*/ 31898 w 3694535"/>
                <a:gd name="connsiteY3-2580" fmla="*/ 2945218 h 4492350"/>
                <a:gd name="connsiteX4-2581" fmla="*/ 1127052 w 3694535"/>
                <a:gd name="connsiteY4-2582" fmla="*/ 3242930 h 4492350"/>
                <a:gd name="connsiteX5-2583" fmla="*/ 393405 w 3694535"/>
                <a:gd name="connsiteY5-2584" fmla="*/ 2456121 h 4492350"/>
                <a:gd name="connsiteX6-2585" fmla="*/ 1775638 w 3694535"/>
                <a:gd name="connsiteY6-2586" fmla="*/ 3519376 h 4492350"/>
                <a:gd name="connsiteX7-2587" fmla="*/ 1679945 w 3694535"/>
                <a:gd name="connsiteY7-2588" fmla="*/ 2392325 h 4492350"/>
                <a:gd name="connsiteX8-2589" fmla="*/ 0 w 3694535"/>
                <a:gd name="connsiteY8-2590" fmla="*/ 754911 h 4492350"/>
                <a:gd name="connsiteX9-2591" fmla="*/ 988828 w 3694535"/>
                <a:gd name="connsiteY9-2592" fmla="*/ 1924493 h 4492350"/>
                <a:gd name="connsiteX10-2593" fmla="*/ 1137684 w 3694535"/>
                <a:gd name="connsiteY10-2594" fmla="*/ 861237 h 4492350"/>
                <a:gd name="connsiteX11-2595" fmla="*/ 1222745 w 3694535"/>
                <a:gd name="connsiteY11-2596" fmla="*/ 2062716 h 4492350"/>
                <a:gd name="connsiteX12-2597" fmla="*/ 1690577 w 3694535"/>
                <a:gd name="connsiteY12-2598" fmla="*/ 2190307 h 4492350"/>
                <a:gd name="connsiteX13-2599" fmla="*/ 1956391 w 3694535"/>
                <a:gd name="connsiteY13-2600" fmla="*/ 0 h 4492350"/>
                <a:gd name="connsiteX14-2601" fmla="*/ 2083982 w 3694535"/>
                <a:gd name="connsiteY14-2602" fmla="*/ 978195 h 4492350"/>
                <a:gd name="connsiteX15-2603" fmla="*/ 1881963 w 3694535"/>
                <a:gd name="connsiteY15-2604" fmla="*/ 2232837 h 4492350"/>
                <a:gd name="connsiteX16-2605" fmla="*/ 2057494 w 3694535"/>
                <a:gd name="connsiteY16-2606" fmla="*/ 3046321 h 4492350"/>
                <a:gd name="connsiteX17-2607" fmla="*/ 2647507 w 3694535"/>
                <a:gd name="connsiteY17-2608" fmla="*/ 2519916 h 4492350"/>
                <a:gd name="connsiteX18-2609" fmla="*/ 2913694 w 3694535"/>
                <a:gd name="connsiteY18-2610" fmla="*/ 1291762 h 4492350"/>
                <a:gd name="connsiteX19-2611" fmla="*/ 2806809 w 3694535"/>
                <a:gd name="connsiteY19-2612" fmla="*/ 2383091 h 4492350"/>
                <a:gd name="connsiteX20-2613" fmla="*/ 3694535 w 3694535"/>
                <a:gd name="connsiteY20-2614" fmla="*/ 1124252 h 4492350"/>
                <a:gd name="connsiteX21-2615" fmla="*/ 2222205 w 3694535"/>
                <a:gd name="connsiteY21-2616" fmla="*/ 3370521 h 4492350"/>
                <a:gd name="connsiteX22-2617" fmla="*/ 2169042 w 3694535"/>
                <a:gd name="connsiteY22-2618" fmla="*/ 3817088 h 4492350"/>
                <a:gd name="connsiteX23-2619" fmla="*/ 3317358 w 3694535"/>
                <a:gd name="connsiteY23-2620" fmla="*/ 3094074 h 4492350"/>
                <a:gd name="connsiteX24-2621" fmla="*/ 2194317 w 3694535"/>
                <a:gd name="connsiteY24-2622" fmla="*/ 4030951 h 4492350"/>
                <a:gd name="connsiteX25-2623" fmla="*/ 2232838 w 3694535"/>
                <a:gd name="connsiteY25-2624" fmla="*/ 4476307 h 4492350"/>
                <a:gd name="connsiteX26-2625" fmla="*/ 2218194 w 3694535"/>
                <a:gd name="connsiteY26-2626" fmla="*/ 4491415 h 4492350"/>
                <a:gd name="connsiteX27-2627" fmla="*/ 1743740 w 3694535"/>
                <a:gd name="connsiteY27-2628" fmla="*/ 4492350 h 4492350"/>
                <a:gd name="connsiteX0-2629" fmla="*/ 1743740 w 3694535"/>
                <a:gd name="connsiteY0-2630" fmla="*/ 4492350 h 4492350"/>
                <a:gd name="connsiteX1-2631" fmla="*/ 1796903 w 3694535"/>
                <a:gd name="connsiteY1-2632" fmla="*/ 3785190 h 4492350"/>
                <a:gd name="connsiteX2-2633" fmla="*/ 1307805 w 3694535"/>
                <a:gd name="connsiteY2-2634" fmla="*/ 3381153 h 4492350"/>
                <a:gd name="connsiteX3-2635" fmla="*/ 31898 w 3694535"/>
                <a:gd name="connsiteY3-2636" fmla="*/ 2945218 h 4492350"/>
                <a:gd name="connsiteX4-2637" fmla="*/ 1127052 w 3694535"/>
                <a:gd name="connsiteY4-2638" fmla="*/ 3242930 h 4492350"/>
                <a:gd name="connsiteX5-2639" fmla="*/ 393405 w 3694535"/>
                <a:gd name="connsiteY5-2640" fmla="*/ 2456121 h 4492350"/>
                <a:gd name="connsiteX6-2641" fmla="*/ 1775638 w 3694535"/>
                <a:gd name="connsiteY6-2642" fmla="*/ 3519376 h 4492350"/>
                <a:gd name="connsiteX7-2643" fmla="*/ 1679945 w 3694535"/>
                <a:gd name="connsiteY7-2644" fmla="*/ 2392325 h 4492350"/>
                <a:gd name="connsiteX8-2645" fmla="*/ 0 w 3694535"/>
                <a:gd name="connsiteY8-2646" fmla="*/ 754911 h 4492350"/>
                <a:gd name="connsiteX9-2647" fmla="*/ 988828 w 3694535"/>
                <a:gd name="connsiteY9-2648" fmla="*/ 1924493 h 4492350"/>
                <a:gd name="connsiteX10-2649" fmla="*/ 1137684 w 3694535"/>
                <a:gd name="connsiteY10-2650" fmla="*/ 861237 h 4492350"/>
                <a:gd name="connsiteX11-2651" fmla="*/ 1222745 w 3694535"/>
                <a:gd name="connsiteY11-2652" fmla="*/ 2062716 h 4492350"/>
                <a:gd name="connsiteX12-2653" fmla="*/ 1690577 w 3694535"/>
                <a:gd name="connsiteY12-2654" fmla="*/ 2190307 h 4492350"/>
                <a:gd name="connsiteX13-2655" fmla="*/ 1956391 w 3694535"/>
                <a:gd name="connsiteY13-2656" fmla="*/ 0 h 4492350"/>
                <a:gd name="connsiteX14-2657" fmla="*/ 2083982 w 3694535"/>
                <a:gd name="connsiteY14-2658" fmla="*/ 978195 h 4492350"/>
                <a:gd name="connsiteX15-2659" fmla="*/ 1881963 w 3694535"/>
                <a:gd name="connsiteY15-2660" fmla="*/ 2232837 h 4492350"/>
                <a:gd name="connsiteX16-2661" fmla="*/ 2057494 w 3694535"/>
                <a:gd name="connsiteY16-2662" fmla="*/ 3046321 h 4492350"/>
                <a:gd name="connsiteX17-2663" fmla="*/ 2647507 w 3694535"/>
                <a:gd name="connsiteY17-2664" fmla="*/ 2519916 h 4492350"/>
                <a:gd name="connsiteX18-2665" fmla="*/ 2913694 w 3694535"/>
                <a:gd name="connsiteY18-2666" fmla="*/ 1291762 h 4492350"/>
                <a:gd name="connsiteX19-2667" fmla="*/ 2806809 w 3694535"/>
                <a:gd name="connsiteY19-2668" fmla="*/ 2383091 h 4492350"/>
                <a:gd name="connsiteX20-2669" fmla="*/ 3694535 w 3694535"/>
                <a:gd name="connsiteY20-2670" fmla="*/ 1124252 h 4492350"/>
                <a:gd name="connsiteX21-2671" fmla="*/ 2222205 w 3694535"/>
                <a:gd name="connsiteY21-2672" fmla="*/ 3370521 h 4492350"/>
                <a:gd name="connsiteX22-2673" fmla="*/ 2169042 w 3694535"/>
                <a:gd name="connsiteY22-2674" fmla="*/ 3817088 h 4492350"/>
                <a:gd name="connsiteX23-2675" fmla="*/ 3317358 w 3694535"/>
                <a:gd name="connsiteY23-2676" fmla="*/ 3094074 h 4492350"/>
                <a:gd name="connsiteX24-2677" fmla="*/ 2194317 w 3694535"/>
                <a:gd name="connsiteY24-2678" fmla="*/ 4030951 h 4492350"/>
                <a:gd name="connsiteX25-2679" fmla="*/ 2232838 w 3694535"/>
                <a:gd name="connsiteY25-2680" fmla="*/ 4476307 h 4492350"/>
                <a:gd name="connsiteX26-2681" fmla="*/ 2218194 w 3694535"/>
                <a:gd name="connsiteY26-2682" fmla="*/ 4491415 h 4492350"/>
                <a:gd name="connsiteX27-2683" fmla="*/ 1743740 w 3694535"/>
                <a:gd name="connsiteY27-2684" fmla="*/ 4492350 h 4492350"/>
                <a:gd name="connsiteX0-2685" fmla="*/ 1743740 w 3694535"/>
                <a:gd name="connsiteY0-2686" fmla="*/ 4492350 h 4492350"/>
                <a:gd name="connsiteX1-2687" fmla="*/ 1796903 w 3694535"/>
                <a:gd name="connsiteY1-2688" fmla="*/ 3785190 h 4492350"/>
                <a:gd name="connsiteX2-2689" fmla="*/ 1307805 w 3694535"/>
                <a:gd name="connsiteY2-2690" fmla="*/ 3381153 h 4492350"/>
                <a:gd name="connsiteX3-2691" fmla="*/ 31898 w 3694535"/>
                <a:gd name="connsiteY3-2692" fmla="*/ 2945218 h 4492350"/>
                <a:gd name="connsiteX4-2693" fmla="*/ 1127052 w 3694535"/>
                <a:gd name="connsiteY4-2694" fmla="*/ 3242930 h 4492350"/>
                <a:gd name="connsiteX5-2695" fmla="*/ 393405 w 3694535"/>
                <a:gd name="connsiteY5-2696" fmla="*/ 2456121 h 4492350"/>
                <a:gd name="connsiteX6-2697" fmla="*/ 1775638 w 3694535"/>
                <a:gd name="connsiteY6-2698" fmla="*/ 3519376 h 4492350"/>
                <a:gd name="connsiteX7-2699" fmla="*/ 1679945 w 3694535"/>
                <a:gd name="connsiteY7-2700" fmla="*/ 2392325 h 4492350"/>
                <a:gd name="connsiteX8-2701" fmla="*/ 0 w 3694535"/>
                <a:gd name="connsiteY8-2702" fmla="*/ 754911 h 4492350"/>
                <a:gd name="connsiteX9-2703" fmla="*/ 988828 w 3694535"/>
                <a:gd name="connsiteY9-2704" fmla="*/ 1924493 h 4492350"/>
                <a:gd name="connsiteX10-2705" fmla="*/ 1137684 w 3694535"/>
                <a:gd name="connsiteY10-2706" fmla="*/ 861237 h 4492350"/>
                <a:gd name="connsiteX11-2707" fmla="*/ 1222745 w 3694535"/>
                <a:gd name="connsiteY11-2708" fmla="*/ 2062716 h 4492350"/>
                <a:gd name="connsiteX12-2709" fmla="*/ 1690577 w 3694535"/>
                <a:gd name="connsiteY12-2710" fmla="*/ 2190307 h 4492350"/>
                <a:gd name="connsiteX13-2711" fmla="*/ 1956391 w 3694535"/>
                <a:gd name="connsiteY13-2712" fmla="*/ 0 h 4492350"/>
                <a:gd name="connsiteX14-2713" fmla="*/ 2083982 w 3694535"/>
                <a:gd name="connsiteY14-2714" fmla="*/ 978195 h 4492350"/>
                <a:gd name="connsiteX15-2715" fmla="*/ 1881963 w 3694535"/>
                <a:gd name="connsiteY15-2716" fmla="*/ 2232837 h 4492350"/>
                <a:gd name="connsiteX16-2717" fmla="*/ 2057494 w 3694535"/>
                <a:gd name="connsiteY16-2718" fmla="*/ 3046321 h 4492350"/>
                <a:gd name="connsiteX17-2719" fmla="*/ 2647507 w 3694535"/>
                <a:gd name="connsiteY17-2720" fmla="*/ 2519916 h 4492350"/>
                <a:gd name="connsiteX18-2721" fmla="*/ 2913694 w 3694535"/>
                <a:gd name="connsiteY18-2722" fmla="*/ 1291762 h 4492350"/>
                <a:gd name="connsiteX19-2723" fmla="*/ 2806809 w 3694535"/>
                <a:gd name="connsiteY19-2724" fmla="*/ 2383091 h 4492350"/>
                <a:gd name="connsiteX20-2725" fmla="*/ 3694535 w 3694535"/>
                <a:gd name="connsiteY20-2726" fmla="*/ 1124252 h 4492350"/>
                <a:gd name="connsiteX21-2727" fmla="*/ 2222205 w 3694535"/>
                <a:gd name="connsiteY21-2728" fmla="*/ 3370521 h 4492350"/>
                <a:gd name="connsiteX22-2729" fmla="*/ 2169042 w 3694535"/>
                <a:gd name="connsiteY22-2730" fmla="*/ 3817088 h 4492350"/>
                <a:gd name="connsiteX23-2731" fmla="*/ 3317358 w 3694535"/>
                <a:gd name="connsiteY23-2732" fmla="*/ 3094074 h 4492350"/>
                <a:gd name="connsiteX24-2733" fmla="*/ 2194317 w 3694535"/>
                <a:gd name="connsiteY24-2734" fmla="*/ 4030951 h 4492350"/>
                <a:gd name="connsiteX25-2735" fmla="*/ 2232838 w 3694535"/>
                <a:gd name="connsiteY25-2736" fmla="*/ 4476307 h 4492350"/>
                <a:gd name="connsiteX26-2737" fmla="*/ 2218194 w 3694535"/>
                <a:gd name="connsiteY26-2738" fmla="*/ 4491415 h 4492350"/>
                <a:gd name="connsiteX27-2739" fmla="*/ 1743740 w 3694535"/>
                <a:gd name="connsiteY27-2740" fmla="*/ 4492350 h 4492350"/>
                <a:gd name="connsiteX0-2741" fmla="*/ 1743740 w 3694535"/>
                <a:gd name="connsiteY0-2742" fmla="*/ 4492350 h 4492350"/>
                <a:gd name="connsiteX1-2743" fmla="*/ 1796903 w 3694535"/>
                <a:gd name="connsiteY1-2744" fmla="*/ 3785190 h 4492350"/>
                <a:gd name="connsiteX2-2745" fmla="*/ 1307805 w 3694535"/>
                <a:gd name="connsiteY2-2746" fmla="*/ 3381153 h 4492350"/>
                <a:gd name="connsiteX3-2747" fmla="*/ 31898 w 3694535"/>
                <a:gd name="connsiteY3-2748" fmla="*/ 2945218 h 4492350"/>
                <a:gd name="connsiteX4-2749" fmla="*/ 1127052 w 3694535"/>
                <a:gd name="connsiteY4-2750" fmla="*/ 3242930 h 4492350"/>
                <a:gd name="connsiteX5-2751" fmla="*/ 393405 w 3694535"/>
                <a:gd name="connsiteY5-2752" fmla="*/ 2456121 h 4492350"/>
                <a:gd name="connsiteX6-2753" fmla="*/ 1775638 w 3694535"/>
                <a:gd name="connsiteY6-2754" fmla="*/ 3519376 h 4492350"/>
                <a:gd name="connsiteX7-2755" fmla="*/ 1679945 w 3694535"/>
                <a:gd name="connsiteY7-2756" fmla="*/ 2392325 h 4492350"/>
                <a:gd name="connsiteX8-2757" fmla="*/ 0 w 3694535"/>
                <a:gd name="connsiteY8-2758" fmla="*/ 754911 h 4492350"/>
                <a:gd name="connsiteX9-2759" fmla="*/ 988828 w 3694535"/>
                <a:gd name="connsiteY9-2760" fmla="*/ 1924493 h 4492350"/>
                <a:gd name="connsiteX10-2761" fmla="*/ 1137684 w 3694535"/>
                <a:gd name="connsiteY10-2762" fmla="*/ 861237 h 4492350"/>
                <a:gd name="connsiteX11-2763" fmla="*/ 1222745 w 3694535"/>
                <a:gd name="connsiteY11-2764" fmla="*/ 2062716 h 4492350"/>
                <a:gd name="connsiteX12-2765" fmla="*/ 1690577 w 3694535"/>
                <a:gd name="connsiteY12-2766" fmla="*/ 2190307 h 4492350"/>
                <a:gd name="connsiteX13-2767" fmla="*/ 1956391 w 3694535"/>
                <a:gd name="connsiteY13-2768" fmla="*/ 0 h 4492350"/>
                <a:gd name="connsiteX14-2769" fmla="*/ 2027834 w 3694535"/>
                <a:gd name="connsiteY14-2770" fmla="*/ 986216 h 4492350"/>
                <a:gd name="connsiteX15-2771" fmla="*/ 1881963 w 3694535"/>
                <a:gd name="connsiteY15-2772" fmla="*/ 2232837 h 4492350"/>
                <a:gd name="connsiteX16-2773" fmla="*/ 2057494 w 3694535"/>
                <a:gd name="connsiteY16-2774" fmla="*/ 3046321 h 4492350"/>
                <a:gd name="connsiteX17-2775" fmla="*/ 2647507 w 3694535"/>
                <a:gd name="connsiteY17-2776" fmla="*/ 2519916 h 4492350"/>
                <a:gd name="connsiteX18-2777" fmla="*/ 2913694 w 3694535"/>
                <a:gd name="connsiteY18-2778" fmla="*/ 1291762 h 4492350"/>
                <a:gd name="connsiteX19-2779" fmla="*/ 2806809 w 3694535"/>
                <a:gd name="connsiteY19-2780" fmla="*/ 2383091 h 4492350"/>
                <a:gd name="connsiteX20-2781" fmla="*/ 3694535 w 3694535"/>
                <a:gd name="connsiteY20-2782" fmla="*/ 1124252 h 4492350"/>
                <a:gd name="connsiteX21-2783" fmla="*/ 2222205 w 3694535"/>
                <a:gd name="connsiteY21-2784" fmla="*/ 3370521 h 4492350"/>
                <a:gd name="connsiteX22-2785" fmla="*/ 2169042 w 3694535"/>
                <a:gd name="connsiteY22-2786" fmla="*/ 3817088 h 4492350"/>
                <a:gd name="connsiteX23-2787" fmla="*/ 3317358 w 3694535"/>
                <a:gd name="connsiteY23-2788" fmla="*/ 3094074 h 4492350"/>
                <a:gd name="connsiteX24-2789" fmla="*/ 2194317 w 3694535"/>
                <a:gd name="connsiteY24-2790" fmla="*/ 4030951 h 4492350"/>
                <a:gd name="connsiteX25-2791" fmla="*/ 2232838 w 3694535"/>
                <a:gd name="connsiteY25-2792" fmla="*/ 4476307 h 4492350"/>
                <a:gd name="connsiteX26-2793" fmla="*/ 2218194 w 3694535"/>
                <a:gd name="connsiteY26-2794" fmla="*/ 4491415 h 4492350"/>
                <a:gd name="connsiteX27-2795" fmla="*/ 1743740 w 3694535"/>
                <a:gd name="connsiteY27-2796" fmla="*/ 4492350 h 4492350"/>
                <a:gd name="connsiteX0-2797" fmla="*/ 1743740 w 3694535"/>
                <a:gd name="connsiteY0-2798" fmla="*/ 4492350 h 4492350"/>
                <a:gd name="connsiteX1-2799" fmla="*/ 1796903 w 3694535"/>
                <a:gd name="connsiteY1-2800" fmla="*/ 3785190 h 4492350"/>
                <a:gd name="connsiteX2-2801" fmla="*/ 1307805 w 3694535"/>
                <a:gd name="connsiteY2-2802" fmla="*/ 3381153 h 4492350"/>
                <a:gd name="connsiteX3-2803" fmla="*/ 31898 w 3694535"/>
                <a:gd name="connsiteY3-2804" fmla="*/ 2945218 h 4492350"/>
                <a:gd name="connsiteX4-2805" fmla="*/ 1127052 w 3694535"/>
                <a:gd name="connsiteY4-2806" fmla="*/ 3242930 h 4492350"/>
                <a:gd name="connsiteX5-2807" fmla="*/ 393405 w 3694535"/>
                <a:gd name="connsiteY5-2808" fmla="*/ 2456121 h 4492350"/>
                <a:gd name="connsiteX6-2809" fmla="*/ 1775638 w 3694535"/>
                <a:gd name="connsiteY6-2810" fmla="*/ 3519376 h 4492350"/>
                <a:gd name="connsiteX7-2811" fmla="*/ 1679945 w 3694535"/>
                <a:gd name="connsiteY7-2812" fmla="*/ 2392325 h 4492350"/>
                <a:gd name="connsiteX8-2813" fmla="*/ 0 w 3694535"/>
                <a:gd name="connsiteY8-2814" fmla="*/ 754911 h 4492350"/>
                <a:gd name="connsiteX9-2815" fmla="*/ 988828 w 3694535"/>
                <a:gd name="connsiteY9-2816" fmla="*/ 1924493 h 4492350"/>
                <a:gd name="connsiteX10-2817" fmla="*/ 1137684 w 3694535"/>
                <a:gd name="connsiteY10-2818" fmla="*/ 861237 h 4492350"/>
                <a:gd name="connsiteX11-2819" fmla="*/ 1222745 w 3694535"/>
                <a:gd name="connsiteY11-2820" fmla="*/ 2062716 h 4492350"/>
                <a:gd name="connsiteX12-2821" fmla="*/ 1690577 w 3694535"/>
                <a:gd name="connsiteY12-2822" fmla="*/ 2190307 h 4492350"/>
                <a:gd name="connsiteX13-2823" fmla="*/ 1956391 w 3694535"/>
                <a:gd name="connsiteY13-2824" fmla="*/ 0 h 4492350"/>
                <a:gd name="connsiteX14-2825" fmla="*/ 2027834 w 3694535"/>
                <a:gd name="connsiteY14-2826" fmla="*/ 986216 h 4492350"/>
                <a:gd name="connsiteX15-2827" fmla="*/ 1881963 w 3694535"/>
                <a:gd name="connsiteY15-2828" fmla="*/ 2232837 h 4492350"/>
                <a:gd name="connsiteX16-2829" fmla="*/ 2057494 w 3694535"/>
                <a:gd name="connsiteY16-2830" fmla="*/ 3046321 h 4492350"/>
                <a:gd name="connsiteX17-2831" fmla="*/ 2647507 w 3694535"/>
                <a:gd name="connsiteY17-2832" fmla="*/ 2519916 h 4492350"/>
                <a:gd name="connsiteX18-2833" fmla="*/ 2913694 w 3694535"/>
                <a:gd name="connsiteY18-2834" fmla="*/ 1291762 h 4492350"/>
                <a:gd name="connsiteX19-2835" fmla="*/ 2806809 w 3694535"/>
                <a:gd name="connsiteY19-2836" fmla="*/ 2383091 h 4492350"/>
                <a:gd name="connsiteX20-2837" fmla="*/ 3694535 w 3694535"/>
                <a:gd name="connsiteY20-2838" fmla="*/ 1124252 h 4492350"/>
                <a:gd name="connsiteX21-2839" fmla="*/ 2222205 w 3694535"/>
                <a:gd name="connsiteY21-2840" fmla="*/ 3370521 h 4492350"/>
                <a:gd name="connsiteX22-2841" fmla="*/ 2169042 w 3694535"/>
                <a:gd name="connsiteY22-2842" fmla="*/ 3817088 h 4492350"/>
                <a:gd name="connsiteX23-2843" fmla="*/ 3317358 w 3694535"/>
                <a:gd name="connsiteY23-2844" fmla="*/ 3094074 h 4492350"/>
                <a:gd name="connsiteX24-2845" fmla="*/ 2194317 w 3694535"/>
                <a:gd name="connsiteY24-2846" fmla="*/ 4030951 h 4492350"/>
                <a:gd name="connsiteX25-2847" fmla="*/ 2232838 w 3694535"/>
                <a:gd name="connsiteY25-2848" fmla="*/ 4476307 h 4492350"/>
                <a:gd name="connsiteX26-2849" fmla="*/ 2218194 w 3694535"/>
                <a:gd name="connsiteY26-2850" fmla="*/ 4491415 h 4492350"/>
                <a:gd name="connsiteX27-2851" fmla="*/ 1743740 w 3694535"/>
                <a:gd name="connsiteY27-2852" fmla="*/ 4492350 h 4492350"/>
                <a:gd name="connsiteX0-2853" fmla="*/ 1743740 w 3694535"/>
                <a:gd name="connsiteY0-2854" fmla="*/ 4492350 h 4492350"/>
                <a:gd name="connsiteX1-2855" fmla="*/ 1796903 w 3694535"/>
                <a:gd name="connsiteY1-2856" fmla="*/ 3785190 h 4492350"/>
                <a:gd name="connsiteX2-2857" fmla="*/ 1307805 w 3694535"/>
                <a:gd name="connsiteY2-2858" fmla="*/ 3381153 h 4492350"/>
                <a:gd name="connsiteX3-2859" fmla="*/ 31898 w 3694535"/>
                <a:gd name="connsiteY3-2860" fmla="*/ 2945218 h 4492350"/>
                <a:gd name="connsiteX4-2861" fmla="*/ 1127052 w 3694535"/>
                <a:gd name="connsiteY4-2862" fmla="*/ 3242930 h 4492350"/>
                <a:gd name="connsiteX5-2863" fmla="*/ 393405 w 3694535"/>
                <a:gd name="connsiteY5-2864" fmla="*/ 2456121 h 4492350"/>
                <a:gd name="connsiteX6-2865" fmla="*/ 1775638 w 3694535"/>
                <a:gd name="connsiteY6-2866" fmla="*/ 3519376 h 4492350"/>
                <a:gd name="connsiteX7-2867" fmla="*/ 1679945 w 3694535"/>
                <a:gd name="connsiteY7-2868" fmla="*/ 2392325 h 4492350"/>
                <a:gd name="connsiteX8-2869" fmla="*/ 0 w 3694535"/>
                <a:gd name="connsiteY8-2870" fmla="*/ 754911 h 4492350"/>
                <a:gd name="connsiteX9-2871" fmla="*/ 988828 w 3694535"/>
                <a:gd name="connsiteY9-2872" fmla="*/ 1924493 h 4492350"/>
                <a:gd name="connsiteX10-2873" fmla="*/ 1137684 w 3694535"/>
                <a:gd name="connsiteY10-2874" fmla="*/ 861237 h 4492350"/>
                <a:gd name="connsiteX11-2875" fmla="*/ 1222745 w 3694535"/>
                <a:gd name="connsiteY11-2876" fmla="*/ 2062716 h 4492350"/>
                <a:gd name="connsiteX12-2877" fmla="*/ 1690577 w 3694535"/>
                <a:gd name="connsiteY12-2878" fmla="*/ 2190307 h 4492350"/>
                <a:gd name="connsiteX13-2879" fmla="*/ 1956391 w 3694535"/>
                <a:gd name="connsiteY13-2880" fmla="*/ 0 h 4492350"/>
                <a:gd name="connsiteX14-2881" fmla="*/ 2027834 w 3694535"/>
                <a:gd name="connsiteY14-2882" fmla="*/ 986216 h 4492350"/>
                <a:gd name="connsiteX15-2883" fmla="*/ 1881963 w 3694535"/>
                <a:gd name="connsiteY15-2884" fmla="*/ 2232837 h 4492350"/>
                <a:gd name="connsiteX16-2885" fmla="*/ 2057494 w 3694535"/>
                <a:gd name="connsiteY16-2886" fmla="*/ 3046321 h 4492350"/>
                <a:gd name="connsiteX17-2887" fmla="*/ 2647507 w 3694535"/>
                <a:gd name="connsiteY17-2888" fmla="*/ 2519916 h 4492350"/>
                <a:gd name="connsiteX18-2889" fmla="*/ 2913694 w 3694535"/>
                <a:gd name="connsiteY18-2890" fmla="*/ 1291762 h 4492350"/>
                <a:gd name="connsiteX19-2891" fmla="*/ 2806809 w 3694535"/>
                <a:gd name="connsiteY19-2892" fmla="*/ 2383091 h 4492350"/>
                <a:gd name="connsiteX20-2893" fmla="*/ 3694535 w 3694535"/>
                <a:gd name="connsiteY20-2894" fmla="*/ 1124252 h 4492350"/>
                <a:gd name="connsiteX21-2895" fmla="*/ 2222205 w 3694535"/>
                <a:gd name="connsiteY21-2896" fmla="*/ 3370521 h 4492350"/>
                <a:gd name="connsiteX22-2897" fmla="*/ 2169042 w 3694535"/>
                <a:gd name="connsiteY22-2898" fmla="*/ 3817088 h 4492350"/>
                <a:gd name="connsiteX23-2899" fmla="*/ 3317358 w 3694535"/>
                <a:gd name="connsiteY23-2900" fmla="*/ 3094074 h 4492350"/>
                <a:gd name="connsiteX24-2901" fmla="*/ 2194317 w 3694535"/>
                <a:gd name="connsiteY24-2902" fmla="*/ 4030951 h 4492350"/>
                <a:gd name="connsiteX25-2903" fmla="*/ 2232838 w 3694535"/>
                <a:gd name="connsiteY25-2904" fmla="*/ 4476307 h 4492350"/>
                <a:gd name="connsiteX26-2905" fmla="*/ 2218194 w 3694535"/>
                <a:gd name="connsiteY26-2906" fmla="*/ 4491415 h 4492350"/>
                <a:gd name="connsiteX27-2907" fmla="*/ 1743740 w 3694535"/>
                <a:gd name="connsiteY27-2908" fmla="*/ 4492350 h 4492350"/>
                <a:gd name="connsiteX0-2909" fmla="*/ 1743740 w 3694535"/>
                <a:gd name="connsiteY0-2910" fmla="*/ 4523651 h 4523651"/>
                <a:gd name="connsiteX1-2911" fmla="*/ 1796903 w 3694535"/>
                <a:gd name="connsiteY1-2912" fmla="*/ 3816491 h 4523651"/>
                <a:gd name="connsiteX2-2913" fmla="*/ 1307805 w 3694535"/>
                <a:gd name="connsiteY2-2914" fmla="*/ 3412454 h 4523651"/>
                <a:gd name="connsiteX3-2915" fmla="*/ 31898 w 3694535"/>
                <a:gd name="connsiteY3-2916" fmla="*/ 2976519 h 4523651"/>
                <a:gd name="connsiteX4-2917" fmla="*/ 1127052 w 3694535"/>
                <a:gd name="connsiteY4-2918" fmla="*/ 3274231 h 4523651"/>
                <a:gd name="connsiteX5-2919" fmla="*/ 393405 w 3694535"/>
                <a:gd name="connsiteY5-2920" fmla="*/ 2487422 h 4523651"/>
                <a:gd name="connsiteX6-2921" fmla="*/ 1775638 w 3694535"/>
                <a:gd name="connsiteY6-2922" fmla="*/ 3550677 h 4523651"/>
                <a:gd name="connsiteX7-2923" fmla="*/ 1679945 w 3694535"/>
                <a:gd name="connsiteY7-2924" fmla="*/ 2423626 h 4523651"/>
                <a:gd name="connsiteX8-2925" fmla="*/ 0 w 3694535"/>
                <a:gd name="connsiteY8-2926" fmla="*/ 786212 h 4523651"/>
                <a:gd name="connsiteX9-2927" fmla="*/ 988828 w 3694535"/>
                <a:gd name="connsiteY9-2928" fmla="*/ 1955794 h 4523651"/>
                <a:gd name="connsiteX10-2929" fmla="*/ 1137684 w 3694535"/>
                <a:gd name="connsiteY10-2930" fmla="*/ 892538 h 4523651"/>
                <a:gd name="connsiteX11-2931" fmla="*/ 1222745 w 3694535"/>
                <a:gd name="connsiteY11-2932" fmla="*/ 2094017 h 4523651"/>
                <a:gd name="connsiteX12-2933" fmla="*/ 1690577 w 3694535"/>
                <a:gd name="connsiteY12-2934" fmla="*/ 2221608 h 4523651"/>
                <a:gd name="connsiteX13-2935" fmla="*/ 1956391 w 3694535"/>
                <a:gd name="connsiteY13-2936" fmla="*/ 31301 h 4523651"/>
                <a:gd name="connsiteX14-2937" fmla="*/ 2027834 w 3694535"/>
                <a:gd name="connsiteY14-2938" fmla="*/ 1017517 h 4523651"/>
                <a:gd name="connsiteX15-2939" fmla="*/ 1881963 w 3694535"/>
                <a:gd name="connsiteY15-2940" fmla="*/ 2264138 h 4523651"/>
                <a:gd name="connsiteX16-2941" fmla="*/ 2057494 w 3694535"/>
                <a:gd name="connsiteY16-2942" fmla="*/ 3077622 h 4523651"/>
                <a:gd name="connsiteX17-2943" fmla="*/ 2647507 w 3694535"/>
                <a:gd name="connsiteY17-2944" fmla="*/ 2551217 h 4523651"/>
                <a:gd name="connsiteX18-2945" fmla="*/ 2913694 w 3694535"/>
                <a:gd name="connsiteY18-2946" fmla="*/ 1323063 h 4523651"/>
                <a:gd name="connsiteX19-2947" fmla="*/ 2806809 w 3694535"/>
                <a:gd name="connsiteY19-2948" fmla="*/ 2414392 h 4523651"/>
                <a:gd name="connsiteX20-2949" fmla="*/ 3694535 w 3694535"/>
                <a:gd name="connsiteY20-2950" fmla="*/ 1155553 h 4523651"/>
                <a:gd name="connsiteX21-2951" fmla="*/ 2222205 w 3694535"/>
                <a:gd name="connsiteY21-2952" fmla="*/ 3401822 h 4523651"/>
                <a:gd name="connsiteX22-2953" fmla="*/ 2169042 w 3694535"/>
                <a:gd name="connsiteY22-2954" fmla="*/ 3848389 h 4523651"/>
                <a:gd name="connsiteX23-2955" fmla="*/ 3317358 w 3694535"/>
                <a:gd name="connsiteY23-2956" fmla="*/ 3125375 h 4523651"/>
                <a:gd name="connsiteX24-2957" fmla="*/ 2194317 w 3694535"/>
                <a:gd name="connsiteY24-2958" fmla="*/ 4062252 h 4523651"/>
                <a:gd name="connsiteX25-2959" fmla="*/ 2232838 w 3694535"/>
                <a:gd name="connsiteY25-2960" fmla="*/ 4507608 h 4523651"/>
                <a:gd name="connsiteX26-2961" fmla="*/ 2218194 w 3694535"/>
                <a:gd name="connsiteY26-2962" fmla="*/ 4522716 h 4523651"/>
                <a:gd name="connsiteX27-2963" fmla="*/ 1743740 w 3694535"/>
                <a:gd name="connsiteY27-2964" fmla="*/ 4523651 h 4523651"/>
                <a:gd name="connsiteX0-2965" fmla="*/ 1743740 w 3694535"/>
                <a:gd name="connsiteY0-2966" fmla="*/ 4523651 h 4523651"/>
                <a:gd name="connsiteX1-2967" fmla="*/ 1796903 w 3694535"/>
                <a:gd name="connsiteY1-2968" fmla="*/ 3816491 h 4523651"/>
                <a:gd name="connsiteX2-2969" fmla="*/ 1307805 w 3694535"/>
                <a:gd name="connsiteY2-2970" fmla="*/ 3412454 h 4523651"/>
                <a:gd name="connsiteX3-2971" fmla="*/ 31898 w 3694535"/>
                <a:gd name="connsiteY3-2972" fmla="*/ 2976519 h 4523651"/>
                <a:gd name="connsiteX4-2973" fmla="*/ 1127052 w 3694535"/>
                <a:gd name="connsiteY4-2974" fmla="*/ 3274231 h 4523651"/>
                <a:gd name="connsiteX5-2975" fmla="*/ 393405 w 3694535"/>
                <a:gd name="connsiteY5-2976" fmla="*/ 2487422 h 4523651"/>
                <a:gd name="connsiteX6-2977" fmla="*/ 1775638 w 3694535"/>
                <a:gd name="connsiteY6-2978" fmla="*/ 3550677 h 4523651"/>
                <a:gd name="connsiteX7-2979" fmla="*/ 1679945 w 3694535"/>
                <a:gd name="connsiteY7-2980" fmla="*/ 2423626 h 4523651"/>
                <a:gd name="connsiteX8-2981" fmla="*/ 0 w 3694535"/>
                <a:gd name="connsiteY8-2982" fmla="*/ 786212 h 4523651"/>
                <a:gd name="connsiteX9-2983" fmla="*/ 988828 w 3694535"/>
                <a:gd name="connsiteY9-2984" fmla="*/ 1955794 h 4523651"/>
                <a:gd name="connsiteX10-2985" fmla="*/ 1137684 w 3694535"/>
                <a:gd name="connsiteY10-2986" fmla="*/ 892538 h 4523651"/>
                <a:gd name="connsiteX11-2987" fmla="*/ 1222745 w 3694535"/>
                <a:gd name="connsiteY11-2988" fmla="*/ 2094017 h 4523651"/>
                <a:gd name="connsiteX12-2989" fmla="*/ 1690577 w 3694535"/>
                <a:gd name="connsiteY12-2990" fmla="*/ 2221608 h 4523651"/>
                <a:gd name="connsiteX13-2991" fmla="*/ 1956391 w 3694535"/>
                <a:gd name="connsiteY13-2992" fmla="*/ 31301 h 4523651"/>
                <a:gd name="connsiteX14-2993" fmla="*/ 2027834 w 3694535"/>
                <a:gd name="connsiteY14-2994" fmla="*/ 1017517 h 4523651"/>
                <a:gd name="connsiteX15-2995" fmla="*/ 1881963 w 3694535"/>
                <a:gd name="connsiteY15-2996" fmla="*/ 2264138 h 4523651"/>
                <a:gd name="connsiteX16-2997" fmla="*/ 2057494 w 3694535"/>
                <a:gd name="connsiteY16-2998" fmla="*/ 3077622 h 4523651"/>
                <a:gd name="connsiteX17-2999" fmla="*/ 2647507 w 3694535"/>
                <a:gd name="connsiteY17-3000" fmla="*/ 2551217 h 4523651"/>
                <a:gd name="connsiteX18-3001" fmla="*/ 2913694 w 3694535"/>
                <a:gd name="connsiteY18-3002" fmla="*/ 1323063 h 4523651"/>
                <a:gd name="connsiteX19-3003" fmla="*/ 2806809 w 3694535"/>
                <a:gd name="connsiteY19-3004" fmla="*/ 2414392 h 4523651"/>
                <a:gd name="connsiteX20-3005" fmla="*/ 3694535 w 3694535"/>
                <a:gd name="connsiteY20-3006" fmla="*/ 1155553 h 4523651"/>
                <a:gd name="connsiteX21-3007" fmla="*/ 2222205 w 3694535"/>
                <a:gd name="connsiteY21-3008" fmla="*/ 3401822 h 4523651"/>
                <a:gd name="connsiteX22-3009" fmla="*/ 2169042 w 3694535"/>
                <a:gd name="connsiteY22-3010" fmla="*/ 3848389 h 4523651"/>
                <a:gd name="connsiteX23-3011" fmla="*/ 3317358 w 3694535"/>
                <a:gd name="connsiteY23-3012" fmla="*/ 3125375 h 4523651"/>
                <a:gd name="connsiteX24-3013" fmla="*/ 2194317 w 3694535"/>
                <a:gd name="connsiteY24-3014" fmla="*/ 4062252 h 4523651"/>
                <a:gd name="connsiteX25-3015" fmla="*/ 2232838 w 3694535"/>
                <a:gd name="connsiteY25-3016" fmla="*/ 4507608 h 4523651"/>
                <a:gd name="connsiteX26-3017" fmla="*/ 2218194 w 3694535"/>
                <a:gd name="connsiteY26-3018" fmla="*/ 4522716 h 4523651"/>
                <a:gd name="connsiteX27-3019" fmla="*/ 1743740 w 3694535"/>
                <a:gd name="connsiteY27-3020" fmla="*/ 4523651 h 4523651"/>
                <a:gd name="connsiteX0-3021" fmla="*/ 1743740 w 3694535"/>
                <a:gd name="connsiteY0-3022" fmla="*/ 4523651 h 4523651"/>
                <a:gd name="connsiteX1-3023" fmla="*/ 1796903 w 3694535"/>
                <a:gd name="connsiteY1-3024" fmla="*/ 3816491 h 4523651"/>
                <a:gd name="connsiteX2-3025" fmla="*/ 1307805 w 3694535"/>
                <a:gd name="connsiteY2-3026" fmla="*/ 3412454 h 4523651"/>
                <a:gd name="connsiteX3-3027" fmla="*/ 31898 w 3694535"/>
                <a:gd name="connsiteY3-3028" fmla="*/ 2976519 h 4523651"/>
                <a:gd name="connsiteX4-3029" fmla="*/ 1127052 w 3694535"/>
                <a:gd name="connsiteY4-3030" fmla="*/ 3274231 h 4523651"/>
                <a:gd name="connsiteX5-3031" fmla="*/ 393405 w 3694535"/>
                <a:gd name="connsiteY5-3032" fmla="*/ 2487422 h 4523651"/>
                <a:gd name="connsiteX6-3033" fmla="*/ 1775638 w 3694535"/>
                <a:gd name="connsiteY6-3034" fmla="*/ 3550677 h 4523651"/>
                <a:gd name="connsiteX7-3035" fmla="*/ 1679945 w 3694535"/>
                <a:gd name="connsiteY7-3036" fmla="*/ 2423626 h 4523651"/>
                <a:gd name="connsiteX8-3037" fmla="*/ 0 w 3694535"/>
                <a:gd name="connsiteY8-3038" fmla="*/ 786212 h 4523651"/>
                <a:gd name="connsiteX9-3039" fmla="*/ 988828 w 3694535"/>
                <a:gd name="connsiteY9-3040" fmla="*/ 1955794 h 4523651"/>
                <a:gd name="connsiteX10-3041" fmla="*/ 1137684 w 3694535"/>
                <a:gd name="connsiteY10-3042" fmla="*/ 892538 h 4523651"/>
                <a:gd name="connsiteX11-3043" fmla="*/ 1222745 w 3694535"/>
                <a:gd name="connsiteY11-3044" fmla="*/ 2094017 h 4523651"/>
                <a:gd name="connsiteX12-3045" fmla="*/ 1690577 w 3694535"/>
                <a:gd name="connsiteY12-3046" fmla="*/ 2221608 h 4523651"/>
                <a:gd name="connsiteX13-3047" fmla="*/ 1956391 w 3694535"/>
                <a:gd name="connsiteY13-3048" fmla="*/ 31301 h 4523651"/>
                <a:gd name="connsiteX14-3049" fmla="*/ 2027834 w 3694535"/>
                <a:gd name="connsiteY14-3050" fmla="*/ 1017517 h 4523651"/>
                <a:gd name="connsiteX15-3051" fmla="*/ 1881963 w 3694535"/>
                <a:gd name="connsiteY15-3052" fmla="*/ 2264138 h 4523651"/>
                <a:gd name="connsiteX16-3053" fmla="*/ 2057494 w 3694535"/>
                <a:gd name="connsiteY16-3054" fmla="*/ 3077622 h 4523651"/>
                <a:gd name="connsiteX17-3055" fmla="*/ 2647507 w 3694535"/>
                <a:gd name="connsiteY17-3056" fmla="*/ 2551217 h 4523651"/>
                <a:gd name="connsiteX18-3057" fmla="*/ 2913694 w 3694535"/>
                <a:gd name="connsiteY18-3058" fmla="*/ 1323063 h 4523651"/>
                <a:gd name="connsiteX19-3059" fmla="*/ 2806809 w 3694535"/>
                <a:gd name="connsiteY19-3060" fmla="*/ 2414392 h 4523651"/>
                <a:gd name="connsiteX20-3061" fmla="*/ 3694535 w 3694535"/>
                <a:gd name="connsiteY20-3062" fmla="*/ 1155553 h 4523651"/>
                <a:gd name="connsiteX21-3063" fmla="*/ 2222205 w 3694535"/>
                <a:gd name="connsiteY21-3064" fmla="*/ 3401822 h 4523651"/>
                <a:gd name="connsiteX22-3065" fmla="*/ 2169042 w 3694535"/>
                <a:gd name="connsiteY22-3066" fmla="*/ 3848389 h 4523651"/>
                <a:gd name="connsiteX23-3067" fmla="*/ 3317358 w 3694535"/>
                <a:gd name="connsiteY23-3068" fmla="*/ 3125375 h 4523651"/>
                <a:gd name="connsiteX24-3069" fmla="*/ 2194317 w 3694535"/>
                <a:gd name="connsiteY24-3070" fmla="*/ 4062252 h 4523651"/>
                <a:gd name="connsiteX25-3071" fmla="*/ 2232838 w 3694535"/>
                <a:gd name="connsiteY25-3072" fmla="*/ 4507608 h 4523651"/>
                <a:gd name="connsiteX26-3073" fmla="*/ 2218194 w 3694535"/>
                <a:gd name="connsiteY26-3074" fmla="*/ 4522716 h 4523651"/>
                <a:gd name="connsiteX27-3075" fmla="*/ 1743740 w 3694535"/>
                <a:gd name="connsiteY27-3076" fmla="*/ 4523651 h 4523651"/>
                <a:gd name="connsiteX0-3077" fmla="*/ 1743740 w 3694535"/>
                <a:gd name="connsiteY0-3078" fmla="*/ 4523651 h 4523651"/>
                <a:gd name="connsiteX1-3079" fmla="*/ 1796903 w 3694535"/>
                <a:gd name="connsiteY1-3080" fmla="*/ 3816491 h 4523651"/>
                <a:gd name="connsiteX2-3081" fmla="*/ 1307805 w 3694535"/>
                <a:gd name="connsiteY2-3082" fmla="*/ 3412454 h 4523651"/>
                <a:gd name="connsiteX3-3083" fmla="*/ 31898 w 3694535"/>
                <a:gd name="connsiteY3-3084" fmla="*/ 2976519 h 4523651"/>
                <a:gd name="connsiteX4-3085" fmla="*/ 1127052 w 3694535"/>
                <a:gd name="connsiteY4-3086" fmla="*/ 3274231 h 4523651"/>
                <a:gd name="connsiteX5-3087" fmla="*/ 393405 w 3694535"/>
                <a:gd name="connsiteY5-3088" fmla="*/ 2487422 h 4523651"/>
                <a:gd name="connsiteX6-3089" fmla="*/ 1775638 w 3694535"/>
                <a:gd name="connsiteY6-3090" fmla="*/ 3550677 h 4523651"/>
                <a:gd name="connsiteX7-3091" fmla="*/ 1679945 w 3694535"/>
                <a:gd name="connsiteY7-3092" fmla="*/ 2423626 h 4523651"/>
                <a:gd name="connsiteX8-3093" fmla="*/ 0 w 3694535"/>
                <a:gd name="connsiteY8-3094" fmla="*/ 786212 h 4523651"/>
                <a:gd name="connsiteX9-3095" fmla="*/ 988828 w 3694535"/>
                <a:gd name="connsiteY9-3096" fmla="*/ 1955794 h 4523651"/>
                <a:gd name="connsiteX10-3097" fmla="*/ 1137684 w 3694535"/>
                <a:gd name="connsiteY10-3098" fmla="*/ 892538 h 4523651"/>
                <a:gd name="connsiteX11-3099" fmla="*/ 1222745 w 3694535"/>
                <a:gd name="connsiteY11-3100" fmla="*/ 2094017 h 4523651"/>
                <a:gd name="connsiteX12-3101" fmla="*/ 1690577 w 3694535"/>
                <a:gd name="connsiteY12-3102" fmla="*/ 2221608 h 4523651"/>
                <a:gd name="connsiteX13-3103" fmla="*/ 1956391 w 3694535"/>
                <a:gd name="connsiteY13-3104" fmla="*/ 31301 h 4523651"/>
                <a:gd name="connsiteX14-3105" fmla="*/ 2027834 w 3694535"/>
                <a:gd name="connsiteY14-3106" fmla="*/ 1017517 h 4523651"/>
                <a:gd name="connsiteX15-3107" fmla="*/ 1881963 w 3694535"/>
                <a:gd name="connsiteY15-3108" fmla="*/ 2264138 h 4523651"/>
                <a:gd name="connsiteX16-3109" fmla="*/ 2057494 w 3694535"/>
                <a:gd name="connsiteY16-3110" fmla="*/ 3077622 h 4523651"/>
                <a:gd name="connsiteX17-3111" fmla="*/ 2647507 w 3694535"/>
                <a:gd name="connsiteY17-3112" fmla="*/ 2551217 h 4523651"/>
                <a:gd name="connsiteX18-3113" fmla="*/ 2913694 w 3694535"/>
                <a:gd name="connsiteY18-3114" fmla="*/ 1323063 h 4523651"/>
                <a:gd name="connsiteX19-3115" fmla="*/ 2806809 w 3694535"/>
                <a:gd name="connsiteY19-3116" fmla="*/ 2414392 h 4523651"/>
                <a:gd name="connsiteX20-3117" fmla="*/ 3694535 w 3694535"/>
                <a:gd name="connsiteY20-3118" fmla="*/ 1155553 h 4523651"/>
                <a:gd name="connsiteX21-3119" fmla="*/ 2222205 w 3694535"/>
                <a:gd name="connsiteY21-3120" fmla="*/ 3401822 h 4523651"/>
                <a:gd name="connsiteX22-3121" fmla="*/ 2169042 w 3694535"/>
                <a:gd name="connsiteY22-3122" fmla="*/ 3848389 h 4523651"/>
                <a:gd name="connsiteX23-3123" fmla="*/ 3317358 w 3694535"/>
                <a:gd name="connsiteY23-3124" fmla="*/ 3125375 h 4523651"/>
                <a:gd name="connsiteX24-3125" fmla="*/ 2194317 w 3694535"/>
                <a:gd name="connsiteY24-3126" fmla="*/ 4062252 h 4523651"/>
                <a:gd name="connsiteX25-3127" fmla="*/ 2232838 w 3694535"/>
                <a:gd name="connsiteY25-3128" fmla="*/ 4507608 h 4523651"/>
                <a:gd name="connsiteX26-3129" fmla="*/ 2218194 w 3694535"/>
                <a:gd name="connsiteY26-3130" fmla="*/ 4522716 h 4523651"/>
                <a:gd name="connsiteX27-3131" fmla="*/ 1743740 w 3694535"/>
                <a:gd name="connsiteY27-3132" fmla="*/ 4523651 h 4523651"/>
                <a:gd name="connsiteX0-3133" fmla="*/ 1743740 w 3694535"/>
                <a:gd name="connsiteY0-3134" fmla="*/ 4523651 h 4523651"/>
                <a:gd name="connsiteX1-3135" fmla="*/ 1796903 w 3694535"/>
                <a:gd name="connsiteY1-3136" fmla="*/ 3816491 h 4523651"/>
                <a:gd name="connsiteX2-3137" fmla="*/ 1307805 w 3694535"/>
                <a:gd name="connsiteY2-3138" fmla="*/ 3412454 h 4523651"/>
                <a:gd name="connsiteX3-3139" fmla="*/ 31898 w 3694535"/>
                <a:gd name="connsiteY3-3140" fmla="*/ 2976519 h 4523651"/>
                <a:gd name="connsiteX4-3141" fmla="*/ 1127052 w 3694535"/>
                <a:gd name="connsiteY4-3142" fmla="*/ 3274231 h 4523651"/>
                <a:gd name="connsiteX5-3143" fmla="*/ 393405 w 3694535"/>
                <a:gd name="connsiteY5-3144" fmla="*/ 2487422 h 4523651"/>
                <a:gd name="connsiteX6-3145" fmla="*/ 1775638 w 3694535"/>
                <a:gd name="connsiteY6-3146" fmla="*/ 3550677 h 4523651"/>
                <a:gd name="connsiteX7-3147" fmla="*/ 1679945 w 3694535"/>
                <a:gd name="connsiteY7-3148" fmla="*/ 2423626 h 4523651"/>
                <a:gd name="connsiteX8-3149" fmla="*/ 0 w 3694535"/>
                <a:gd name="connsiteY8-3150" fmla="*/ 786212 h 4523651"/>
                <a:gd name="connsiteX9-3151" fmla="*/ 988828 w 3694535"/>
                <a:gd name="connsiteY9-3152" fmla="*/ 1955794 h 4523651"/>
                <a:gd name="connsiteX10-3153" fmla="*/ 1137684 w 3694535"/>
                <a:gd name="connsiteY10-3154" fmla="*/ 892538 h 4523651"/>
                <a:gd name="connsiteX11-3155" fmla="*/ 1222745 w 3694535"/>
                <a:gd name="connsiteY11-3156" fmla="*/ 2094017 h 4523651"/>
                <a:gd name="connsiteX12-3157" fmla="*/ 1690577 w 3694535"/>
                <a:gd name="connsiteY12-3158" fmla="*/ 2221608 h 4523651"/>
                <a:gd name="connsiteX13-3159" fmla="*/ 1956391 w 3694535"/>
                <a:gd name="connsiteY13-3160" fmla="*/ 31301 h 4523651"/>
                <a:gd name="connsiteX14-3161" fmla="*/ 2027834 w 3694535"/>
                <a:gd name="connsiteY14-3162" fmla="*/ 1017517 h 4523651"/>
                <a:gd name="connsiteX15-3163" fmla="*/ 1881963 w 3694535"/>
                <a:gd name="connsiteY15-3164" fmla="*/ 2264138 h 4523651"/>
                <a:gd name="connsiteX16-3165" fmla="*/ 2057494 w 3694535"/>
                <a:gd name="connsiteY16-3166" fmla="*/ 3077622 h 4523651"/>
                <a:gd name="connsiteX17-3167" fmla="*/ 2647507 w 3694535"/>
                <a:gd name="connsiteY17-3168" fmla="*/ 2551217 h 4523651"/>
                <a:gd name="connsiteX18-3169" fmla="*/ 2913694 w 3694535"/>
                <a:gd name="connsiteY18-3170" fmla="*/ 1323063 h 4523651"/>
                <a:gd name="connsiteX19-3171" fmla="*/ 2806809 w 3694535"/>
                <a:gd name="connsiteY19-3172" fmla="*/ 2414392 h 4523651"/>
                <a:gd name="connsiteX20-3173" fmla="*/ 3694535 w 3694535"/>
                <a:gd name="connsiteY20-3174" fmla="*/ 1155553 h 4523651"/>
                <a:gd name="connsiteX21-3175" fmla="*/ 2222205 w 3694535"/>
                <a:gd name="connsiteY21-3176" fmla="*/ 3401822 h 4523651"/>
                <a:gd name="connsiteX22-3177" fmla="*/ 2169042 w 3694535"/>
                <a:gd name="connsiteY22-3178" fmla="*/ 3848389 h 4523651"/>
                <a:gd name="connsiteX23-3179" fmla="*/ 3317358 w 3694535"/>
                <a:gd name="connsiteY23-3180" fmla="*/ 3125375 h 4523651"/>
                <a:gd name="connsiteX24-3181" fmla="*/ 2194317 w 3694535"/>
                <a:gd name="connsiteY24-3182" fmla="*/ 4062252 h 4523651"/>
                <a:gd name="connsiteX25-3183" fmla="*/ 2232838 w 3694535"/>
                <a:gd name="connsiteY25-3184" fmla="*/ 4507608 h 4523651"/>
                <a:gd name="connsiteX26-3185" fmla="*/ 2218194 w 3694535"/>
                <a:gd name="connsiteY26-3186" fmla="*/ 4522716 h 4523651"/>
                <a:gd name="connsiteX27-3187" fmla="*/ 1743740 w 3694535"/>
                <a:gd name="connsiteY27-3188" fmla="*/ 4523651 h 4523651"/>
                <a:gd name="connsiteX0-3189" fmla="*/ 1743740 w 3694535"/>
                <a:gd name="connsiteY0-3190" fmla="*/ 4523651 h 4523651"/>
                <a:gd name="connsiteX1-3191" fmla="*/ 1796903 w 3694535"/>
                <a:gd name="connsiteY1-3192" fmla="*/ 3816491 h 4523651"/>
                <a:gd name="connsiteX2-3193" fmla="*/ 1307805 w 3694535"/>
                <a:gd name="connsiteY2-3194" fmla="*/ 3412454 h 4523651"/>
                <a:gd name="connsiteX3-3195" fmla="*/ 31898 w 3694535"/>
                <a:gd name="connsiteY3-3196" fmla="*/ 2976519 h 4523651"/>
                <a:gd name="connsiteX4-3197" fmla="*/ 1127052 w 3694535"/>
                <a:gd name="connsiteY4-3198" fmla="*/ 3274231 h 4523651"/>
                <a:gd name="connsiteX5-3199" fmla="*/ 393405 w 3694535"/>
                <a:gd name="connsiteY5-3200" fmla="*/ 2487422 h 4523651"/>
                <a:gd name="connsiteX6-3201" fmla="*/ 1775638 w 3694535"/>
                <a:gd name="connsiteY6-3202" fmla="*/ 3550677 h 4523651"/>
                <a:gd name="connsiteX7-3203" fmla="*/ 1679945 w 3694535"/>
                <a:gd name="connsiteY7-3204" fmla="*/ 2423626 h 4523651"/>
                <a:gd name="connsiteX8-3205" fmla="*/ 0 w 3694535"/>
                <a:gd name="connsiteY8-3206" fmla="*/ 786212 h 4523651"/>
                <a:gd name="connsiteX9-3207" fmla="*/ 988828 w 3694535"/>
                <a:gd name="connsiteY9-3208" fmla="*/ 1955794 h 4523651"/>
                <a:gd name="connsiteX10-3209" fmla="*/ 1137684 w 3694535"/>
                <a:gd name="connsiteY10-3210" fmla="*/ 892538 h 4523651"/>
                <a:gd name="connsiteX11-3211" fmla="*/ 1222745 w 3694535"/>
                <a:gd name="connsiteY11-3212" fmla="*/ 2094017 h 4523651"/>
                <a:gd name="connsiteX12-3213" fmla="*/ 1690577 w 3694535"/>
                <a:gd name="connsiteY12-3214" fmla="*/ 2221608 h 4523651"/>
                <a:gd name="connsiteX13-3215" fmla="*/ 1956391 w 3694535"/>
                <a:gd name="connsiteY13-3216" fmla="*/ 31301 h 4523651"/>
                <a:gd name="connsiteX14-3217" fmla="*/ 2027834 w 3694535"/>
                <a:gd name="connsiteY14-3218" fmla="*/ 1017517 h 4523651"/>
                <a:gd name="connsiteX15-3219" fmla="*/ 1881963 w 3694535"/>
                <a:gd name="connsiteY15-3220" fmla="*/ 2264138 h 4523651"/>
                <a:gd name="connsiteX16-3221" fmla="*/ 2057494 w 3694535"/>
                <a:gd name="connsiteY16-3222" fmla="*/ 3077622 h 4523651"/>
                <a:gd name="connsiteX17-3223" fmla="*/ 2647507 w 3694535"/>
                <a:gd name="connsiteY17-3224" fmla="*/ 2551217 h 4523651"/>
                <a:gd name="connsiteX18-3225" fmla="*/ 2913694 w 3694535"/>
                <a:gd name="connsiteY18-3226" fmla="*/ 1323063 h 4523651"/>
                <a:gd name="connsiteX19-3227" fmla="*/ 2806809 w 3694535"/>
                <a:gd name="connsiteY19-3228" fmla="*/ 2414392 h 4523651"/>
                <a:gd name="connsiteX20-3229" fmla="*/ 3694535 w 3694535"/>
                <a:gd name="connsiteY20-3230" fmla="*/ 1155553 h 4523651"/>
                <a:gd name="connsiteX21-3231" fmla="*/ 2222205 w 3694535"/>
                <a:gd name="connsiteY21-3232" fmla="*/ 3401822 h 4523651"/>
                <a:gd name="connsiteX22-3233" fmla="*/ 2169042 w 3694535"/>
                <a:gd name="connsiteY22-3234" fmla="*/ 3848389 h 4523651"/>
                <a:gd name="connsiteX23-3235" fmla="*/ 3317358 w 3694535"/>
                <a:gd name="connsiteY23-3236" fmla="*/ 3125375 h 4523651"/>
                <a:gd name="connsiteX24-3237" fmla="*/ 2194317 w 3694535"/>
                <a:gd name="connsiteY24-3238" fmla="*/ 4062252 h 4523651"/>
                <a:gd name="connsiteX25-3239" fmla="*/ 2232838 w 3694535"/>
                <a:gd name="connsiteY25-3240" fmla="*/ 4507608 h 4523651"/>
                <a:gd name="connsiteX26-3241" fmla="*/ 2218194 w 3694535"/>
                <a:gd name="connsiteY26-3242" fmla="*/ 4522716 h 4523651"/>
                <a:gd name="connsiteX27-3243" fmla="*/ 1743740 w 3694535"/>
                <a:gd name="connsiteY27-3244" fmla="*/ 4523651 h 4523651"/>
                <a:gd name="connsiteX0-3245" fmla="*/ 1743740 w 3694535"/>
                <a:gd name="connsiteY0-3246" fmla="*/ 4522819 h 4522819"/>
                <a:gd name="connsiteX1-3247" fmla="*/ 1796903 w 3694535"/>
                <a:gd name="connsiteY1-3248" fmla="*/ 3815659 h 4522819"/>
                <a:gd name="connsiteX2-3249" fmla="*/ 1307805 w 3694535"/>
                <a:gd name="connsiteY2-3250" fmla="*/ 3411622 h 4522819"/>
                <a:gd name="connsiteX3-3251" fmla="*/ 31898 w 3694535"/>
                <a:gd name="connsiteY3-3252" fmla="*/ 2975687 h 4522819"/>
                <a:gd name="connsiteX4-3253" fmla="*/ 1127052 w 3694535"/>
                <a:gd name="connsiteY4-3254" fmla="*/ 3273399 h 4522819"/>
                <a:gd name="connsiteX5-3255" fmla="*/ 393405 w 3694535"/>
                <a:gd name="connsiteY5-3256" fmla="*/ 2486590 h 4522819"/>
                <a:gd name="connsiteX6-3257" fmla="*/ 1775638 w 3694535"/>
                <a:gd name="connsiteY6-3258" fmla="*/ 3549845 h 4522819"/>
                <a:gd name="connsiteX7-3259" fmla="*/ 1679945 w 3694535"/>
                <a:gd name="connsiteY7-3260" fmla="*/ 2422794 h 4522819"/>
                <a:gd name="connsiteX8-3261" fmla="*/ 0 w 3694535"/>
                <a:gd name="connsiteY8-3262" fmla="*/ 785380 h 4522819"/>
                <a:gd name="connsiteX9-3263" fmla="*/ 988828 w 3694535"/>
                <a:gd name="connsiteY9-3264" fmla="*/ 1954962 h 4522819"/>
                <a:gd name="connsiteX10-3265" fmla="*/ 1137684 w 3694535"/>
                <a:gd name="connsiteY10-3266" fmla="*/ 891706 h 4522819"/>
                <a:gd name="connsiteX11-3267" fmla="*/ 1222745 w 3694535"/>
                <a:gd name="connsiteY11-3268" fmla="*/ 2093185 h 4522819"/>
                <a:gd name="connsiteX12-3269" fmla="*/ 1690577 w 3694535"/>
                <a:gd name="connsiteY12-3270" fmla="*/ 2220776 h 4522819"/>
                <a:gd name="connsiteX13-3271" fmla="*/ 1956391 w 3694535"/>
                <a:gd name="connsiteY13-3272" fmla="*/ 30469 h 4522819"/>
                <a:gd name="connsiteX14-3273" fmla="*/ 2027834 w 3694535"/>
                <a:gd name="connsiteY14-3274" fmla="*/ 1016685 h 4522819"/>
                <a:gd name="connsiteX15-3275" fmla="*/ 1881963 w 3694535"/>
                <a:gd name="connsiteY15-3276" fmla="*/ 2090854 h 4522819"/>
                <a:gd name="connsiteX16-3277" fmla="*/ 2057494 w 3694535"/>
                <a:gd name="connsiteY16-3278" fmla="*/ 3076790 h 4522819"/>
                <a:gd name="connsiteX17-3279" fmla="*/ 2647507 w 3694535"/>
                <a:gd name="connsiteY17-3280" fmla="*/ 2550385 h 4522819"/>
                <a:gd name="connsiteX18-3281" fmla="*/ 2913694 w 3694535"/>
                <a:gd name="connsiteY18-3282" fmla="*/ 1322231 h 4522819"/>
                <a:gd name="connsiteX19-3283" fmla="*/ 2806809 w 3694535"/>
                <a:gd name="connsiteY19-3284" fmla="*/ 2413560 h 4522819"/>
                <a:gd name="connsiteX20-3285" fmla="*/ 3694535 w 3694535"/>
                <a:gd name="connsiteY20-3286" fmla="*/ 1154721 h 4522819"/>
                <a:gd name="connsiteX21-3287" fmla="*/ 2222205 w 3694535"/>
                <a:gd name="connsiteY21-3288" fmla="*/ 3400990 h 4522819"/>
                <a:gd name="connsiteX22-3289" fmla="*/ 2169042 w 3694535"/>
                <a:gd name="connsiteY22-3290" fmla="*/ 3847557 h 4522819"/>
                <a:gd name="connsiteX23-3291" fmla="*/ 3317358 w 3694535"/>
                <a:gd name="connsiteY23-3292" fmla="*/ 3124543 h 4522819"/>
                <a:gd name="connsiteX24-3293" fmla="*/ 2194317 w 3694535"/>
                <a:gd name="connsiteY24-3294" fmla="*/ 4061420 h 4522819"/>
                <a:gd name="connsiteX25-3295" fmla="*/ 2232838 w 3694535"/>
                <a:gd name="connsiteY25-3296" fmla="*/ 4506776 h 4522819"/>
                <a:gd name="connsiteX26-3297" fmla="*/ 2218194 w 3694535"/>
                <a:gd name="connsiteY26-3298" fmla="*/ 4521884 h 4522819"/>
                <a:gd name="connsiteX27-3299" fmla="*/ 1743740 w 3694535"/>
                <a:gd name="connsiteY27-3300" fmla="*/ 4522819 h 4522819"/>
                <a:gd name="connsiteX0-3301" fmla="*/ 1743740 w 3694535"/>
                <a:gd name="connsiteY0-3302" fmla="*/ 4522819 h 4522819"/>
                <a:gd name="connsiteX1-3303" fmla="*/ 1796903 w 3694535"/>
                <a:gd name="connsiteY1-3304" fmla="*/ 3815659 h 4522819"/>
                <a:gd name="connsiteX2-3305" fmla="*/ 1307805 w 3694535"/>
                <a:gd name="connsiteY2-3306" fmla="*/ 3411622 h 4522819"/>
                <a:gd name="connsiteX3-3307" fmla="*/ 31898 w 3694535"/>
                <a:gd name="connsiteY3-3308" fmla="*/ 2975687 h 4522819"/>
                <a:gd name="connsiteX4-3309" fmla="*/ 1127052 w 3694535"/>
                <a:gd name="connsiteY4-3310" fmla="*/ 3273399 h 4522819"/>
                <a:gd name="connsiteX5-3311" fmla="*/ 393405 w 3694535"/>
                <a:gd name="connsiteY5-3312" fmla="*/ 2486590 h 4522819"/>
                <a:gd name="connsiteX6-3313" fmla="*/ 1775638 w 3694535"/>
                <a:gd name="connsiteY6-3314" fmla="*/ 3549845 h 4522819"/>
                <a:gd name="connsiteX7-3315" fmla="*/ 1679945 w 3694535"/>
                <a:gd name="connsiteY7-3316" fmla="*/ 2422794 h 4522819"/>
                <a:gd name="connsiteX8-3317" fmla="*/ 0 w 3694535"/>
                <a:gd name="connsiteY8-3318" fmla="*/ 785380 h 4522819"/>
                <a:gd name="connsiteX9-3319" fmla="*/ 988828 w 3694535"/>
                <a:gd name="connsiteY9-3320" fmla="*/ 1954962 h 4522819"/>
                <a:gd name="connsiteX10-3321" fmla="*/ 1137684 w 3694535"/>
                <a:gd name="connsiteY10-3322" fmla="*/ 891706 h 4522819"/>
                <a:gd name="connsiteX11-3323" fmla="*/ 1222745 w 3694535"/>
                <a:gd name="connsiteY11-3324" fmla="*/ 2093185 h 4522819"/>
                <a:gd name="connsiteX12-3325" fmla="*/ 1690577 w 3694535"/>
                <a:gd name="connsiteY12-3326" fmla="*/ 2220776 h 4522819"/>
                <a:gd name="connsiteX13-3327" fmla="*/ 1956391 w 3694535"/>
                <a:gd name="connsiteY13-3328" fmla="*/ 30469 h 4522819"/>
                <a:gd name="connsiteX14-3329" fmla="*/ 2027834 w 3694535"/>
                <a:gd name="connsiteY14-3330" fmla="*/ 1016685 h 4522819"/>
                <a:gd name="connsiteX15-3331" fmla="*/ 1881963 w 3694535"/>
                <a:gd name="connsiteY15-3332" fmla="*/ 2090854 h 4522819"/>
                <a:gd name="connsiteX16-3333" fmla="*/ 2057494 w 3694535"/>
                <a:gd name="connsiteY16-3334" fmla="*/ 3076790 h 4522819"/>
                <a:gd name="connsiteX17-3335" fmla="*/ 2647507 w 3694535"/>
                <a:gd name="connsiteY17-3336" fmla="*/ 2550385 h 4522819"/>
                <a:gd name="connsiteX18-3337" fmla="*/ 2913694 w 3694535"/>
                <a:gd name="connsiteY18-3338" fmla="*/ 1322231 h 4522819"/>
                <a:gd name="connsiteX19-3339" fmla="*/ 2806809 w 3694535"/>
                <a:gd name="connsiteY19-3340" fmla="*/ 2413560 h 4522819"/>
                <a:gd name="connsiteX20-3341" fmla="*/ 3694535 w 3694535"/>
                <a:gd name="connsiteY20-3342" fmla="*/ 1154721 h 4522819"/>
                <a:gd name="connsiteX21-3343" fmla="*/ 2222205 w 3694535"/>
                <a:gd name="connsiteY21-3344" fmla="*/ 3400990 h 4522819"/>
                <a:gd name="connsiteX22-3345" fmla="*/ 2169042 w 3694535"/>
                <a:gd name="connsiteY22-3346" fmla="*/ 3847557 h 4522819"/>
                <a:gd name="connsiteX23-3347" fmla="*/ 3317358 w 3694535"/>
                <a:gd name="connsiteY23-3348" fmla="*/ 3124543 h 4522819"/>
                <a:gd name="connsiteX24-3349" fmla="*/ 2194317 w 3694535"/>
                <a:gd name="connsiteY24-3350" fmla="*/ 4061420 h 4522819"/>
                <a:gd name="connsiteX25-3351" fmla="*/ 2232838 w 3694535"/>
                <a:gd name="connsiteY25-3352" fmla="*/ 4506776 h 4522819"/>
                <a:gd name="connsiteX26-3353" fmla="*/ 2218194 w 3694535"/>
                <a:gd name="connsiteY26-3354" fmla="*/ 4521884 h 4522819"/>
                <a:gd name="connsiteX27-3355" fmla="*/ 1743740 w 3694535"/>
                <a:gd name="connsiteY27-3356" fmla="*/ 4522819 h 4522819"/>
                <a:gd name="connsiteX0-3357" fmla="*/ 1743740 w 3694535"/>
                <a:gd name="connsiteY0-3358" fmla="*/ 4522814 h 4522814"/>
                <a:gd name="connsiteX1-3359" fmla="*/ 1796903 w 3694535"/>
                <a:gd name="connsiteY1-3360" fmla="*/ 3815654 h 4522814"/>
                <a:gd name="connsiteX2-3361" fmla="*/ 1307805 w 3694535"/>
                <a:gd name="connsiteY2-3362" fmla="*/ 3411617 h 4522814"/>
                <a:gd name="connsiteX3-3363" fmla="*/ 31898 w 3694535"/>
                <a:gd name="connsiteY3-3364" fmla="*/ 2975682 h 4522814"/>
                <a:gd name="connsiteX4-3365" fmla="*/ 1127052 w 3694535"/>
                <a:gd name="connsiteY4-3366" fmla="*/ 3273394 h 4522814"/>
                <a:gd name="connsiteX5-3367" fmla="*/ 393405 w 3694535"/>
                <a:gd name="connsiteY5-3368" fmla="*/ 2486585 h 4522814"/>
                <a:gd name="connsiteX6-3369" fmla="*/ 1775638 w 3694535"/>
                <a:gd name="connsiteY6-3370" fmla="*/ 3549840 h 4522814"/>
                <a:gd name="connsiteX7-3371" fmla="*/ 1679945 w 3694535"/>
                <a:gd name="connsiteY7-3372" fmla="*/ 2422789 h 4522814"/>
                <a:gd name="connsiteX8-3373" fmla="*/ 0 w 3694535"/>
                <a:gd name="connsiteY8-3374" fmla="*/ 785375 h 4522814"/>
                <a:gd name="connsiteX9-3375" fmla="*/ 988828 w 3694535"/>
                <a:gd name="connsiteY9-3376" fmla="*/ 1954957 h 4522814"/>
                <a:gd name="connsiteX10-3377" fmla="*/ 1137684 w 3694535"/>
                <a:gd name="connsiteY10-3378" fmla="*/ 891701 h 4522814"/>
                <a:gd name="connsiteX11-3379" fmla="*/ 1222745 w 3694535"/>
                <a:gd name="connsiteY11-3380" fmla="*/ 2093180 h 4522814"/>
                <a:gd name="connsiteX12-3381" fmla="*/ 1690577 w 3694535"/>
                <a:gd name="connsiteY12-3382" fmla="*/ 2220771 h 4522814"/>
                <a:gd name="connsiteX13-3383" fmla="*/ 1956391 w 3694535"/>
                <a:gd name="connsiteY13-3384" fmla="*/ 30464 h 4522814"/>
                <a:gd name="connsiteX14-3385" fmla="*/ 2027834 w 3694535"/>
                <a:gd name="connsiteY14-3386" fmla="*/ 1016680 h 4522814"/>
                <a:gd name="connsiteX15-3387" fmla="*/ 1881963 w 3694535"/>
                <a:gd name="connsiteY15-3388" fmla="*/ 2090849 h 4522814"/>
                <a:gd name="connsiteX16-3389" fmla="*/ 2057494 w 3694535"/>
                <a:gd name="connsiteY16-3390" fmla="*/ 3076785 h 4522814"/>
                <a:gd name="connsiteX17-3391" fmla="*/ 2647507 w 3694535"/>
                <a:gd name="connsiteY17-3392" fmla="*/ 2550380 h 4522814"/>
                <a:gd name="connsiteX18-3393" fmla="*/ 2913694 w 3694535"/>
                <a:gd name="connsiteY18-3394" fmla="*/ 1322226 h 4522814"/>
                <a:gd name="connsiteX19-3395" fmla="*/ 2806809 w 3694535"/>
                <a:gd name="connsiteY19-3396" fmla="*/ 2413555 h 4522814"/>
                <a:gd name="connsiteX20-3397" fmla="*/ 3694535 w 3694535"/>
                <a:gd name="connsiteY20-3398" fmla="*/ 1154716 h 4522814"/>
                <a:gd name="connsiteX21-3399" fmla="*/ 2222205 w 3694535"/>
                <a:gd name="connsiteY21-3400" fmla="*/ 3400985 h 4522814"/>
                <a:gd name="connsiteX22-3401" fmla="*/ 2169042 w 3694535"/>
                <a:gd name="connsiteY22-3402" fmla="*/ 3847552 h 4522814"/>
                <a:gd name="connsiteX23-3403" fmla="*/ 3317358 w 3694535"/>
                <a:gd name="connsiteY23-3404" fmla="*/ 3124538 h 4522814"/>
                <a:gd name="connsiteX24-3405" fmla="*/ 2194317 w 3694535"/>
                <a:gd name="connsiteY24-3406" fmla="*/ 4061415 h 4522814"/>
                <a:gd name="connsiteX25-3407" fmla="*/ 2232838 w 3694535"/>
                <a:gd name="connsiteY25-3408" fmla="*/ 4506771 h 4522814"/>
                <a:gd name="connsiteX26-3409" fmla="*/ 2218194 w 3694535"/>
                <a:gd name="connsiteY26-3410" fmla="*/ 4521879 h 4522814"/>
                <a:gd name="connsiteX27-3411" fmla="*/ 1743740 w 3694535"/>
                <a:gd name="connsiteY27-3412" fmla="*/ 4522814 h 4522814"/>
                <a:gd name="connsiteX0-3413" fmla="*/ 1743740 w 3694535"/>
                <a:gd name="connsiteY0-3414" fmla="*/ 4492350 h 4492350"/>
                <a:gd name="connsiteX1-3415" fmla="*/ 1796903 w 3694535"/>
                <a:gd name="connsiteY1-3416" fmla="*/ 3785190 h 4492350"/>
                <a:gd name="connsiteX2-3417" fmla="*/ 1307805 w 3694535"/>
                <a:gd name="connsiteY2-3418" fmla="*/ 3381153 h 4492350"/>
                <a:gd name="connsiteX3-3419" fmla="*/ 31898 w 3694535"/>
                <a:gd name="connsiteY3-3420" fmla="*/ 2945218 h 4492350"/>
                <a:gd name="connsiteX4-3421" fmla="*/ 1127052 w 3694535"/>
                <a:gd name="connsiteY4-3422" fmla="*/ 3242930 h 4492350"/>
                <a:gd name="connsiteX5-3423" fmla="*/ 393405 w 3694535"/>
                <a:gd name="connsiteY5-3424" fmla="*/ 2456121 h 4492350"/>
                <a:gd name="connsiteX6-3425" fmla="*/ 1775638 w 3694535"/>
                <a:gd name="connsiteY6-3426" fmla="*/ 3519376 h 4492350"/>
                <a:gd name="connsiteX7-3427" fmla="*/ 1679945 w 3694535"/>
                <a:gd name="connsiteY7-3428" fmla="*/ 2392325 h 4492350"/>
                <a:gd name="connsiteX8-3429" fmla="*/ 0 w 3694535"/>
                <a:gd name="connsiteY8-3430" fmla="*/ 754911 h 4492350"/>
                <a:gd name="connsiteX9-3431" fmla="*/ 988828 w 3694535"/>
                <a:gd name="connsiteY9-3432" fmla="*/ 1924493 h 4492350"/>
                <a:gd name="connsiteX10-3433" fmla="*/ 1137684 w 3694535"/>
                <a:gd name="connsiteY10-3434" fmla="*/ 861237 h 4492350"/>
                <a:gd name="connsiteX11-3435" fmla="*/ 1222745 w 3694535"/>
                <a:gd name="connsiteY11-3436" fmla="*/ 2062716 h 4492350"/>
                <a:gd name="connsiteX12-3437" fmla="*/ 1690577 w 3694535"/>
                <a:gd name="connsiteY12-3438" fmla="*/ 2190307 h 4492350"/>
                <a:gd name="connsiteX13-3439" fmla="*/ 1956391 w 3694535"/>
                <a:gd name="connsiteY13-3440" fmla="*/ 0 h 4492350"/>
                <a:gd name="connsiteX14-3441" fmla="*/ 2027834 w 3694535"/>
                <a:gd name="connsiteY14-3442" fmla="*/ 986216 h 4492350"/>
                <a:gd name="connsiteX15-3443" fmla="*/ 1881963 w 3694535"/>
                <a:gd name="connsiteY15-3444" fmla="*/ 2060385 h 4492350"/>
                <a:gd name="connsiteX16-3445" fmla="*/ 2057494 w 3694535"/>
                <a:gd name="connsiteY16-3446" fmla="*/ 3046321 h 4492350"/>
                <a:gd name="connsiteX17-3447" fmla="*/ 2647507 w 3694535"/>
                <a:gd name="connsiteY17-3448" fmla="*/ 2519916 h 4492350"/>
                <a:gd name="connsiteX18-3449" fmla="*/ 2913694 w 3694535"/>
                <a:gd name="connsiteY18-3450" fmla="*/ 1291762 h 4492350"/>
                <a:gd name="connsiteX19-3451" fmla="*/ 2806809 w 3694535"/>
                <a:gd name="connsiteY19-3452" fmla="*/ 2383091 h 4492350"/>
                <a:gd name="connsiteX20-3453" fmla="*/ 3694535 w 3694535"/>
                <a:gd name="connsiteY20-3454" fmla="*/ 1124252 h 4492350"/>
                <a:gd name="connsiteX21-3455" fmla="*/ 2222205 w 3694535"/>
                <a:gd name="connsiteY21-3456" fmla="*/ 3370521 h 4492350"/>
                <a:gd name="connsiteX22-3457" fmla="*/ 2169042 w 3694535"/>
                <a:gd name="connsiteY22-3458" fmla="*/ 3817088 h 4492350"/>
                <a:gd name="connsiteX23-3459" fmla="*/ 3317358 w 3694535"/>
                <a:gd name="connsiteY23-3460" fmla="*/ 3094074 h 4492350"/>
                <a:gd name="connsiteX24-3461" fmla="*/ 2194317 w 3694535"/>
                <a:gd name="connsiteY24-3462" fmla="*/ 4030951 h 4492350"/>
                <a:gd name="connsiteX25-3463" fmla="*/ 2232838 w 3694535"/>
                <a:gd name="connsiteY25-3464" fmla="*/ 4476307 h 4492350"/>
                <a:gd name="connsiteX26-3465" fmla="*/ 2218194 w 3694535"/>
                <a:gd name="connsiteY26-3466" fmla="*/ 4491415 h 4492350"/>
                <a:gd name="connsiteX27-3467" fmla="*/ 1743740 w 3694535"/>
                <a:gd name="connsiteY27-3468" fmla="*/ 4492350 h 4492350"/>
                <a:gd name="connsiteX0-3469" fmla="*/ 1743740 w 3694535"/>
                <a:gd name="connsiteY0-3470" fmla="*/ 4492350 h 4492350"/>
                <a:gd name="connsiteX1-3471" fmla="*/ 1796903 w 3694535"/>
                <a:gd name="connsiteY1-3472" fmla="*/ 3785190 h 4492350"/>
                <a:gd name="connsiteX2-3473" fmla="*/ 1307805 w 3694535"/>
                <a:gd name="connsiteY2-3474" fmla="*/ 3381153 h 4492350"/>
                <a:gd name="connsiteX3-3475" fmla="*/ 31898 w 3694535"/>
                <a:gd name="connsiteY3-3476" fmla="*/ 2945218 h 4492350"/>
                <a:gd name="connsiteX4-3477" fmla="*/ 1127052 w 3694535"/>
                <a:gd name="connsiteY4-3478" fmla="*/ 3242930 h 4492350"/>
                <a:gd name="connsiteX5-3479" fmla="*/ 393405 w 3694535"/>
                <a:gd name="connsiteY5-3480" fmla="*/ 2456121 h 4492350"/>
                <a:gd name="connsiteX6-3481" fmla="*/ 1775638 w 3694535"/>
                <a:gd name="connsiteY6-3482" fmla="*/ 3519376 h 4492350"/>
                <a:gd name="connsiteX7-3483" fmla="*/ 1679945 w 3694535"/>
                <a:gd name="connsiteY7-3484" fmla="*/ 2392325 h 4492350"/>
                <a:gd name="connsiteX8-3485" fmla="*/ 0 w 3694535"/>
                <a:gd name="connsiteY8-3486" fmla="*/ 754911 h 4492350"/>
                <a:gd name="connsiteX9-3487" fmla="*/ 988828 w 3694535"/>
                <a:gd name="connsiteY9-3488" fmla="*/ 1924493 h 4492350"/>
                <a:gd name="connsiteX10-3489" fmla="*/ 1137684 w 3694535"/>
                <a:gd name="connsiteY10-3490" fmla="*/ 861237 h 4492350"/>
                <a:gd name="connsiteX11-3491" fmla="*/ 1222745 w 3694535"/>
                <a:gd name="connsiteY11-3492" fmla="*/ 2062716 h 4492350"/>
                <a:gd name="connsiteX12-3493" fmla="*/ 1690577 w 3694535"/>
                <a:gd name="connsiteY12-3494" fmla="*/ 2190307 h 4492350"/>
                <a:gd name="connsiteX13-3495" fmla="*/ 1956391 w 3694535"/>
                <a:gd name="connsiteY13-3496" fmla="*/ 0 h 4492350"/>
                <a:gd name="connsiteX14-3497" fmla="*/ 2027834 w 3694535"/>
                <a:gd name="connsiteY14-3498" fmla="*/ 986216 h 4492350"/>
                <a:gd name="connsiteX15-3499" fmla="*/ 1881963 w 3694535"/>
                <a:gd name="connsiteY15-3500" fmla="*/ 2060385 h 4492350"/>
                <a:gd name="connsiteX16-3501" fmla="*/ 2057494 w 3694535"/>
                <a:gd name="connsiteY16-3502" fmla="*/ 3046321 h 4492350"/>
                <a:gd name="connsiteX17-3503" fmla="*/ 2647507 w 3694535"/>
                <a:gd name="connsiteY17-3504" fmla="*/ 2519916 h 4492350"/>
                <a:gd name="connsiteX18-3505" fmla="*/ 2913694 w 3694535"/>
                <a:gd name="connsiteY18-3506" fmla="*/ 1291762 h 4492350"/>
                <a:gd name="connsiteX19-3507" fmla="*/ 2806809 w 3694535"/>
                <a:gd name="connsiteY19-3508" fmla="*/ 2383091 h 4492350"/>
                <a:gd name="connsiteX20-3509" fmla="*/ 3694535 w 3694535"/>
                <a:gd name="connsiteY20-3510" fmla="*/ 1124252 h 4492350"/>
                <a:gd name="connsiteX21-3511" fmla="*/ 2222205 w 3694535"/>
                <a:gd name="connsiteY21-3512" fmla="*/ 3370521 h 4492350"/>
                <a:gd name="connsiteX22-3513" fmla="*/ 2169042 w 3694535"/>
                <a:gd name="connsiteY22-3514" fmla="*/ 3817088 h 4492350"/>
                <a:gd name="connsiteX23-3515" fmla="*/ 3317358 w 3694535"/>
                <a:gd name="connsiteY23-3516" fmla="*/ 3094074 h 4492350"/>
                <a:gd name="connsiteX24-3517" fmla="*/ 2194317 w 3694535"/>
                <a:gd name="connsiteY24-3518" fmla="*/ 4030951 h 4492350"/>
                <a:gd name="connsiteX25-3519" fmla="*/ 2232838 w 3694535"/>
                <a:gd name="connsiteY25-3520" fmla="*/ 4476307 h 4492350"/>
                <a:gd name="connsiteX26-3521" fmla="*/ 2218194 w 3694535"/>
                <a:gd name="connsiteY26-3522" fmla="*/ 4491415 h 4492350"/>
                <a:gd name="connsiteX27-3523" fmla="*/ 1743740 w 3694535"/>
                <a:gd name="connsiteY27-3524" fmla="*/ 4492350 h 4492350"/>
                <a:gd name="connsiteX0-3525" fmla="*/ 1743740 w 3694535"/>
                <a:gd name="connsiteY0-3526" fmla="*/ 4492350 h 4492350"/>
                <a:gd name="connsiteX1-3527" fmla="*/ 1796903 w 3694535"/>
                <a:gd name="connsiteY1-3528" fmla="*/ 3785190 h 4492350"/>
                <a:gd name="connsiteX2-3529" fmla="*/ 1307805 w 3694535"/>
                <a:gd name="connsiteY2-3530" fmla="*/ 3381153 h 4492350"/>
                <a:gd name="connsiteX3-3531" fmla="*/ 31898 w 3694535"/>
                <a:gd name="connsiteY3-3532" fmla="*/ 2945218 h 4492350"/>
                <a:gd name="connsiteX4-3533" fmla="*/ 1127052 w 3694535"/>
                <a:gd name="connsiteY4-3534" fmla="*/ 3242930 h 4492350"/>
                <a:gd name="connsiteX5-3535" fmla="*/ 393405 w 3694535"/>
                <a:gd name="connsiteY5-3536" fmla="*/ 2456121 h 4492350"/>
                <a:gd name="connsiteX6-3537" fmla="*/ 1775638 w 3694535"/>
                <a:gd name="connsiteY6-3538" fmla="*/ 3519376 h 4492350"/>
                <a:gd name="connsiteX7-3539" fmla="*/ 1679945 w 3694535"/>
                <a:gd name="connsiteY7-3540" fmla="*/ 2392325 h 4492350"/>
                <a:gd name="connsiteX8-3541" fmla="*/ 0 w 3694535"/>
                <a:gd name="connsiteY8-3542" fmla="*/ 754911 h 4492350"/>
                <a:gd name="connsiteX9-3543" fmla="*/ 988828 w 3694535"/>
                <a:gd name="connsiteY9-3544" fmla="*/ 1924493 h 4492350"/>
                <a:gd name="connsiteX10-3545" fmla="*/ 1137684 w 3694535"/>
                <a:gd name="connsiteY10-3546" fmla="*/ 861237 h 4492350"/>
                <a:gd name="connsiteX11-3547" fmla="*/ 1222745 w 3694535"/>
                <a:gd name="connsiteY11-3548" fmla="*/ 2062716 h 4492350"/>
                <a:gd name="connsiteX12-3549" fmla="*/ 1690577 w 3694535"/>
                <a:gd name="connsiteY12-3550" fmla="*/ 2190307 h 4492350"/>
                <a:gd name="connsiteX13-3551" fmla="*/ 1956391 w 3694535"/>
                <a:gd name="connsiteY13-3552" fmla="*/ 0 h 4492350"/>
                <a:gd name="connsiteX14-3553" fmla="*/ 2027834 w 3694535"/>
                <a:gd name="connsiteY14-3554" fmla="*/ 986216 h 4492350"/>
                <a:gd name="connsiteX15-3555" fmla="*/ 1881963 w 3694535"/>
                <a:gd name="connsiteY15-3556" fmla="*/ 2060385 h 4492350"/>
                <a:gd name="connsiteX16-3557" fmla="*/ 2057494 w 3694535"/>
                <a:gd name="connsiteY16-3558" fmla="*/ 3046321 h 4492350"/>
                <a:gd name="connsiteX17-3559" fmla="*/ 2647507 w 3694535"/>
                <a:gd name="connsiteY17-3560" fmla="*/ 2519916 h 4492350"/>
                <a:gd name="connsiteX18-3561" fmla="*/ 2913694 w 3694535"/>
                <a:gd name="connsiteY18-3562" fmla="*/ 1291762 h 4492350"/>
                <a:gd name="connsiteX19-3563" fmla="*/ 2806809 w 3694535"/>
                <a:gd name="connsiteY19-3564" fmla="*/ 2383091 h 4492350"/>
                <a:gd name="connsiteX20-3565" fmla="*/ 3694535 w 3694535"/>
                <a:gd name="connsiteY20-3566" fmla="*/ 1124252 h 4492350"/>
                <a:gd name="connsiteX21-3567" fmla="*/ 2222205 w 3694535"/>
                <a:gd name="connsiteY21-3568" fmla="*/ 3370521 h 4492350"/>
                <a:gd name="connsiteX22-3569" fmla="*/ 2169042 w 3694535"/>
                <a:gd name="connsiteY22-3570" fmla="*/ 3817088 h 4492350"/>
                <a:gd name="connsiteX23-3571" fmla="*/ 3317358 w 3694535"/>
                <a:gd name="connsiteY23-3572" fmla="*/ 3094074 h 4492350"/>
                <a:gd name="connsiteX24-3573" fmla="*/ 2194317 w 3694535"/>
                <a:gd name="connsiteY24-3574" fmla="*/ 4030951 h 4492350"/>
                <a:gd name="connsiteX25-3575" fmla="*/ 2232838 w 3694535"/>
                <a:gd name="connsiteY25-3576" fmla="*/ 4476307 h 4492350"/>
                <a:gd name="connsiteX26-3577" fmla="*/ 2218194 w 3694535"/>
                <a:gd name="connsiteY26-3578" fmla="*/ 4491415 h 4492350"/>
                <a:gd name="connsiteX27-3579" fmla="*/ 1743740 w 3694535"/>
                <a:gd name="connsiteY27-3580" fmla="*/ 4492350 h 4492350"/>
                <a:gd name="connsiteX0-3581" fmla="*/ 1743740 w 3694535"/>
                <a:gd name="connsiteY0-3582" fmla="*/ 4492350 h 4492350"/>
                <a:gd name="connsiteX1-3583" fmla="*/ 1796903 w 3694535"/>
                <a:gd name="connsiteY1-3584" fmla="*/ 3785190 h 4492350"/>
                <a:gd name="connsiteX2-3585" fmla="*/ 1307805 w 3694535"/>
                <a:gd name="connsiteY2-3586" fmla="*/ 3381153 h 4492350"/>
                <a:gd name="connsiteX3-3587" fmla="*/ 31898 w 3694535"/>
                <a:gd name="connsiteY3-3588" fmla="*/ 2945218 h 4492350"/>
                <a:gd name="connsiteX4-3589" fmla="*/ 1127052 w 3694535"/>
                <a:gd name="connsiteY4-3590" fmla="*/ 3242930 h 4492350"/>
                <a:gd name="connsiteX5-3591" fmla="*/ 393405 w 3694535"/>
                <a:gd name="connsiteY5-3592" fmla="*/ 2456121 h 4492350"/>
                <a:gd name="connsiteX6-3593" fmla="*/ 1775638 w 3694535"/>
                <a:gd name="connsiteY6-3594" fmla="*/ 3519376 h 4492350"/>
                <a:gd name="connsiteX7-3595" fmla="*/ 1679945 w 3694535"/>
                <a:gd name="connsiteY7-3596" fmla="*/ 2392325 h 4492350"/>
                <a:gd name="connsiteX8-3597" fmla="*/ 0 w 3694535"/>
                <a:gd name="connsiteY8-3598" fmla="*/ 754911 h 4492350"/>
                <a:gd name="connsiteX9-3599" fmla="*/ 988828 w 3694535"/>
                <a:gd name="connsiteY9-3600" fmla="*/ 1924493 h 4492350"/>
                <a:gd name="connsiteX10-3601" fmla="*/ 1137684 w 3694535"/>
                <a:gd name="connsiteY10-3602" fmla="*/ 861237 h 4492350"/>
                <a:gd name="connsiteX11-3603" fmla="*/ 1222745 w 3694535"/>
                <a:gd name="connsiteY11-3604" fmla="*/ 2062716 h 4492350"/>
                <a:gd name="connsiteX12-3605" fmla="*/ 1690577 w 3694535"/>
                <a:gd name="connsiteY12-3606" fmla="*/ 2190307 h 4492350"/>
                <a:gd name="connsiteX13-3607" fmla="*/ 1956391 w 3694535"/>
                <a:gd name="connsiteY13-3608" fmla="*/ 0 h 4492350"/>
                <a:gd name="connsiteX14-3609" fmla="*/ 2027834 w 3694535"/>
                <a:gd name="connsiteY14-3610" fmla="*/ 986216 h 4492350"/>
                <a:gd name="connsiteX15-3611" fmla="*/ 1881963 w 3694535"/>
                <a:gd name="connsiteY15-3612" fmla="*/ 2060385 h 4492350"/>
                <a:gd name="connsiteX16-3613" fmla="*/ 2057494 w 3694535"/>
                <a:gd name="connsiteY16-3614" fmla="*/ 3046321 h 4492350"/>
                <a:gd name="connsiteX17-3615" fmla="*/ 2647507 w 3694535"/>
                <a:gd name="connsiteY17-3616" fmla="*/ 2519916 h 4492350"/>
                <a:gd name="connsiteX18-3617" fmla="*/ 2913694 w 3694535"/>
                <a:gd name="connsiteY18-3618" fmla="*/ 1291762 h 4492350"/>
                <a:gd name="connsiteX19-3619" fmla="*/ 2806809 w 3694535"/>
                <a:gd name="connsiteY19-3620" fmla="*/ 2383091 h 4492350"/>
                <a:gd name="connsiteX20-3621" fmla="*/ 3694535 w 3694535"/>
                <a:gd name="connsiteY20-3622" fmla="*/ 1124252 h 4492350"/>
                <a:gd name="connsiteX21-3623" fmla="*/ 2222205 w 3694535"/>
                <a:gd name="connsiteY21-3624" fmla="*/ 3370521 h 4492350"/>
                <a:gd name="connsiteX22-3625" fmla="*/ 2169042 w 3694535"/>
                <a:gd name="connsiteY22-3626" fmla="*/ 3817088 h 4492350"/>
                <a:gd name="connsiteX23-3627" fmla="*/ 3317358 w 3694535"/>
                <a:gd name="connsiteY23-3628" fmla="*/ 3094074 h 4492350"/>
                <a:gd name="connsiteX24-3629" fmla="*/ 2194317 w 3694535"/>
                <a:gd name="connsiteY24-3630" fmla="*/ 4030951 h 4492350"/>
                <a:gd name="connsiteX25-3631" fmla="*/ 2232838 w 3694535"/>
                <a:gd name="connsiteY25-3632" fmla="*/ 4476307 h 4492350"/>
                <a:gd name="connsiteX26-3633" fmla="*/ 2218194 w 3694535"/>
                <a:gd name="connsiteY26-3634" fmla="*/ 4491415 h 4492350"/>
                <a:gd name="connsiteX27-3635" fmla="*/ 1743740 w 3694535"/>
                <a:gd name="connsiteY27-3636" fmla="*/ 4492350 h 4492350"/>
                <a:gd name="connsiteX0-3637" fmla="*/ 1743740 w 3694535"/>
                <a:gd name="connsiteY0-3638" fmla="*/ 4492350 h 4492350"/>
                <a:gd name="connsiteX1-3639" fmla="*/ 1796903 w 3694535"/>
                <a:gd name="connsiteY1-3640" fmla="*/ 3785190 h 4492350"/>
                <a:gd name="connsiteX2-3641" fmla="*/ 1307805 w 3694535"/>
                <a:gd name="connsiteY2-3642" fmla="*/ 3381153 h 4492350"/>
                <a:gd name="connsiteX3-3643" fmla="*/ 31898 w 3694535"/>
                <a:gd name="connsiteY3-3644" fmla="*/ 2945218 h 4492350"/>
                <a:gd name="connsiteX4-3645" fmla="*/ 1127052 w 3694535"/>
                <a:gd name="connsiteY4-3646" fmla="*/ 3242930 h 4492350"/>
                <a:gd name="connsiteX5-3647" fmla="*/ 393405 w 3694535"/>
                <a:gd name="connsiteY5-3648" fmla="*/ 2456121 h 4492350"/>
                <a:gd name="connsiteX6-3649" fmla="*/ 1775638 w 3694535"/>
                <a:gd name="connsiteY6-3650" fmla="*/ 3519376 h 4492350"/>
                <a:gd name="connsiteX7-3651" fmla="*/ 1679945 w 3694535"/>
                <a:gd name="connsiteY7-3652" fmla="*/ 2392325 h 4492350"/>
                <a:gd name="connsiteX8-3653" fmla="*/ 0 w 3694535"/>
                <a:gd name="connsiteY8-3654" fmla="*/ 754911 h 4492350"/>
                <a:gd name="connsiteX9-3655" fmla="*/ 988828 w 3694535"/>
                <a:gd name="connsiteY9-3656" fmla="*/ 1924493 h 4492350"/>
                <a:gd name="connsiteX10-3657" fmla="*/ 1137684 w 3694535"/>
                <a:gd name="connsiteY10-3658" fmla="*/ 861237 h 4492350"/>
                <a:gd name="connsiteX11-3659" fmla="*/ 1222745 w 3694535"/>
                <a:gd name="connsiteY11-3660" fmla="*/ 2062716 h 4492350"/>
                <a:gd name="connsiteX12-3661" fmla="*/ 1690577 w 3694535"/>
                <a:gd name="connsiteY12-3662" fmla="*/ 2190307 h 4492350"/>
                <a:gd name="connsiteX13-3663" fmla="*/ 1956391 w 3694535"/>
                <a:gd name="connsiteY13-3664" fmla="*/ 0 h 4492350"/>
                <a:gd name="connsiteX14-3665" fmla="*/ 2027834 w 3694535"/>
                <a:gd name="connsiteY14-3666" fmla="*/ 986216 h 4492350"/>
                <a:gd name="connsiteX15-3667" fmla="*/ 1881963 w 3694535"/>
                <a:gd name="connsiteY15-3668" fmla="*/ 2060385 h 4492350"/>
                <a:gd name="connsiteX16-3669" fmla="*/ 2057494 w 3694535"/>
                <a:gd name="connsiteY16-3670" fmla="*/ 3046321 h 4492350"/>
                <a:gd name="connsiteX17-3671" fmla="*/ 2647507 w 3694535"/>
                <a:gd name="connsiteY17-3672" fmla="*/ 2519916 h 4492350"/>
                <a:gd name="connsiteX18-3673" fmla="*/ 2913694 w 3694535"/>
                <a:gd name="connsiteY18-3674" fmla="*/ 1291762 h 4492350"/>
                <a:gd name="connsiteX19-3675" fmla="*/ 2806809 w 3694535"/>
                <a:gd name="connsiteY19-3676" fmla="*/ 2383091 h 4492350"/>
                <a:gd name="connsiteX20-3677" fmla="*/ 3694535 w 3694535"/>
                <a:gd name="connsiteY20-3678" fmla="*/ 1124252 h 4492350"/>
                <a:gd name="connsiteX21-3679" fmla="*/ 2222205 w 3694535"/>
                <a:gd name="connsiteY21-3680" fmla="*/ 3370521 h 4492350"/>
                <a:gd name="connsiteX22-3681" fmla="*/ 2169042 w 3694535"/>
                <a:gd name="connsiteY22-3682" fmla="*/ 3817088 h 4492350"/>
                <a:gd name="connsiteX23-3683" fmla="*/ 3317358 w 3694535"/>
                <a:gd name="connsiteY23-3684" fmla="*/ 3094074 h 4492350"/>
                <a:gd name="connsiteX24-3685" fmla="*/ 2194317 w 3694535"/>
                <a:gd name="connsiteY24-3686" fmla="*/ 4030951 h 4492350"/>
                <a:gd name="connsiteX25-3687" fmla="*/ 2232838 w 3694535"/>
                <a:gd name="connsiteY25-3688" fmla="*/ 4476307 h 4492350"/>
                <a:gd name="connsiteX26-3689" fmla="*/ 2218194 w 3694535"/>
                <a:gd name="connsiteY26-3690" fmla="*/ 4491415 h 4492350"/>
                <a:gd name="connsiteX27-3691" fmla="*/ 1743740 w 3694535"/>
                <a:gd name="connsiteY27-3692" fmla="*/ 4492350 h 4492350"/>
                <a:gd name="connsiteX0-3693" fmla="*/ 1743740 w 3694535"/>
                <a:gd name="connsiteY0-3694" fmla="*/ 4492350 h 4492350"/>
                <a:gd name="connsiteX1-3695" fmla="*/ 1796903 w 3694535"/>
                <a:gd name="connsiteY1-3696" fmla="*/ 3785190 h 4492350"/>
                <a:gd name="connsiteX2-3697" fmla="*/ 1307805 w 3694535"/>
                <a:gd name="connsiteY2-3698" fmla="*/ 3381153 h 4492350"/>
                <a:gd name="connsiteX3-3699" fmla="*/ 31898 w 3694535"/>
                <a:gd name="connsiteY3-3700" fmla="*/ 2945218 h 4492350"/>
                <a:gd name="connsiteX4-3701" fmla="*/ 1127052 w 3694535"/>
                <a:gd name="connsiteY4-3702" fmla="*/ 3242930 h 4492350"/>
                <a:gd name="connsiteX5-3703" fmla="*/ 393405 w 3694535"/>
                <a:gd name="connsiteY5-3704" fmla="*/ 2456121 h 4492350"/>
                <a:gd name="connsiteX6-3705" fmla="*/ 1775638 w 3694535"/>
                <a:gd name="connsiteY6-3706" fmla="*/ 3519376 h 4492350"/>
                <a:gd name="connsiteX7-3707" fmla="*/ 1679945 w 3694535"/>
                <a:gd name="connsiteY7-3708" fmla="*/ 2392325 h 4492350"/>
                <a:gd name="connsiteX8-3709" fmla="*/ 0 w 3694535"/>
                <a:gd name="connsiteY8-3710" fmla="*/ 754911 h 4492350"/>
                <a:gd name="connsiteX9-3711" fmla="*/ 988828 w 3694535"/>
                <a:gd name="connsiteY9-3712" fmla="*/ 1924493 h 4492350"/>
                <a:gd name="connsiteX10-3713" fmla="*/ 1137684 w 3694535"/>
                <a:gd name="connsiteY10-3714" fmla="*/ 861237 h 4492350"/>
                <a:gd name="connsiteX11-3715" fmla="*/ 1222745 w 3694535"/>
                <a:gd name="connsiteY11-3716" fmla="*/ 2062716 h 4492350"/>
                <a:gd name="connsiteX12-3717" fmla="*/ 1690577 w 3694535"/>
                <a:gd name="connsiteY12-3718" fmla="*/ 2190307 h 4492350"/>
                <a:gd name="connsiteX13-3719" fmla="*/ 1956391 w 3694535"/>
                <a:gd name="connsiteY13-3720" fmla="*/ 0 h 4492350"/>
                <a:gd name="connsiteX14-3721" fmla="*/ 2027834 w 3694535"/>
                <a:gd name="connsiteY14-3722" fmla="*/ 986216 h 4492350"/>
                <a:gd name="connsiteX15-3723" fmla="*/ 1881963 w 3694535"/>
                <a:gd name="connsiteY15-3724" fmla="*/ 2060385 h 4492350"/>
                <a:gd name="connsiteX16-3725" fmla="*/ 2057494 w 3694535"/>
                <a:gd name="connsiteY16-3726" fmla="*/ 3046321 h 4492350"/>
                <a:gd name="connsiteX17-3727" fmla="*/ 2647507 w 3694535"/>
                <a:gd name="connsiteY17-3728" fmla="*/ 2519916 h 4492350"/>
                <a:gd name="connsiteX18-3729" fmla="*/ 2913694 w 3694535"/>
                <a:gd name="connsiteY18-3730" fmla="*/ 1291762 h 4492350"/>
                <a:gd name="connsiteX19-3731" fmla="*/ 2806809 w 3694535"/>
                <a:gd name="connsiteY19-3732" fmla="*/ 2383091 h 4492350"/>
                <a:gd name="connsiteX20-3733" fmla="*/ 3694535 w 3694535"/>
                <a:gd name="connsiteY20-3734" fmla="*/ 1124252 h 4492350"/>
                <a:gd name="connsiteX21-3735" fmla="*/ 2222205 w 3694535"/>
                <a:gd name="connsiteY21-3736" fmla="*/ 3370521 h 4492350"/>
                <a:gd name="connsiteX22-3737" fmla="*/ 2169042 w 3694535"/>
                <a:gd name="connsiteY22-3738" fmla="*/ 3817088 h 4492350"/>
                <a:gd name="connsiteX23-3739" fmla="*/ 3317358 w 3694535"/>
                <a:gd name="connsiteY23-3740" fmla="*/ 3094074 h 4492350"/>
                <a:gd name="connsiteX24-3741" fmla="*/ 2194317 w 3694535"/>
                <a:gd name="connsiteY24-3742" fmla="*/ 4030951 h 4492350"/>
                <a:gd name="connsiteX25-3743" fmla="*/ 2232838 w 3694535"/>
                <a:gd name="connsiteY25-3744" fmla="*/ 4476307 h 4492350"/>
                <a:gd name="connsiteX26-3745" fmla="*/ 2218194 w 3694535"/>
                <a:gd name="connsiteY26-3746" fmla="*/ 4491415 h 4492350"/>
                <a:gd name="connsiteX27-3747" fmla="*/ 1743740 w 3694535"/>
                <a:gd name="connsiteY27-3748" fmla="*/ 4492350 h 4492350"/>
                <a:gd name="connsiteX0-3749" fmla="*/ 1743740 w 3694535"/>
                <a:gd name="connsiteY0-3750" fmla="*/ 4492350 h 4492350"/>
                <a:gd name="connsiteX1-3751" fmla="*/ 1796903 w 3694535"/>
                <a:gd name="connsiteY1-3752" fmla="*/ 3785190 h 4492350"/>
                <a:gd name="connsiteX2-3753" fmla="*/ 1307805 w 3694535"/>
                <a:gd name="connsiteY2-3754" fmla="*/ 3381153 h 4492350"/>
                <a:gd name="connsiteX3-3755" fmla="*/ 31898 w 3694535"/>
                <a:gd name="connsiteY3-3756" fmla="*/ 2945218 h 4492350"/>
                <a:gd name="connsiteX4-3757" fmla="*/ 1127052 w 3694535"/>
                <a:gd name="connsiteY4-3758" fmla="*/ 3242930 h 4492350"/>
                <a:gd name="connsiteX5-3759" fmla="*/ 393405 w 3694535"/>
                <a:gd name="connsiteY5-3760" fmla="*/ 2456121 h 4492350"/>
                <a:gd name="connsiteX6-3761" fmla="*/ 1775638 w 3694535"/>
                <a:gd name="connsiteY6-3762" fmla="*/ 3519376 h 4492350"/>
                <a:gd name="connsiteX7-3763" fmla="*/ 1679945 w 3694535"/>
                <a:gd name="connsiteY7-3764" fmla="*/ 2392325 h 4492350"/>
                <a:gd name="connsiteX8-3765" fmla="*/ 0 w 3694535"/>
                <a:gd name="connsiteY8-3766" fmla="*/ 754911 h 4492350"/>
                <a:gd name="connsiteX9-3767" fmla="*/ 988828 w 3694535"/>
                <a:gd name="connsiteY9-3768" fmla="*/ 1924493 h 4492350"/>
                <a:gd name="connsiteX10-3769" fmla="*/ 1137684 w 3694535"/>
                <a:gd name="connsiteY10-3770" fmla="*/ 861237 h 4492350"/>
                <a:gd name="connsiteX11-3771" fmla="*/ 1222745 w 3694535"/>
                <a:gd name="connsiteY11-3772" fmla="*/ 2062716 h 4492350"/>
                <a:gd name="connsiteX12-3773" fmla="*/ 1690577 w 3694535"/>
                <a:gd name="connsiteY12-3774" fmla="*/ 2190307 h 4492350"/>
                <a:gd name="connsiteX13-3775" fmla="*/ 1956391 w 3694535"/>
                <a:gd name="connsiteY13-3776" fmla="*/ 0 h 4492350"/>
                <a:gd name="connsiteX14-3777" fmla="*/ 2027834 w 3694535"/>
                <a:gd name="connsiteY14-3778" fmla="*/ 986216 h 4492350"/>
                <a:gd name="connsiteX15-3779" fmla="*/ 1881963 w 3694535"/>
                <a:gd name="connsiteY15-3780" fmla="*/ 2060385 h 4492350"/>
                <a:gd name="connsiteX16-3781" fmla="*/ 2057494 w 3694535"/>
                <a:gd name="connsiteY16-3782" fmla="*/ 3046321 h 4492350"/>
                <a:gd name="connsiteX17-3783" fmla="*/ 2647507 w 3694535"/>
                <a:gd name="connsiteY17-3784" fmla="*/ 2519916 h 4492350"/>
                <a:gd name="connsiteX18-3785" fmla="*/ 2913694 w 3694535"/>
                <a:gd name="connsiteY18-3786" fmla="*/ 1291762 h 4492350"/>
                <a:gd name="connsiteX19-3787" fmla="*/ 2806809 w 3694535"/>
                <a:gd name="connsiteY19-3788" fmla="*/ 2383091 h 4492350"/>
                <a:gd name="connsiteX20-3789" fmla="*/ 3694535 w 3694535"/>
                <a:gd name="connsiteY20-3790" fmla="*/ 1124252 h 4492350"/>
                <a:gd name="connsiteX21-3791" fmla="*/ 2222205 w 3694535"/>
                <a:gd name="connsiteY21-3792" fmla="*/ 3370521 h 4492350"/>
                <a:gd name="connsiteX22-3793" fmla="*/ 2169042 w 3694535"/>
                <a:gd name="connsiteY22-3794" fmla="*/ 3817088 h 4492350"/>
                <a:gd name="connsiteX23-3795" fmla="*/ 3317358 w 3694535"/>
                <a:gd name="connsiteY23-3796" fmla="*/ 3094074 h 4492350"/>
                <a:gd name="connsiteX24-3797" fmla="*/ 2194317 w 3694535"/>
                <a:gd name="connsiteY24-3798" fmla="*/ 4030951 h 4492350"/>
                <a:gd name="connsiteX25-3799" fmla="*/ 2232838 w 3694535"/>
                <a:gd name="connsiteY25-3800" fmla="*/ 4476307 h 4492350"/>
                <a:gd name="connsiteX26-3801" fmla="*/ 2218194 w 3694535"/>
                <a:gd name="connsiteY26-3802" fmla="*/ 4491415 h 4492350"/>
                <a:gd name="connsiteX27-3803" fmla="*/ 1743740 w 3694535"/>
                <a:gd name="connsiteY27-3804" fmla="*/ 4492350 h 4492350"/>
                <a:gd name="connsiteX0-3805" fmla="*/ 1743740 w 3694535"/>
                <a:gd name="connsiteY0-3806" fmla="*/ 4492350 h 4492350"/>
                <a:gd name="connsiteX1-3807" fmla="*/ 1796903 w 3694535"/>
                <a:gd name="connsiteY1-3808" fmla="*/ 3785190 h 4492350"/>
                <a:gd name="connsiteX2-3809" fmla="*/ 1307805 w 3694535"/>
                <a:gd name="connsiteY2-3810" fmla="*/ 3381153 h 4492350"/>
                <a:gd name="connsiteX3-3811" fmla="*/ 31898 w 3694535"/>
                <a:gd name="connsiteY3-3812" fmla="*/ 2945218 h 4492350"/>
                <a:gd name="connsiteX4-3813" fmla="*/ 1127052 w 3694535"/>
                <a:gd name="connsiteY4-3814" fmla="*/ 3242930 h 4492350"/>
                <a:gd name="connsiteX5-3815" fmla="*/ 393405 w 3694535"/>
                <a:gd name="connsiteY5-3816" fmla="*/ 2456121 h 4492350"/>
                <a:gd name="connsiteX6-3817" fmla="*/ 1775638 w 3694535"/>
                <a:gd name="connsiteY6-3818" fmla="*/ 3519376 h 4492350"/>
                <a:gd name="connsiteX7-3819" fmla="*/ 1683956 w 3694535"/>
                <a:gd name="connsiteY7-3820" fmla="*/ 2424409 h 4492350"/>
                <a:gd name="connsiteX8-3821" fmla="*/ 0 w 3694535"/>
                <a:gd name="connsiteY8-3822" fmla="*/ 754911 h 4492350"/>
                <a:gd name="connsiteX9-3823" fmla="*/ 988828 w 3694535"/>
                <a:gd name="connsiteY9-3824" fmla="*/ 1924493 h 4492350"/>
                <a:gd name="connsiteX10-3825" fmla="*/ 1137684 w 3694535"/>
                <a:gd name="connsiteY10-3826" fmla="*/ 861237 h 4492350"/>
                <a:gd name="connsiteX11-3827" fmla="*/ 1222745 w 3694535"/>
                <a:gd name="connsiteY11-3828" fmla="*/ 2062716 h 4492350"/>
                <a:gd name="connsiteX12-3829" fmla="*/ 1690577 w 3694535"/>
                <a:gd name="connsiteY12-3830" fmla="*/ 2190307 h 4492350"/>
                <a:gd name="connsiteX13-3831" fmla="*/ 1956391 w 3694535"/>
                <a:gd name="connsiteY13-3832" fmla="*/ 0 h 4492350"/>
                <a:gd name="connsiteX14-3833" fmla="*/ 2027834 w 3694535"/>
                <a:gd name="connsiteY14-3834" fmla="*/ 986216 h 4492350"/>
                <a:gd name="connsiteX15-3835" fmla="*/ 1881963 w 3694535"/>
                <a:gd name="connsiteY15-3836" fmla="*/ 2060385 h 4492350"/>
                <a:gd name="connsiteX16-3837" fmla="*/ 2057494 w 3694535"/>
                <a:gd name="connsiteY16-3838" fmla="*/ 3046321 h 4492350"/>
                <a:gd name="connsiteX17-3839" fmla="*/ 2647507 w 3694535"/>
                <a:gd name="connsiteY17-3840" fmla="*/ 2519916 h 4492350"/>
                <a:gd name="connsiteX18-3841" fmla="*/ 2913694 w 3694535"/>
                <a:gd name="connsiteY18-3842" fmla="*/ 1291762 h 4492350"/>
                <a:gd name="connsiteX19-3843" fmla="*/ 2806809 w 3694535"/>
                <a:gd name="connsiteY19-3844" fmla="*/ 2383091 h 4492350"/>
                <a:gd name="connsiteX20-3845" fmla="*/ 3694535 w 3694535"/>
                <a:gd name="connsiteY20-3846" fmla="*/ 1124252 h 4492350"/>
                <a:gd name="connsiteX21-3847" fmla="*/ 2222205 w 3694535"/>
                <a:gd name="connsiteY21-3848" fmla="*/ 3370521 h 4492350"/>
                <a:gd name="connsiteX22-3849" fmla="*/ 2169042 w 3694535"/>
                <a:gd name="connsiteY22-3850" fmla="*/ 3817088 h 4492350"/>
                <a:gd name="connsiteX23-3851" fmla="*/ 3317358 w 3694535"/>
                <a:gd name="connsiteY23-3852" fmla="*/ 3094074 h 4492350"/>
                <a:gd name="connsiteX24-3853" fmla="*/ 2194317 w 3694535"/>
                <a:gd name="connsiteY24-3854" fmla="*/ 4030951 h 4492350"/>
                <a:gd name="connsiteX25-3855" fmla="*/ 2232838 w 3694535"/>
                <a:gd name="connsiteY25-3856" fmla="*/ 4476307 h 4492350"/>
                <a:gd name="connsiteX26-3857" fmla="*/ 2218194 w 3694535"/>
                <a:gd name="connsiteY26-3858" fmla="*/ 4491415 h 4492350"/>
                <a:gd name="connsiteX27-3859" fmla="*/ 1743740 w 3694535"/>
                <a:gd name="connsiteY27-3860" fmla="*/ 4492350 h 4492350"/>
                <a:gd name="connsiteX0-3861" fmla="*/ 1743740 w 3694535"/>
                <a:gd name="connsiteY0-3862" fmla="*/ 4492350 h 4492350"/>
                <a:gd name="connsiteX1-3863" fmla="*/ 1796903 w 3694535"/>
                <a:gd name="connsiteY1-3864" fmla="*/ 3785190 h 4492350"/>
                <a:gd name="connsiteX2-3865" fmla="*/ 1307805 w 3694535"/>
                <a:gd name="connsiteY2-3866" fmla="*/ 3381153 h 4492350"/>
                <a:gd name="connsiteX3-3867" fmla="*/ 31898 w 3694535"/>
                <a:gd name="connsiteY3-3868" fmla="*/ 2945218 h 4492350"/>
                <a:gd name="connsiteX4-3869" fmla="*/ 1127052 w 3694535"/>
                <a:gd name="connsiteY4-3870" fmla="*/ 3242930 h 4492350"/>
                <a:gd name="connsiteX5-3871" fmla="*/ 393405 w 3694535"/>
                <a:gd name="connsiteY5-3872" fmla="*/ 2456121 h 4492350"/>
                <a:gd name="connsiteX6-3873" fmla="*/ 1775638 w 3694535"/>
                <a:gd name="connsiteY6-3874" fmla="*/ 3519376 h 4492350"/>
                <a:gd name="connsiteX7-3875" fmla="*/ 1683956 w 3694535"/>
                <a:gd name="connsiteY7-3876" fmla="*/ 2424409 h 4492350"/>
                <a:gd name="connsiteX8-3877" fmla="*/ 0 w 3694535"/>
                <a:gd name="connsiteY8-3878" fmla="*/ 754911 h 4492350"/>
                <a:gd name="connsiteX9-3879" fmla="*/ 988828 w 3694535"/>
                <a:gd name="connsiteY9-3880" fmla="*/ 1924493 h 4492350"/>
                <a:gd name="connsiteX10-3881" fmla="*/ 1137684 w 3694535"/>
                <a:gd name="connsiteY10-3882" fmla="*/ 861237 h 4492350"/>
                <a:gd name="connsiteX11-3883" fmla="*/ 1222745 w 3694535"/>
                <a:gd name="connsiteY11-3884" fmla="*/ 2062716 h 4492350"/>
                <a:gd name="connsiteX12-3885" fmla="*/ 1690577 w 3694535"/>
                <a:gd name="connsiteY12-3886" fmla="*/ 2190307 h 4492350"/>
                <a:gd name="connsiteX13-3887" fmla="*/ 1956391 w 3694535"/>
                <a:gd name="connsiteY13-3888" fmla="*/ 0 h 4492350"/>
                <a:gd name="connsiteX14-3889" fmla="*/ 2027834 w 3694535"/>
                <a:gd name="connsiteY14-3890" fmla="*/ 986216 h 4492350"/>
                <a:gd name="connsiteX15-3891" fmla="*/ 1881963 w 3694535"/>
                <a:gd name="connsiteY15-3892" fmla="*/ 2060385 h 4492350"/>
                <a:gd name="connsiteX16-3893" fmla="*/ 2057494 w 3694535"/>
                <a:gd name="connsiteY16-3894" fmla="*/ 3046321 h 4492350"/>
                <a:gd name="connsiteX17-3895" fmla="*/ 2647507 w 3694535"/>
                <a:gd name="connsiteY17-3896" fmla="*/ 2519916 h 4492350"/>
                <a:gd name="connsiteX18-3897" fmla="*/ 2913694 w 3694535"/>
                <a:gd name="connsiteY18-3898" fmla="*/ 1291762 h 4492350"/>
                <a:gd name="connsiteX19-3899" fmla="*/ 2806809 w 3694535"/>
                <a:gd name="connsiteY19-3900" fmla="*/ 2383091 h 4492350"/>
                <a:gd name="connsiteX20-3901" fmla="*/ 3694535 w 3694535"/>
                <a:gd name="connsiteY20-3902" fmla="*/ 1124252 h 4492350"/>
                <a:gd name="connsiteX21-3903" fmla="*/ 2222205 w 3694535"/>
                <a:gd name="connsiteY21-3904" fmla="*/ 3370521 h 4492350"/>
                <a:gd name="connsiteX22-3905" fmla="*/ 2169042 w 3694535"/>
                <a:gd name="connsiteY22-3906" fmla="*/ 3817088 h 4492350"/>
                <a:gd name="connsiteX23-3907" fmla="*/ 3317358 w 3694535"/>
                <a:gd name="connsiteY23-3908" fmla="*/ 3094074 h 4492350"/>
                <a:gd name="connsiteX24-3909" fmla="*/ 2194317 w 3694535"/>
                <a:gd name="connsiteY24-3910" fmla="*/ 4030951 h 4492350"/>
                <a:gd name="connsiteX25-3911" fmla="*/ 2232838 w 3694535"/>
                <a:gd name="connsiteY25-3912" fmla="*/ 4476307 h 4492350"/>
                <a:gd name="connsiteX26-3913" fmla="*/ 2218194 w 3694535"/>
                <a:gd name="connsiteY26-3914" fmla="*/ 4491415 h 4492350"/>
                <a:gd name="connsiteX27-3915" fmla="*/ 1743740 w 3694535"/>
                <a:gd name="connsiteY27-3916" fmla="*/ 4492350 h 4492350"/>
                <a:gd name="connsiteX0-3917" fmla="*/ 1743740 w 3694535"/>
                <a:gd name="connsiteY0-3918" fmla="*/ 4492350 h 4492350"/>
                <a:gd name="connsiteX1-3919" fmla="*/ 1796903 w 3694535"/>
                <a:gd name="connsiteY1-3920" fmla="*/ 3785190 h 4492350"/>
                <a:gd name="connsiteX2-3921" fmla="*/ 1307805 w 3694535"/>
                <a:gd name="connsiteY2-3922" fmla="*/ 3381153 h 4492350"/>
                <a:gd name="connsiteX3-3923" fmla="*/ 31898 w 3694535"/>
                <a:gd name="connsiteY3-3924" fmla="*/ 2945218 h 4492350"/>
                <a:gd name="connsiteX4-3925" fmla="*/ 1127052 w 3694535"/>
                <a:gd name="connsiteY4-3926" fmla="*/ 3242930 h 4492350"/>
                <a:gd name="connsiteX5-3927" fmla="*/ 393405 w 3694535"/>
                <a:gd name="connsiteY5-3928" fmla="*/ 2456121 h 4492350"/>
                <a:gd name="connsiteX6-3929" fmla="*/ 1775638 w 3694535"/>
                <a:gd name="connsiteY6-3930" fmla="*/ 3519376 h 4492350"/>
                <a:gd name="connsiteX7-3931" fmla="*/ 1683956 w 3694535"/>
                <a:gd name="connsiteY7-3932" fmla="*/ 2424409 h 4492350"/>
                <a:gd name="connsiteX8-3933" fmla="*/ 0 w 3694535"/>
                <a:gd name="connsiteY8-3934" fmla="*/ 754911 h 4492350"/>
                <a:gd name="connsiteX9-3935" fmla="*/ 988828 w 3694535"/>
                <a:gd name="connsiteY9-3936" fmla="*/ 1924493 h 4492350"/>
                <a:gd name="connsiteX10-3937" fmla="*/ 1137684 w 3694535"/>
                <a:gd name="connsiteY10-3938" fmla="*/ 861237 h 4492350"/>
                <a:gd name="connsiteX11-3939" fmla="*/ 1222745 w 3694535"/>
                <a:gd name="connsiteY11-3940" fmla="*/ 2062716 h 4492350"/>
                <a:gd name="connsiteX12-3941" fmla="*/ 1714640 w 3694535"/>
                <a:gd name="connsiteY12-3942" fmla="*/ 2194318 h 4492350"/>
                <a:gd name="connsiteX13-3943" fmla="*/ 1956391 w 3694535"/>
                <a:gd name="connsiteY13-3944" fmla="*/ 0 h 4492350"/>
                <a:gd name="connsiteX14-3945" fmla="*/ 2027834 w 3694535"/>
                <a:gd name="connsiteY14-3946" fmla="*/ 986216 h 4492350"/>
                <a:gd name="connsiteX15-3947" fmla="*/ 1881963 w 3694535"/>
                <a:gd name="connsiteY15-3948" fmla="*/ 2060385 h 4492350"/>
                <a:gd name="connsiteX16-3949" fmla="*/ 2057494 w 3694535"/>
                <a:gd name="connsiteY16-3950" fmla="*/ 3046321 h 4492350"/>
                <a:gd name="connsiteX17-3951" fmla="*/ 2647507 w 3694535"/>
                <a:gd name="connsiteY17-3952" fmla="*/ 2519916 h 4492350"/>
                <a:gd name="connsiteX18-3953" fmla="*/ 2913694 w 3694535"/>
                <a:gd name="connsiteY18-3954" fmla="*/ 1291762 h 4492350"/>
                <a:gd name="connsiteX19-3955" fmla="*/ 2806809 w 3694535"/>
                <a:gd name="connsiteY19-3956" fmla="*/ 2383091 h 4492350"/>
                <a:gd name="connsiteX20-3957" fmla="*/ 3694535 w 3694535"/>
                <a:gd name="connsiteY20-3958" fmla="*/ 1124252 h 4492350"/>
                <a:gd name="connsiteX21-3959" fmla="*/ 2222205 w 3694535"/>
                <a:gd name="connsiteY21-3960" fmla="*/ 3370521 h 4492350"/>
                <a:gd name="connsiteX22-3961" fmla="*/ 2169042 w 3694535"/>
                <a:gd name="connsiteY22-3962" fmla="*/ 3817088 h 4492350"/>
                <a:gd name="connsiteX23-3963" fmla="*/ 3317358 w 3694535"/>
                <a:gd name="connsiteY23-3964" fmla="*/ 3094074 h 4492350"/>
                <a:gd name="connsiteX24-3965" fmla="*/ 2194317 w 3694535"/>
                <a:gd name="connsiteY24-3966" fmla="*/ 4030951 h 4492350"/>
                <a:gd name="connsiteX25-3967" fmla="*/ 2232838 w 3694535"/>
                <a:gd name="connsiteY25-3968" fmla="*/ 4476307 h 4492350"/>
                <a:gd name="connsiteX26-3969" fmla="*/ 2218194 w 3694535"/>
                <a:gd name="connsiteY26-3970" fmla="*/ 4491415 h 4492350"/>
                <a:gd name="connsiteX27-3971" fmla="*/ 1743740 w 3694535"/>
                <a:gd name="connsiteY27-3972" fmla="*/ 4492350 h 4492350"/>
                <a:gd name="connsiteX0-3973" fmla="*/ 1743740 w 3694535"/>
                <a:gd name="connsiteY0-3974" fmla="*/ 4492350 h 4492350"/>
                <a:gd name="connsiteX1-3975" fmla="*/ 1796903 w 3694535"/>
                <a:gd name="connsiteY1-3976" fmla="*/ 3785190 h 4492350"/>
                <a:gd name="connsiteX2-3977" fmla="*/ 1307805 w 3694535"/>
                <a:gd name="connsiteY2-3978" fmla="*/ 3381153 h 4492350"/>
                <a:gd name="connsiteX3-3979" fmla="*/ 31898 w 3694535"/>
                <a:gd name="connsiteY3-3980" fmla="*/ 2945218 h 4492350"/>
                <a:gd name="connsiteX4-3981" fmla="*/ 1127052 w 3694535"/>
                <a:gd name="connsiteY4-3982" fmla="*/ 3242930 h 4492350"/>
                <a:gd name="connsiteX5-3983" fmla="*/ 393405 w 3694535"/>
                <a:gd name="connsiteY5-3984" fmla="*/ 2456121 h 4492350"/>
                <a:gd name="connsiteX6-3985" fmla="*/ 1775638 w 3694535"/>
                <a:gd name="connsiteY6-3986" fmla="*/ 3519376 h 4492350"/>
                <a:gd name="connsiteX7-3987" fmla="*/ 1683956 w 3694535"/>
                <a:gd name="connsiteY7-3988" fmla="*/ 2424409 h 4492350"/>
                <a:gd name="connsiteX8-3989" fmla="*/ 0 w 3694535"/>
                <a:gd name="connsiteY8-3990" fmla="*/ 754911 h 4492350"/>
                <a:gd name="connsiteX9-3991" fmla="*/ 988828 w 3694535"/>
                <a:gd name="connsiteY9-3992" fmla="*/ 1924493 h 4492350"/>
                <a:gd name="connsiteX10-3993" fmla="*/ 1137684 w 3694535"/>
                <a:gd name="connsiteY10-3994" fmla="*/ 861237 h 4492350"/>
                <a:gd name="connsiteX11-3995" fmla="*/ 1222745 w 3694535"/>
                <a:gd name="connsiteY11-3996" fmla="*/ 2062716 h 4492350"/>
                <a:gd name="connsiteX12-3997" fmla="*/ 1714640 w 3694535"/>
                <a:gd name="connsiteY12-3998" fmla="*/ 2194318 h 4492350"/>
                <a:gd name="connsiteX13-3999" fmla="*/ 1956391 w 3694535"/>
                <a:gd name="connsiteY13-4000" fmla="*/ 0 h 4492350"/>
                <a:gd name="connsiteX14-4001" fmla="*/ 2027834 w 3694535"/>
                <a:gd name="connsiteY14-4002" fmla="*/ 986216 h 4492350"/>
                <a:gd name="connsiteX15-4003" fmla="*/ 1881963 w 3694535"/>
                <a:gd name="connsiteY15-4004" fmla="*/ 2060385 h 4492350"/>
                <a:gd name="connsiteX16-4005" fmla="*/ 2057494 w 3694535"/>
                <a:gd name="connsiteY16-4006" fmla="*/ 3046321 h 4492350"/>
                <a:gd name="connsiteX17-4007" fmla="*/ 2647507 w 3694535"/>
                <a:gd name="connsiteY17-4008" fmla="*/ 2519916 h 4492350"/>
                <a:gd name="connsiteX18-4009" fmla="*/ 2913694 w 3694535"/>
                <a:gd name="connsiteY18-4010" fmla="*/ 1291762 h 4492350"/>
                <a:gd name="connsiteX19-4011" fmla="*/ 2806809 w 3694535"/>
                <a:gd name="connsiteY19-4012" fmla="*/ 2383091 h 4492350"/>
                <a:gd name="connsiteX20-4013" fmla="*/ 3694535 w 3694535"/>
                <a:gd name="connsiteY20-4014" fmla="*/ 1124252 h 4492350"/>
                <a:gd name="connsiteX21-4015" fmla="*/ 2222205 w 3694535"/>
                <a:gd name="connsiteY21-4016" fmla="*/ 3370521 h 4492350"/>
                <a:gd name="connsiteX22-4017" fmla="*/ 2169042 w 3694535"/>
                <a:gd name="connsiteY22-4018" fmla="*/ 3817088 h 4492350"/>
                <a:gd name="connsiteX23-4019" fmla="*/ 3317358 w 3694535"/>
                <a:gd name="connsiteY23-4020" fmla="*/ 3094074 h 4492350"/>
                <a:gd name="connsiteX24-4021" fmla="*/ 2194317 w 3694535"/>
                <a:gd name="connsiteY24-4022" fmla="*/ 4030951 h 4492350"/>
                <a:gd name="connsiteX25-4023" fmla="*/ 2232838 w 3694535"/>
                <a:gd name="connsiteY25-4024" fmla="*/ 4476307 h 4492350"/>
                <a:gd name="connsiteX26-4025" fmla="*/ 2218194 w 3694535"/>
                <a:gd name="connsiteY26-4026" fmla="*/ 4491415 h 4492350"/>
                <a:gd name="connsiteX27-4027" fmla="*/ 1743740 w 3694535"/>
                <a:gd name="connsiteY27-4028" fmla="*/ 4492350 h 4492350"/>
                <a:gd name="connsiteX0-4029" fmla="*/ 1743740 w 3694535"/>
                <a:gd name="connsiteY0-4030" fmla="*/ 4492350 h 4492350"/>
                <a:gd name="connsiteX1-4031" fmla="*/ 1796903 w 3694535"/>
                <a:gd name="connsiteY1-4032" fmla="*/ 3785190 h 4492350"/>
                <a:gd name="connsiteX2-4033" fmla="*/ 1307805 w 3694535"/>
                <a:gd name="connsiteY2-4034" fmla="*/ 3381153 h 4492350"/>
                <a:gd name="connsiteX3-4035" fmla="*/ 31898 w 3694535"/>
                <a:gd name="connsiteY3-4036" fmla="*/ 2945218 h 4492350"/>
                <a:gd name="connsiteX4-4037" fmla="*/ 1127052 w 3694535"/>
                <a:gd name="connsiteY4-4038" fmla="*/ 3242930 h 4492350"/>
                <a:gd name="connsiteX5-4039" fmla="*/ 393405 w 3694535"/>
                <a:gd name="connsiteY5-4040" fmla="*/ 2456121 h 4492350"/>
                <a:gd name="connsiteX6-4041" fmla="*/ 1775638 w 3694535"/>
                <a:gd name="connsiteY6-4042" fmla="*/ 3519376 h 4492350"/>
                <a:gd name="connsiteX7-4043" fmla="*/ 1683956 w 3694535"/>
                <a:gd name="connsiteY7-4044" fmla="*/ 2424409 h 4492350"/>
                <a:gd name="connsiteX8-4045" fmla="*/ 0 w 3694535"/>
                <a:gd name="connsiteY8-4046" fmla="*/ 754911 h 4492350"/>
                <a:gd name="connsiteX9-4047" fmla="*/ 988828 w 3694535"/>
                <a:gd name="connsiteY9-4048" fmla="*/ 1924493 h 4492350"/>
                <a:gd name="connsiteX10-4049" fmla="*/ 1137684 w 3694535"/>
                <a:gd name="connsiteY10-4050" fmla="*/ 861237 h 4492350"/>
                <a:gd name="connsiteX11-4051" fmla="*/ 1222745 w 3694535"/>
                <a:gd name="connsiteY11-4052" fmla="*/ 2062716 h 4492350"/>
                <a:gd name="connsiteX12-4053" fmla="*/ 1714640 w 3694535"/>
                <a:gd name="connsiteY12-4054" fmla="*/ 2194318 h 4492350"/>
                <a:gd name="connsiteX13-4055" fmla="*/ 1956391 w 3694535"/>
                <a:gd name="connsiteY13-4056" fmla="*/ 0 h 4492350"/>
                <a:gd name="connsiteX14-4057" fmla="*/ 2027834 w 3694535"/>
                <a:gd name="connsiteY14-4058" fmla="*/ 986216 h 4492350"/>
                <a:gd name="connsiteX15-4059" fmla="*/ 1881963 w 3694535"/>
                <a:gd name="connsiteY15-4060" fmla="*/ 2060385 h 4492350"/>
                <a:gd name="connsiteX16-4061" fmla="*/ 2057494 w 3694535"/>
                <a:gd name="connsiteY16-4062" fmla="*/ 3046321 h 4492350"/>
                <a:gd name="connsiteX17-4063" fmla="*/ 2647507 w 3694535"/>
                <a:gd name="connsiteY17-4064" fmla="*/ 2519916 h 4492350"/>
                <a:gd name="connsiteX18-4065" fmla="*/ 2913694 w 3694535"/>
                <a:gd name="connsiteY18-4066" fmla="*/ 1291762 h 4492350"/>
                <a:gd name="connsiteX19-4067" fmla="*/ 2806809 w 3694535"/>
                <a:gd name="connsiteY19-4068" fmla="*/ 2383091 h 4492350"/>
                <a:gd name="connsiteX20-4069" fmla="*/ 3694535 w 3694535"/>
                <a:gd name="connsiteY20-4070" fmla="*/ 1124252 h 4492350"/>
                <a:gd name="connsiteX21-4071" fmla="*/ 2222205 w 3694535"/>
                <a:gd name="connsiteY21-4072" fmla="*/ 3370521 h 4492350"/>
                <a:gd name="connsiteX22-4073" fmla="*/ 2169042 w 3694535"/>
                <a:gd name="connsiteY22-4074" fmla="*/ 3817088 h 4492350"/>
                <a:gd name="connsiteX23-4075" fmla="*/ 3317358 w 3694535"/>
                <a:gd name="connsiteY23-4076" fmla="*/ 3094074 h 4492350"/>
                <a:gd name="connsiteX24-4077" fmla="*/ 2194317 w 3694535"/>
                <a:gd name="connsiteY24-4078" fmla="*/ 4030951 h 4492350"/>
                <a:gd name="connsiteX25-4079" fmla="*/ 2232838 w 3694535"/>
                <a:gd name="connsiteY25-4080" fmla="*/ 4476307 h 4492350"/>
                <a:gd name="connsiteX26-4081" fmla="*/ 2218194 w 3694535"/>
                <a:gd name="connsiteY26-4082" fmla="*/ 4491415 h 4492350"/>
                <a:gd name="connsiteX27-4083" fmla="*/ 1743740 w 3694535"/>
                <a:gd name="connsiteY27-4084" fmla="*/ 4492350 h 4492350"/>
                <a:gd name="connsiteX0-4085" fmla="*/ 1743740 w 3694535"/>
                <a:gd name="connsiteY0-4086" fmla="*/ 4492350 h 4492350"/>
                <a:gd name="connsiteX1-4087" fmla="*/ 1796903 w 3694535"/>
                <a:gd name="connsiteY1-4088" fmla="*/ 3785190 h 4492350"/>
                <a:gd name="connsiteX2-4089" fmla="*/ 1307805 w 3694535"/>
                <a:gd name="connsiteY2-4090" fmla="*/ 3381153 h 4492350"/>
                <a:gd name="connsiteX3-4091" fmla="*/ 31898 w 3694535"/>
                <a:gd name="connsiteY3-4092" fmla="*/ 2945218 h 4492350"/>
                <a:gd name="connsiteX4-4093" fmla="*/ 1127052 w 3694535"/>
                <a:gd name="connsiteY4-4094" fmla="*/ 3242930 h 4492350"/>
                <a:gd name="connsiteX5-4095" fmla="*/ 393405 w 3694535"/>
                <a:gd name="connsiteY5-4096" fmla="*/ 2456121 h 4492350"/>
                <a:gd name="connsiteX6-4097" fmla="*/ 1775638 w 3694535"/>
                <a:gd name="connsiteY6-4098" fmla="*/ 3519376 h 4492350"/>
                <a:gd name="connsiteX7-4099" fmla="*/ 1683956 w 3694535"/>
                <a:gd name="connsiteY7-4100" fmla="*/ 2424409 h 4492350"/>
                <a:gd name="connsiteX8-4101" fmla="*/ 0 w 3694535"/>
                <a:gd name="connsiteY8-4102" fmla="*/ 754911 h 4492350"/>
                <a:gd name="connsiteX9-4103" fmla="*/ 988828 w 3694535"/>
                <a:gd name="connsiteY9-4104" fmla="*/ 1924493 h 4492350"/>
                <a:gd name="connsiteX10-4105" fmla="*/ 1137684 w 3694535"/>
                <a:gd name="connsiteY10-4106" fmla="*/ 861237 h 4492350"/>
                <a:gd name="connsiteX11-4107" fmla="*/ 1222745 w 3694535"/>
                <a:gd name="connsiteY11-4108" fmla="*/ 2062716 h 4492350"/>
                <a:gd name="connsiteX12-4109" fmla="*/ 1714640 w 3694535"/>
                <a:gd name="connsiteY12-4110" fmla="*/ 2194318 h 4492350"/>
                <a:gd name="connsiteX13-4111" fmla="*/ 1956391 w 3694535"/>
                <a:gd name="connsiteY13-4112" fmla="*/ 0 h 4492350"/>
                <a:gd name="connsiteX14-4113" fmla="*/ 2027834 w 3694535"/>
                <a:gd name="connsiteY14-4114" fmla="*/ 986216 h 4492350"/>
                <a:gd name="connsiteX15-4115" fmla="*/ 1881963 w 3694535"/>
                <a:gd name="connsiteY15-4116" fmla="*/ 2060385 h 4492350"/>
                <a:gd name="connsiteX16-4117" fmla="*/ 2057494 w 3694535"/>
                <a:gd name="connsiteY16-4118" fmla="*/ 3046321 h 4492350"/>
                <a:gd name="connsiteX17-4119" fmla="*/ 2647507 w 3694535"/>
                <a:gd name="connsiteY17-4120" fmla="*/ 2519916 h 4492350"/>
                <a:gd name="connsiteX18-4121" fmla="*/ 2913694 w 3694535"/>
                <a:gd name="connsiteY18-4122" fmla="*/ 1291762 h 4492350"/>
                <a:gd name="connsiteX19-4123" fmla="*/ 2806809 w 3694535"/>
                <a:gd name="connsiteY19-4124" fmla="*/ 2383091 h 4492350"/>
                <a:gd name="connsiteX20-4125" fmla="*/ 3694535 w 3694535"/>
                <a:gd name="connsiteY20-4126" fmla="*/ 1124252 h 4492350"/>
                <a:gd name="connsiteX21-4127" fmla="*/ 2222205 w 3694535"/>
                <a:gd name="connsiteY21-4128" fmla="*/ 3370521 h 4492350"/>
                <a:gd name="connsiteX22-4129" fmla="*/ 2169042 w 3694535"/>
                <a:gd name="connsiteY22-4130" fmla="*/ 3817088 h 4492350"/>
                <a:gd name="connsiteX23-4131" fmla="*/ 3317358 w 3694535"/>
                <a:gd name="connsiteY23-4132" fmla="*/ 3094074 h 4492350"/>
                <a:gd name="connsiteX24-4133" fmla="*/ 2194317 w 3694535"/>
                <a:gd name="connsiteY24-4134" fmla="*/ 4030951 h 4492350"/>
                <a:gd name="connsiteX25-4135" fmla="*/ 2232838 w 3694535"/>
                <a:gd name="connsiteY25-4136" fmla="*/ 4476307 h 4492350"/>
                <a:gd name="connsiteX26-4137" fmla="*/ 2218194 w 3694535"/>
                <a:gd name="connsiteY26-4138" fmla="*/ 4491415 h 4492350"/>
                <a:gd name="connsiteX27-4139" fmla="*/ 1743740 w 3694535"/>
                <a:gd name="connsiteY27-4140" fmla="*/ 4492350 h 4492350"/>
                <a:gd name="connsiteX0-4141" fmla="*/ 1743740 w 3694535"/>
                <a:gd name="connsiteY0-4142" fmla="*/ 4492350 h 4492350"/>
                <a:gd name="connsiteX1-4143" fmla="*/ 1796903 w 3694535"/>
                <a:gd name="connsiteY1-4144" fmla="*/ 3785190 h 4492350"/>
                <a:gd name="connsiteX2-4145" fmla="*/ 1307805 w 3694535"/>
                <a:gd name="connsiteY2-4146" fmla="*/ 3381153 h 4492350"/>
                <a:gd name="connsiteX3-4147" fmla="*/ 31898 w 3694535"/>
                <a:gd name="connsiteY3-4148" fmla="*/ 2945218 h 4492350"/>
                <a:gd name="connsiteX4-4149" fmla="*/ 1127052 w 3694535"/>
                <a:gd name="connsiteY4-4150" fmla="*/ 3242930 h 4492350"/>
                <a:gd name="connsiteX5-4151" fmla="*/ 393405 w 3694535"/>
                <a:gd name="connsiteY5-4152" fmla="*/ 2456121 h 4492350"/>
                <a:gd name="connsiteX6-4153" fmla="*/ 1775638 w 3694535"/>
                <a:gd name="connsiteY6-4154" fmla="*/ 3519376 h 4492350"/>
                <a:gd name="connsiteX7-4155" fmla="*/ 1683956 w 3694535"/>
                <a:gd name="connsiteY7-4156" fmla="*/ 2424409 h 4492350"/>
                <a:gd name="connsiteX8-4157" fmla="*/ 0 w 3694535"/>
                <a:gd name="connsiteY8-4158" fmla="*/ 754911 h 4492350"/>
                <a:gd name="connsiteX9-4159" fmla="*/ 988828 w 3694535"/>
                <a:gd name="connsiteY9-4160" fmla="*/ 1924493 h 4492350"/>
                <a:gd name="connsiteX10-4161" fmla="*/ 1137684 w 3694535"/>
                <a:gd name="connsiteY10-4162" fmla="*/ 861237 h 4492350"/>
                <a:gd name="connsiteX11-4163" fmla="*/ 1222745 w 3694535"/>
                <a:gd name="connsiteY11-4164" fmla="*/ 2062716 h 4492350"/>
                <a:gd name="connsiteX12-4165" fmla="*/ 1714640 w 3694535"/>
                <a:gd name="connsiteY12-4166" fmla="*/ 2194318 h 4492350"/>
                <a:gd name="connsiteX13-4167" fmla="*/ 1956391 w 3694535"/>
                <a:gd name="connsiteY13-4168" fmla="*/ 0 h 4492350"/>
                <a:gd name="connsiteX14-4169" fmla="*/ 2027834 w 3694535"/>
                <a:gd name="connsiteY14-4170" fmla="*/ 986216 h 4492350"/>
                <a:gd name="connsiteX15-4171" fmla="*/ 1881963 w 3694535"/>
                <a:gd name="connsiteY15-4172" fmla="*/ 2060385 h 4492350"/>
                <a:gd name="connsiteX16-4173" fmla="*/ 2057494 w 3694535"/>
                <a:gd name="connsiteY16-4174" fmla="*/ 3046321 h 4492350"/>
                <a:gd name="connsiteX17-4175" fmla="*/ 2647507 w 3694535"/>
                <a:gd name="connsiteY17-4176" fmla="*/ 2519916 h 4492350"/>
                <a:gd name="connsiteX18-4177" fmla="*/ 2913694 w 3694535"/>
                <a:gd name="connsiteY18-4178" fmla="*/ 1291762 h 4492350"/>
                <a:gd name="connsiteX19-4179" fmla="*/ 2806809 w 3694535"/>
                <a:gd name="connsiteY19-4180" fmla="*/ 2383091 h 4492350"/>
                <a:gd name="connsiteX20-4181" fmla="*/ 3694535 w 3694535"/>
                <a:gd name="connsiteY20-4182" fmla="*/ 1124252 h 4492350"/>
                <a:gd name="connsiteX21-4183" fmla="*/ 2222205 w 3694535"/>
                <a:gd name="connsiteY21-4184" fmla="*/ 3370521 h 4492350"/>
                <a:gd name="connsiteX22-4185" fmla="*/ 2169042 w 3694535"/>
                <a:gd name="connsiteY22-4186" fmla="*/ 3817088 h 4492350"/>
                <a:gd name="connsiteX23-4187" fmla="*/ 3317358 w 3694535"/>
                <a:gd name="connsiteY23-4188" fmla="*/ 3094074 h 4492350"/>
                <a:gd name="connsiteX24-4189" fmla="*/ 2194317 w 3694535"/>
                <a:gd name="connsiteY24-4190" fmla="*/ 4030951 h 4492350"/>
                <a:gd name="connsiteX25-4191" fmla="*/ 2232838 w 3694535"/>
                <a:gd name="connsiteY25-4192" fmla="*/ 4476307 h 4492350"/>
                <a:gd name="connsiteX26-4193" fmla="*/ 2218194 w 3694535"/>
                <a:gd name="connsiteY26-4194" fmla="*/ 4491415 h 4492350"/>
                <a:gd name="connsiteX27-4195" fmla="*/ 1743740 w 3694535"/>
                <a:gd name="connsiteY27-4196" fmla="*/ 4492350 h 4492350"/>
                <a:gd name="connsiteX0-4197" fmla="*/ 1743740 w 3694535"/>
                <a:gd name="connsiteY0-4198" fmla="*/ 4492350 h 4492350"/>
                <a:gd name="connsiteX1-4199" fmla="*/ 1796903 w 3694535"/>
                <a:gd name="connsiteY1-4200" fmla="*/ 3785190 h 4492350"/>
                <a:gd name="connsiteX2-4201" fmla="*/ 1307805 w 3694535"/>
                <a:gd name="connsiteY2-4202" fmla="*/ 3381153 h 4492350"/>
                <a:gd name="connsiteX3-4203" fmla="*/ 31898 w 3694535"/>
                <a:gd name="connsiteY3-4204" fmla="*/ 2945218 h 4492350"/>
                <a:gd name="connsiteX4-4205" fmla="*/ 1127052 w 3694535"/>
                <a:gd name="connsiteY4-4206" fmla="*/ 3242930 h 4492350"/>
                <a:gd name="connsiteX5-4207" fmla="*/ 393405 w 3694535"/>
                <a:gd name="connsiteY5-4208" fmla="*/ 2456121 h 4492350"/>
                <a:gd name="connsiteX6-4209" fmla="*/ 1775638 w 3694535"/>
                <a:gd name="connsiteY6-4210" fmla="*/ 3519376 h 4492350"/>
                <a:gd name="connsiteX7-4211" fmla="*/ 1683956 w 3694535"/>
                <a:gd name="connsiteY7-4212" fmla="*/ 2424409 h 4492350"/>
                <a:gd name="connsiteX8-4213" fmla="*/ 0 w 3694535"/>
                <a:gd name="connsiteY8-4214" fmla="*/ 754911 h 4492350"/>
                <a:gd name="connsiteX9-4215" fmla="*/ 988828 w 3694535"/>
                <a:gd name="connsiteY9-4216" fmla="*/ 1924493 h 4492350"/>
                <a:gd name="connsiteX10-4217" fmla="*/ 1137684 w 3694535"/>
                <a:gd name="connsiteY10-4218" fmla="*/ 861237 h 4492350"/>
                <a:gd name="connsiteX11-4219" fmla="*/ 1222745 w 3694535"/>
                <a:gd name="connsiteY11-4220" fmla="*/ 2062716 h 4492350"/>
                <a:gd name="connsiteX12-4221" fmla="*/ 1714640 w 3694535"/>
                <a:gd name="connsiteY12-4222" fmla="*/ 2194318 h 4492350"/>
                <a:gd name="connsiteX13-4223" fmla="*/ 1956391 w 3694535"/>
                <a:gd name="connsiteY13-4224" fmla="*/ 0 h 4492350"/>
                <a:gd name="connsiteX14-4225" fmla="*/ 2027834 w 3694535"/>
                <a:gd name="connsiteY14-4226" fmla="*/ 986216 h 4492350"/>
                <a:gd name="connsiteX15-4227" fmla="*/ 1881963 w 3694535"/>
                <a:gd name="connsiteY15-4228" fmla="*/ 2060385 h 4492350"/>
                <a:gd name="connsiteX16-4229" fmla="*/ 2057494 w 3694535"/>
                <a:gd name="connsiteY16-4230" fmla="*/ 3046321 h 4492350"/>
                <a:gd name="connsiteX17-4231" fmla="*/ 2647507 w 3694535"/>
                <a:gd name="connsiteY17-4232" fmla="*/ 2519916 h 4492350"/>
                <a:gd name="connsiteX18-4233" fmla="*/ 2913694 w 3694535"/>
                <a:gd name="connsiteY18-4234" fmla="*/ 1291762 h 4492350"/>
                <a:gd name="connsiteX19-4235" fmla="*/ 2806809 w 3694535"/>
                <a:gd name="connsiteY19-4236" fmla="*/ 2383091 h 4492350"/>
                <a:gd name="connsiteX20-4237" fmla="*/ 3694535 w 3694535"/>
                <a:gd name="connsiteY20-4238" fmla="*/ 1124252 h 4492350"/>
                <a:gd name="connsiteX21-4239" fmla="*/ 2222205 w 3694535"/>
                <a:gd name="connsiteY21-4240" fmla="*/ 3370521 h 4492350"/>
                <a:gd name="connsiteX22-4241" fmla="*/ 2169042 w 3694535"/>
                <a:gd name="connsiteY22-4242" fmla="*/ 3817088 h 4492350"/>
                <a:gd name="connsiteX23-4243" fmla="*/ 3317358 w 3694535"/>
                <a:gd name="connsiteY23-4244" fmla="*/ 3094074 h 4492350"/>
                <a:gd name="connsiteX24-4245" fmla="*/ 2194317 w 3694535"/>
                <a:gd name="connsiteY24-4246" fmla="*/ 4030951 h 4492350"/>
                <a:gd name="connsiteX25-4247" fmla="*/ 2232838 w 3694535"/>
                <a:gd name="connsiteY25-4248" fmla="*/ 4476307 h 4492350"/>
                <a:gd name="connsiteX26-4249" fmla="*/ 2218194 w 3694535"/>
                <a:gd name="connsiteY26-4250" fmla="*/ 4491415 h 4492350"/>
                <a:gd name="connsiteX27-4251" fmla="*/ 1743740 w 3694535"/>
                <a:gd name="connsiteY27-4252" fmla="*/ 4492350 h 4492350"/>
                <a:gd name="connsiteX0-4253" fmla="*/ 1743740 w 3694535"/>
                <a:gd name="connsiteY0-4254" fmla="*/ 4492350 h 4492350"/>
                <a:gd name="connsiteX1-4255" fmla="*/ 1796903 w 3694535"/>
                <a:gd name="connsiteY1-4256" fmla="*/ 3785190 h 4492350"/>
                <a:gd name="connsiteX2-4257" fmla="*/ 1307805 w 3694535"/>
                <a:gd name="connsiteY2-4258" fmla="*/ 3381153 h 4492350"/>
                <a:gd name="connsiteX3-4259" fmla="*/ 31898 w 3694535"/>
                <a:gd name="connsiteY3-4260" fmla="*/ 2945218 h 4492350"/>
                <a:gd name="connsiteX4-4261" fmla="*/ 1127052 w 3694535"/>
                <a:gd name="connsiteY4-4262" fmla="*/ 3242930 h 4492350"/>
                <a:gd name="connsiteX5-4263" fmla="*/ 393405 w 3694535"/>
                <a:gd name="connsiteY5-4264" fmla="*/ 2456121 h 4492350"/>
                <a:gd name="connsiteX6-4265" fmla="*/ 1775638 w 3694535"/>
                <a:gd name="connsiteY6-4266" fmla="*/ 3519376 h 4492350"/>
                <a:gd name="connsiteX7-4267" fmla="*/ 1683956 w 3694535"/>
                <a:gd name="connsiteY7-4268" fmla="*/ 2424409 h 4492350"/>
                <a:gd name="connsiteX8-4269" fmla="*/ 0 w 3694535"/>
                <a:gd name="connsiteY8-4270" fmla="*/ 754911 h 4492350"/>
                <a:gd name="connsiteX9-4271" fmla="*/ 988828 w 3694535"/>
                <a:gd name="connsiteY9-4272" fmla="*/ 1924493 h 4492350"/>
                <a:gd name="connsiteX10-4273" fmla="*/ 1137684 w 3694535"/>
                <a:gd name="connsiteY10-4274" fmla="*/ 861237 h 4492350"/>
                <a:gd name="connsiteX11-4275" fmla="*/ 1222745 w 3694535"/>
                <a:gd name="connsiteY11-4276" fmla="*/ 2062716 h 4492350"/>
                <a:gd name="connsiteX12-4277" fmla="*/ 1714640 w 3694535"/>
                <a:gd name="connsiteY12-4278" fmla="*/ 2194318 h 4492350"/>
                <a:gd name="connsiteX13-4279" fmla="*/ 1956391 w 3694535"/>
                <a:gd name="connsiteY13-4280" fmla="*/ 0 h 4492350"/>
                <a:gd name="connsiteX14-4281" fmla="*/ 2027834 w 3694535"/>
                <a:gd name="connsiteY14-4282" fmla="*/ 986216 h 4492350"/>
                <a:gd name="connsiteX15-4283" fmla="*/ 1881963 w 3694535"/>
                <a:gd name="connsiteY15-4284" fmla="*/ 2060385 h 4492350"/>
                <a:gd name="connsiteX16-4285" fmla="*/ 2057494 w 3694535"/>
                <a:gd name="connsiteY16-4286" fmla="*/ 3046321 h 4492350"/>
                <a:gd name="connsiteX17-4287" fmla="*/ 2647507 w 3694535"/>
                <a:gd name="connsiteY17-4288" fmla="*/ 2519916 h 4492350"/>
                <a:gd name="connsiteX18-4289" fmla="*/ 2913694 w 3694535"/>
                <a:gd name="connsiteY18-4290" fmla="*/ 1291762 h 4492350"/>
                <a:gd name="connsiteX19-4291" fmla="*/ 2806809 w 3694535"/>
                <a:gd name="connsiteY19-4292" fmla="*/ 2383091 h 4492350"/>
                <a:gd name="connsiteX20-4293" fmla="*/ 3694535 w 3694535"/>
                <a:gd name="connsiteY20-4294" fmla="*/ 1124252 h 4492350"/>
                <a:gd name="connsiteX21-4295" fmla="*/ 2222205 w 3694535"/>
                <a:gd name="connsiteY21-4296" fmla="*/ 3370521 h 4492350"/>
                <a:gd name="connsiteX22-4297" fmla="*/ 2169042 w 3694535"/>
                <a:gd name="connsiteY22-4298" fmla="*/ 3817088 h 4492350"/>
                <a:gd name="connsiteX23-4299" fmla="*/ 3317358 w 3694535"/>
                <a:gd name="connsiteY23-4300" fmla="*/ 3094074 h 4492350"/>
                <a:gd name="connsiteX24-4301" fmla="*/ 2194317 w 3694535"/>
                <a:gd name="connsiteY24-4302" fmla="*/ 4030951 h 4492350"/>
                <a:gd name="connsiteX25-4303" fmla="*/ 2232838 w 3694535"/>
                <a:gd name="connsiteY25-4304" fmla="*/ 4476307 h 4492350"/>
                <a:gd name="connsiteX26-4305" fmla="*/ 2218194 w 3694535"/>
                <a:gd name="connsiteY26-4306" fmla="*/ 4491415 h 4492350"/>
                <a:gd name="connsiteX27-4307" fmla="*/ 1743740 w 3694535"/>
                <a:gd name="connsiteY27-4308" fmla="*/ 4492350 h 4492350"/>
                <a:gd name="connsiteX0-4309" fmla="*/ 1743740 w 3694535"/>
                <a:gd name="connsiteY0-4310" fmla="*/ 4492350 h 4492350"/>
                <a:gd name="connsiteX1-4311" fmla="*/ 1796903 w 3694535"/>
                <a:gd name="connsiteY1-4312" fmla="*/ 3785190 h 4492350"/>
                <a:gd name="connsiteX2-4313" fmla="*/ 1307805 w 3694535"/>
                <a:gd name="connsiteY2-4314" fmla="*/ 3381153 h 4492350"/>
                <a:gd name="connsiteX3-4315" fmla="*/ 31898 w 3694535"/>
                <a:gd name="connsiteY3-4316" fmla="*/ 2945218 h 4492350"/>
                <a:gd name="connsiteX4-4317" fmla="*/ 1127052 w 3694535"/>
                <a:gd name="connsiteY4-4318" fmla="*/ 3242930 h 4492350"/>
                <a:gd name="connsiteX5-4319" fmla="*/ 393405 w 3694535"/>
                <a:gd name="connsiteY5-4320" fmla="*/ 2456121 h 4492350"/>
                <a:gd name="connsiteX6-4321" fmla="*/ 1775638 w 3694535"/>
                <a:gd name="connsiteY6-4322" fmla="*/ 3519376 h 4492350"/>
                <a:gd name="connsiteX7-4323" fmla="*/ 1683956 w 3694535"/>
                <a:gd name="connsiteY7-4324" fmla="*/ 2424409 h 4492350"/>
                <a:gd name="connsiteX8-4325" fmla="*/ 0 w 3694535"/>
                <a:gd name="connsiteY8-4326" fmla="*/ 754911 h 4492350"/>
                <a:gd name="connsiteX9-4327" fmla="*/ 988828 w 3694535"/>
                <a:gd name="connsiteY9-4328" fmla="*/ 1924493 h 4492350"/>
                <a:gd name="connsiteX10-4329" fmla="*/ 1137684 w 3694535"/>
                <a:gd name="connsiteY10-4330" fmla="*/ 861237 h 4492350"/>
                <a:gd name="connsiteX11-4331" fmla="*/ 1222745 w 3694535"/>
                <a:gd name="connsiteY11-4332" fmla="*/ 2062716 h 4492350"/>
                <a:gd name="connsiteX12-4333" fmla="*/ 1714640 w 3694535"/>
                <a:gd name="connsiteY12-4334" fmla="*/ 2194318 h 4492350"/>
                <a:gd name="connsiteX13-4335" fmla="*/ 1956391 w 3694535"/>
                <a:gd name="connsiteY13-4336" fmla="*/ 0 h 4492350"/>
                <a:gd name="connsiteX14-4337" fmla="*/ 2027834 w 3694535"/>
                <a:gd name="connsiteY14-4338" fmla="*/ 986216 h 4492350"/>
                <a:gd name="connsiteX15-4339" fmla="*/ 1881963 w 3694535"/>
                <a:gd name="connsiteY15-4340" fmla="*/ 2060385 h 4492350"/>
                <a:gd name="connsiteX16-4341" fmla="*/ 2057494 w 3694535"/>
                <a:gd name="connsiteY16-4342" fmla="*/ 3046321 h 4492350"/>
                <a:gd name="connsiteX17-4343" fmla="*/ 2647507 w 3694535"/>
                <a:gd name="connsiteY17-4344" fmla="*/ 2519916 h 4492350"/>
                <a:gd name="connsiteX18-4345" fmla="*/ 2913694 w 3694535"/>
                <a:gd name="connsiteY18-4346" fmla="*/ 1291762 h 4492350"/>
                <a:gd name="connsiteX19-4347" fmla="*/ 2806809 w 3694535"/>
                <a:gd name="connsiteY19-4348" fmla="*/ 2383091 h 4492350"/>
                <a:gd name="connsiteX20-4349" fmla="*/ 3694535 w 3694535"/>
                <a:gd name="connsiteY20-4350" fmla="*/ 1124252 h 4492350"/>
                <a:gd name="connsiteX21-4351" fmla="*/ 2222205 w 3694535"/>
                <a:gd name="connsiteY21-4352" fmla="*/ 3370521 h 4492350"/>
                <a:gd name="connsiteX22-4353" fmla="*/ 2169042 w 3694535"/>
                <a:gd name="connsiteY22-4354" fmla="*/ 3817088 h 4492350"/>
                <a:gd name="connsiteX23-4355" fmla="*/ 3317358 w 3694535"/>
                <a:gd name="connsiteY23-4356" fmla="*/ 3094074 h 4492350"/>
                <a:gd name="connsiteX24-4357" fmla="*/ 2194317 w 3694535"/>
                <a:gd name="connsiteY24-4358" fmla="*/ 4030951 h 4492350"/>
                <a:gd name="connsiteX25-4359" fmla="*/ 2232838 w 3694535"/>
                <a:gd name="connsiteY25-4360" fmla="*/ 4476307 h 4492350"/>
                <a:gd name="connsiteX26-4361" fmla="*/ 2218194 w 3694535"/>
                <a:gd name="connsiteY26-4362" fmla="*/ 4491415 h 4492350"/>
                <a:gd name="connsiteX27-4363" fmla="*/ 1743740 w 3694535"/>
                <a:gd name="connsiteY27-4364" fmla="*/ 4492350 h 4492350"/>
                <a:gd name="connsiteX0-4365" fmla="*/ 1743740 w 3694535"/>
                <a:gd name="connsiteY0-4366" fmla="*/ 4492350 h 4492350"/>
                <a:gd name="connsiteX1-4367" fmla="*/ 1796903 w 3694535"/>
                <a:gd name="connsiteY1-4368" fmla="*/ 3785190 h 4492350"/>
                <a:gd name="connsiteX2-4369" fmla="*/ 1307805 w 3694535"/>
                <a:gd name="connsiteY2-4370" fmla="*/ 3381153 h 4492350"/>
                <a:gd name="connsiteX3-4371" fmla="*/ 31898 w 3694535"/>
                <a:gd name="connsiteY3-4372" fmla="*/ 2945218 h 4492350"/>
                <a:gd name="connsiteX4-4373" fmla="*/ 1127052 w 3694535"/>
                <a:gd name="connsiteY4-4374" fmla="*/ 3242930 h 4492350"/>
                <a:gd name="connsiteX5-4375" fmla="*/ 393405 w 3694535"/>
                <a:gd name="connsiteY5-4376" fmla="*/ 2456121 h 4492350"/>
                <a:gd name="connsiteX6-4377" fmla="*/ 1775638 w 3694535"/>
                <a:gd name="connsiteY6-4378" fmla="*/ 3519376 h 4492350"/>
                <a:gd name="connsiteX7-4379" fmla="*/ 1683956 w 3694535"/>
                <a:gd name="connsiteY7-4380" fmla="*/ 2424409 h 4492350"/>
                <a:gd name="connsiteX8-4381" fmla="*/ 0 w 3694535"/>
                <a:gd name="connsiteY8-4382" fmla="*/ 754911 h 4492350"/>
                <a:gd name="connsiteX9-4383" fmla="*/ 988828 w 3694535"/>
                <a:gd name="connsiteY9-4384" fmla="*/ 1924493 h 4492350"/>
                <a:gd name="connsiteX10-4385" fmla="*/ 1137684 w 3694535"/>
                <a:gd name="connsiteY10-4386" fmla="*/ 861237 h 4492350"/>
                <a:gd name="connsiteX11-4387" fmla="*/ 1194671 w 3694535"/>
                <a:gd name="connsiteY11-4388" fmla="*/ 2026621 h 4492350"/>
                <a:gd name="connsiteX12-4389" fmla="*/ 1714640 w 3694535"/>
                <a:gd name="connsiteY12-4390" fmla="*/ 2194318 h 4492350"/>
                <a:gd name="connsiteX13-4391" fmla="*/ 1956391 w 3694535"/>
                <a:gd name="connsiteY13-4392" fmla="*/ 0 h 4492350"/>
                <a:gd name="connsiteX14-4393" fmla="*/ 2027834 w 3694535"/>
                <a:gd name="connsiteY14-4394" fmla="*/ 986216 h 4492350"/>
                <a:gd name="connsiteX15-4395" fmla="*/ 1881963 w 3694535"/>
                <a:gd name="connsiteY15-4396" fmla="*/ 2060385 h 4492350"/>
                <a:gd name="connsiteX16-4397" fmla="*/ 2057494 w 3694535"/>
                <a:gd name="connsiteY16-4398" fmla="*/ 3046321 h 4492350"/>
                <a:gd name="connsiteX17-4399" fmla="*/ 2647507 w 3694535"/>
                <a:gd name="connsiteY17-4400" fmla="*/ 2519916 h 4492350"/>
                <a:gd name="connsiteX18-4401" fmla="*/ 2913694 w 3694535"/>
                <a:gd name="connsiteY18-4402" fmla="*/ 1291762 h 4492350"/>
                <a:gd name="connsiteX19-4403" fmla="*/ 2806809 w 3694535"/>
                <a:gd name="connsiteY19-4404" fmla="*/ 2383091 h 4492350"/>
                <a:gd name="connsiteX20-4405" fmla="*/ 3694535 w 3694535"/>
                <a:gd name="connsiteY20-4406" fmla="*/ 1124252 h 4492350"/>
                <a:gd name="connsiteX21-4407" fmla="*/ 2222205 w 3694535"/>
                <a:gd name="connsiteY21-4408" fmla="*/ 3370521 h 4492350"/>
                <a:gd name="connsiteX22-4409" fmla="*/ 2169042 w 3694535"/>
                <a:gd name="connsiteY22-4410" fmla="*/ 3817088 h 4492350"/>
                <a:gd name="connsiteX23-4411" fmla="*/ 3317358 w 3694535"/>
                <a:gd name="connsiteY23-4412" fmla="*/ 3094074 h 4492350"/>
                <a:gd name="connsiteX24-4413" fmla="*/ 2194317 w 3694535"/>
                <a:gd name="connsiteY24-4414" fmla="*/ 4030951 h 4492350"/>
                <a:gd name="connsiteX25-4415" fmla="*/ 2232838 w 3694535"/>
                <a:gd name="connsiteY25-4416" fmla="*/ 4476307 h 4492350"/>
                <a:gd name="connsiteX26-4417" fmla="*/ 2218194 w 3694535"/>
                <a:gd name="connsiteY26-4418" fmla="*/ 4491415 h 4492350"/>
                <a:gd name="connsiteX27-4419" fmla="*/ 1743740 w 3694535"/>
                <a:gd name="connsiteY27-4420" fmla="*/ 4492350 h 4492350"/>
                <a:gd name="connsiteX0-4421" fmla="*/ 1743740 w 3694535"/>
                <a:gd name="connsiteY0-4422" fmla="*/ 4492350 h 4492350"/>
                <a:gd name="connsiteX1-4423" fmla="*/ 1796903 w 3694535"/>
                <a:gd name="connsiteY1-4424" fmla="*/ 3785190 h 4492350"/>
                <a:gd name="connsiteX2-4425" fmla="*/ 1307805 w 3694535"/>
                <a:gd name="connsiteY2-4426" fmla="*/ 3381153 h 4492350"/>
                <a:gd name="connsiteX3-4427" fmla="*/ 31898 w 3694535"/>
                <a:gd name="connsiteY3-4428" fmla="*/ 2945218 h 4492350"/>
                <a:gd name="connsiteX4-4429" fmla="*/ 1127052 w 3694535"/>
                <a:gd name="connsiteY4-4430" fmla="*/ 3242930 h 4492350"/>
                <a:gd name="connsiteX5-4431" fmla="*/ 393405 w 3694535"/>
                <a:gd name="connsiteY5-4432" fmla="*/ 2456121 h 4492350"/>
                <a:gd name="connsiteX6-4433" fmla="*/ 1775638 w 3694535"/>
                <a:gd name="connsiteY6-4434" fmla="*/ 3519376 h 4492350"/>
                <a:gd name="connsiteX7-4435" fmla="*/ 1683956 w 3694535"/>
                <a:gd name="connsiteY7-4436" fmla="*/ 2424409 h 4492350"/>
                <a:gd name="connsiteX8-4437" fmla="*/ 0 w 3694535"/>
                <a:gd name="connsiteY8-4438" fmla="*/ 754911 h 4492350"/>
                <a:gd name="connsiteX9-4439" fmla="*/ 988828 w 3694535"/>
                <a:gd name="connsiteY9-4440" fmla="*/ 1924493 h 4492350"/>
                <a:gd name="connsiteX10-4441" fmla="*/ 1137684 w 3694535"/>
                <a:gd name="connsiteY10-4442" fmla="*/ 861237 h 4492350"/>
                <a:gd name="connsiteX11-4443" fmla="*/ 1194671 w 3694535"/>
                <a:gd name="connsiteY11-4444" fmla="*/ 2026621 h 4492350"/>
                <a:gd name="connsiteX12-4445" fmla="*/ 1714640 w 3694535"/>
                <a:gd name="connsiteY12-4446" fmla="*/ 2194318 h 4492350"/>
                <a:gd name="connsiteX13-4447" fmla="*/ 1956391 w 3694535"/>
                <a:gd name="connsiteY13-4448" fmla="*/ 0 h 4492350"/>
                <a:gd name="connsiteX14-4449" fmla="*/ 2027834 w 3694535"/>
                <a:gd name="connsiteY14-4450" fmla="*/ 986216 h 4492350"/>
                <a:gd name="connsiteX15-4451" fmla="*/ 1881963 w 3694535"/>
                <a:gd name="connsiteY15-4452" fmla="*/ 2060385 h 4492350"/>
                <a:gd name="connsiteX16-4453" fmla="*/ 2057494 w 3694535"/>
                <a:gd name="connsiteY16-4454" fmla="*/ 3046321 h 4492350"/>
                <a:gd name="connsiteX17-4455" fmla="*/ 2647507 w 3694535"/>
                <a:gd name="connsiteY17-4456" fmla="*/ 2519916 h 4492350"/>
                <a:gd name="connsiteX18-4457" fmla="*/ 2913694 w 3694535"/>
                <a:gd name="connsiteY18-4458" fmla="*/ 1291762 h 4492350"/>
                <a:gd name="connsiteX19-4459" fmla="*/ 2806809 w 3694535"/>
                <a:gd name="connsiteY19-4460" fmla="*/ 2383091 h 4492350"/>
                <a:gd name="connsiteX20-4461" fmla="*/ 3694535 w 3694535"/>
                <a:gd name="connsiteY20-4462" fmla="*/ 1124252 h 4492350"/>
                <a:gd name="connsiteX21-4463" fmla="*/ 2222205 w 3694535"/>
                <a:gd name="connsiteY21-4464" fmla="*/ 3370521 h 4492350"/>
                <a:gd name="connsiteX22-4465" fmla="*/ 2169042 w 3694535"/>
                <a:gd name="connsiteY22-4466" fmla="*/ 3817088 h 4492350"/>
                <a:gd name="connsiteX23-4467" fmla="*/ 3317358 w 3694535"/>
                <a:gd name="connsiteY23-4468" fmla="*/ 3094074 h 4492350"/>
                <a:gd name="connsiteX24-4469" fmla="*/ 2194317 w 3694535"/>
                <a:gd name="connsiteY24-4470" fmla="*/ 4030951 h 4492350"/>
                <a:gd name="connsiteX25-4471" fmla="*/ 2232838 w 3694535"/>
                <a:gd name="connsiteY25-4472" fmla="*/ 4476307 h 4492350"/>
                <a:gd name="connsiteX26-4473" fmla="*/ 2218194 w 3694535"/>
                <a:gd name="connsiteY26-4474" fmla="*/ 4491415 h 4492350"/>
                <a:gd name="connsiteX27-4475" fmla="*/ 1743740 w 3694535"/>
                <a:gd name="connsiteY27-4476" fmla="*/ 4492350 h 4492350"/>
                <a:gd name="connsiteX0-4477" fmla="*/ 1743740 w 3694535"/>
                <a:gd name="connsiteY0-4478" fmla="*/ 4492350 h 4492350"/>
                <a:gd name="connsiteX1-4479" fmla="*/ 1796903 w 3694535"/>
                <a:gd name="connsiteY1-4480" fmla="*/ 3785190 h 4492350"/>
                <a:gd name="connsiteX2-4481" fmla="*/ 1307805 w 3694535"/>
                <a:gd name="connsiteY2-4482" fmla="*/ 3381153 h 4492350"/>
                <a:gd name="connsiteX3-4483" fmla="*/ 31898 w 3694535"/>
                <a:gd name="connsiteY3-4484" fmla="*/ 2945218 h 4492350"/>
                <a:gd name="connsiteX4-4485" fmla="*/ 1127052 w 3694535"/>
                <a:gd name="connsiteY4-4486" fmla="*/ 3242930 h 4492350"/>
                <a:gd name="connsiteX5-4487" fmla="*/ 393405 w 3694535"/>
                <a:gd name="connsiteY5-4488" fmla="*/ 2456121 h 4492350"/>
                <a:gd name="connsiteX6-4489" fmla="*/ 1775638 w 3694535"/>
                <a:gd name="connsiteY6-4490" fmla="*/ 3519376 h 4492350"/>
                <a:gd name="connsiteX7-4491" fmla="*/ 1683956 w 3694535"/>
                <a:gd name="connsiteY7-4492" fmla="*/ 2424409 h 4492350"/>
                <a:gd name="connsiteX8-4493" fmla="*/ 0 w 3694535"/>
                <a:gd name="connsiteY8-4494" fmla="*/ 754911 h 4492350"/>
                <a:gd name="connsiteX9-4495" fmla="*/ 988828 w 3694535"/>
                <a:gd name="connsiteY9-4496" fmla="*/ 1924493 h 4492350"/>
                <a:gd name="connsiteX10-4497" fmla="*/ 1137684 w 3694535"/>
                <a:gd name="connsiteY10-4498" fmla="*/ 861237 h 4492350"/>
                <a:gd name="connsiteX11-4499" fmla="*/ 1194671 w 3694535"/>
                <a:gd name="connsiteY11-4500" fmla="*/ 2026621 h 4492350"/>
                <a:gd name="connsiteX12-4501" fmla="*/ 1714640 w 3694535"/>
                <a:gd name="connsiteY12-4502" fmla="*/ 2194318 h 4492350"/>
                <a:gd name="connsiteX13-4503" fmla="*/ 1956391 w 3694535"/>
                <a:gd name="connsiteY13-4504" fmla="*/ 0 h 4492350"/>
                <a:gd name="connsiteX14-4505" fmla="*/ 2027834 w 3694535"/>
                <a:gd name="connsiteY14-4506" fmla="*/ 986216 h 4492350"/>
                <a:gd name="connsiteX15-4507" fmla="*/ 1881963 w 3694535"/>
                <a:gd name="connsiteY15-4508" fmla="*/ 2060385 h 4492350"/>
                <a:gd name="connsiteX16-4509" fmla="*/ 2057494 w 3694535"/>
                <a:gd name="connsiteY16-4510" fmla="*/ 3046321 h 4492350"/>
                <a:gd name="connsiteX17-4511" fmla="*/ 2647507 w 3694535"/>
                <a:gd name="connsiteY17-4512" fmla="*/ 2519916 h 4492350"/>
                <a:gd name="connsiteX18-4513" fmla="*/ 2913694 w 3694535"/>
                <a:gd name="connsiteY18-4514" fmla="*/ 1291762 h 4492350"/>
                <a:gd name="connsiteX19-4515" fmla="*/ 2806809 w 3694535"/>
                <a:gd name="connsiteY19-4516" fmla="*/ 2383091 h 4492350"/>
                <a:gd name="connsiteX20-4517" fmla="*/ 3694535 w 3694535"/>
                <a:gd name="connsiteY20-4518" fmla="*/ 1124252 h 4492350"/>
                <a:gd name="connsiteX21-4519" fmla="*/ 2222205 w 3694535"/>
                <a:gd name="connsiteY21-4520" fmla="*/ 3370521 h 4492350"/>
                <a:gd name="connsiteX22-4521" fmla="*/ 2169042 w 3694535"/>
                <a:gd name="connsiteY22-4522" fmla="*/ 3817088 h 4492350"/>
                <a:gd name="connsiteX23-4523" fmla="*/ 3317358 w 3694535"/>
                <a:gd name="connsiteY23-4524" fmla="*/ 3094074 h 4492350"/>
                <a:gd name="connsiteX24-4525" fmla="*/ 2194317 w 3694535"/>
                <a:gd name="connsiteY24-4526" fmla="*/ 4030951 h 4492350"/>
                <a:gd name="connsiteX25-4527" fmla="*/ 2232838 w 3694535"/>
                <a:gd name="connsiteY25-4528" fmla="*/ 4476307 h 4492350"/>
                <a:gd name="connsiteX26-4529" fmla="*/ 2218194 w 3694535"/>
                <a:gd name="connsiteY26-4530" fmla="*/ 4491415 h 4492350"/>
                <a:gd name="connsiteX27-4531" fmla="*/ 1743740 w 3694535"/>
                <a:gd name="connsiteY27-4532" fmla="*/ 4492350 h 4492350"/>
                <a:gd name="connsiteX0-4533" fmla="*/ 1743740 w 3694535"/>
                <a:gd name="connsiteY0-4534" fmla="*/ 4492350 h 4492350"/>
                <a:gd name="connsiteX1-4535" fmla="*/ 1796903 w 3694535"/>
                <a:gd name="connsiteY1-4536" fmla="*/ 3785190 h 4492350"/>
                <a:gd name="connsiteX2-4537" fmla="*/ 1307805 w 3694535"/>
                <a:gd name="connsiteY2-4538" fmla="*/ 3381153 h 4492350"/>
                <a:gd name="connsiteX3-4539" fmla="*/ 31898 w 3694535"/>
                <a:gd name="connsiteY3-4540" fmla="*/ 2945218 h 4492350"/>
                <a:gd name="connsiteX4-4541" fmla="*/ 1127052 w 3694535"/>
                <a:gd name="connsiteY4-4542" fmla="*/ 3242930 h 4492350"/>
                <a:gd name="connsiteX5-4543" fmla="*/ 393405 w 3694535"/>
                <a:gd name="connsiteY5-4544" fmla="*/ 2456121 h 4492350"/>
                <a:gd name="connsiteX6-4545" fmla="*/ 1775638 w 3694535"/>
                <a:gd name="connsiteY6-4546" fmla="*/ 3519376 h 4492350"/>
                <a:gd name="connsiteX7-4547" fmla="*/ 1683956 w 3694535"/>
                <a:gd name="connsiteY7-4548" fmla="*/ 2424409 h 4492350"/>
                <a:gd name="connsiteX8-4549" fmla="*/ 0 w 3694535"/>
                <a:gd name="connsiteY8-4550" fmla="*/ 754911 h 4492350"/>
                <a:gd name="connsiteX9-4551" fmla="*/ 988828 w 3694535"/>
                <a:gd name="connsiteY9-4552" fmla="*/ 1924493 h 4492350"/>
                <a:gd name="connsiteX10-4553" fmla="*/ 1113621 w 3694535"/>
                <a:gd name="connsiteY10-4554" fmla="*/ 861237 h 4492350"/>
                <a:gd name="connsiteX11-4555" fmla="*/ 1194671 w 3694535"/>
                <a:gd name="connsiteY11-4556" fmla="*/ 2026621 h 4492350"/>
                <a:gd name="connsiteX12-4557" fmla="*/ 1714640 w 3694535"/>
                <a:gd name="connsiteY12-4558" fmla="*/ 2194318 h 4492350"/>
                <a:gd name="connsiteX13-4559" fmla="*/ 1956391 w 3694535"/>
                <a:gd name="connsiteY13-4560" fmla="*/ 0 h 4492350"/>
                <a:gd name="connsiteX14-4561" fmla="*/ 2027834 w 3694535"/>
                <a:gd name="connsiteY14-4562" fmla="*/ 986216 h 4492350"/>
                <a:gd name="connsiteX15-4563" fmla="*/ 1881963 w 3694535"/>
                <a:gd name="connsiteY15-4564" fmla="*/ 2060385 h 4492350"/>
                <a:gd name="connsiteX16-4565" fmla="*/ 2057494 w 3694535"/>
                <a:gd name="connsiteY16-4566" fmla="*/ 3046321 h 4492350"/>
                <a:gd name="connsiteX17-4567" fmla="*/ 2647507 w 3694535"/>
                <a:gd name="connsiteY17-4568" fmla="*/ 2519916 h 4492350"/>
                <a:gd name="connsiteX18-4569" fmla="*/ 2913694 w 3694535"/>
                <a:gd name="connsiteY18-4570" fmla="*/ 1291762 h 4492350"/>
                <a:gd name="connsiteX19-4571" fmla="*/ 2806809 w 3694535"/>
                <a:gd name="connsiteY19-4572" fmla="*/ 2383091 h 4492350"/>
                <a:gd name="connsiteX20-4573" fmla="*/ 3694535 w 3694535"/>
                <a:gd name="connsiteY20-4574" fmla="*/ 1124252 h 4492350"/>
                <a:gd name="connsiteX21-4575" fmla="*/ 2222205 w 3694535"/>
                <a:gd name="connsiteY21-4576" fmla="*/ 3370521 h 4492350"/>
                <a:gd name="connsiteX22-4577" fmla="*/ 2169042 w 3694535"/>
                <a:gd name="connsiteY22-4578" fmla="*/ 3817088 h 4492350"/>
                <a:gd name="connsiteX23-4579" fmla="*/ 3317358 w 3694535"/>
                <a:gd name="connsiteY23-4580" fmla="*/ 3094074 h 4492350"/>
                <a:gd name="connsiteX24-4581" fmla="*/ 2194317 w 3694535"/>
                <a:gd name="connsiteY24-4582" fmla="*/ 4030951 h 4492350"/>
                <a:gd name="connsiteX25-4583" fmla="*/ 2232838 w 3694535"/>
                <a:gd name="connsiteY25-4584" fmla="*/ 4476307 h 4492350"/>
                <a:gd name="connsiteX26-4585" fmla="*/ 2218194 w 3694535"/>
                <a:gd name="connsiteY26-4586" fmla="*/ 4491415 h 4492350"/>
                <a:gd name="connsiteX27-4587" fmla="*/ 1743740 w 3694535"/>
                <a:gd name="connsiteY27-4588" fmla="*/ 4492350 h 4492350"/>
                <a:gd name="connsiteX0-4589" fmla="*/ 1743740 w 3694535"/>
                <a:gd name="connsiteY0-4590" fmla="*/ 4492350 h 4492350"/>
                <a:gd name="connsiteX1-4591" fmla="*/ 1796903 w 3694535"/>
                <a:gd name="connsiteY1-4592" fmla="*/ 3785190 h 4492350"/>
                <a:gd name="connsiteX2-4593" fmla="*/ 1307805 w 3694535"/>
                <a:gd name="connsiteY2-4594" fmla="*/ 3381153 h 4492350"/>
                <a:gd name="connsiteX3-4595" fmla="*/ 31898 w 3694535"/>
                <a:gd name="connsiteY3-4596" fmla="*/ 2945218 h 4492350"/>
                <a:gd name="connsiteX4-4597" fmla="*/ 1127052 w 3694535"/>
                <a:gd name="connsiteY4-4598" fmla="*/ 3242930 h 4492350"/>
                <a:gd name="connsiteX5-4599" fmla="*/ 393405 w 3694535"/>
                <a:gd name="connsiteY5-4600" fmla="*/ 2456121 h 4492350"/>
                <a:gd name="connsiteX6-4601" fmla="*/ 1775638 w 3694535"/>
                <a:gd name="connsiteY6-4602" fmla="*/ 3519376 h 4492350"/>
                <a:gd name="connsiteX7-4603" fmla="*/ 1683956 w 3694535"/>
                <a:gd name="connsiteY7-4604" fmla="*/ 2424409 h 4492350"/>
                <a:gd name="connsiteX8-4605" fmla="*/ 0 w 3694535"/>
                <a:gd name="connsiteY8-4606" fmla="*/ 754911 h 4492350"/>
                <a:gd name="connsiteX9-4607" fmla="*/ 988828 w 3694535"/>
                <a:gd name="connsiteY9-4608" fmla="*/ 1924493 h 4492350"/>
                <a:gd name="connsiteX10-4609" fmla="*/ 1113621 w 3694535"/>
                <a:gd name="connsiteY10-4610" fmla="*/ 861237 h 4492350"/>
                <a:gd name="connsiteX11-4611" fmla="*/ 1194671 w 3694535"/>
                <a:gd name="connsiteY11-4612" fmla="*/ 2026621 h 4492350"/>
                <a:gd name="connsiteX12-4613" fmla="*/ 1714640 w 3694535"/>
                <a:gd name="connsiteY12-4614" fmla="*/ 2194318 h 4492350"/>
                <a:gd name="connsiteX13-4615" fmla="*/ 1956391 w 3694535"/>
                <a:gd name="connsiteY13-4616" fmla="*/ 0 h 4492350"/>
                <a:gd name="connsiteX14-4617" fmla="*/ 2027834 w 3694535"/>
                <a:gd name="connsiteY14-4618" fmla="*/ 986216 h 4492350"/>
                <a:gd name="connsiteX15-4619" fmla="*/ 1881963 w 3694535"/>
                <a:gd name="connsiteY15-4620" fmla="*/ 2060385 h 4492350"/>
                <a:gd name="connsiteX16-4621" fmla="*/ 2057494 w 3694535"/>
                <a:gd name="connsiteY16-4622" fmla="*/ 3046321 h 4492350"/>
                <a:gd name="connsiteX17-4623" fmla="*/ 2647507 w 3694535"/>
                <a:gd name="connsiteY17-4624" fmla="*/ 2519916 h 4492350"/>
                <a:gd name="connsiteX18-4625" fmla="*/ 2913694 w 3694535"/>
                <a:gd name="connsiteY18-4626" fmla="*/ 1291762 h 4492350"/>
                <a:gd name="connsiteX19-4627" fmla="*/ 2806809 w 3694535"/>
                <a:gd name="connsiteY19-4628" fmla="*/ 2383091 h 4492350"/>
                <a:gd name="connsiteX20-4629" fmla="*/ 3694535 w 3694535"/>
                <a:gd name="connsiteY20-4630" fmla="*/ 1124252 h 4492350"/>
                <a:gd name="connsiteX21-4631" fmla="*/ 2222205 w 3694535"/>
                <a:gd name="connsiteY21-4632" fmla="*/ 3370521 h 4492350"/>
                <a:gd name="connsiteX22-4633" fmla="*/ 2169042 w 3694535"/>
                <a:gd name="connsiteY22-4634" fmla="*/ 3817088 h 4492350"/>
                <a:gd name="connsiteX23-4635" fmla="*/ 3317358 w 3694535"/>
                <a:gd name="connsiteY23-4636" fmla="*/ 3094074 h 4492350"/>
                <a:gd name="connsiteX24-4637" fmla="*/ 2194317 w 3694535"/>
                <a:gd name="connsiteY24-4638" fmla="*/ 4030951 h 4492350"/>
                <a:gd name="connsiteX25-4639" fmla="*/ 2232838 w 3694535"/>
                <a:gd name="connsiteY25-4640" fmla="*/ 4476307 h 4492350"/>
                <a:gd name="connsiteX26-4641" fmla="*/ 2218194 w 3694535"/>
                <a:gd name="connsiteY26-4642" fmla="*/ 4491415 h 4492350"/>
                <a:gd name="connsiteX27-4643" fmla="*/ 1743740 w 3694535"/>
                <a:gd name="connsiteY27-4644" fmla="*/ 4492350 h 4492350"/>
                <a:gd name="connsiteX0-4645" fmla="*/ 1743740 w 3694535"/>
                <a:gd name="connsiteY0-4646" fmla="*/ 4492350 h 4492350"/>
                <a:gd name="connsiteX1-4647" fmla="*/ 1796903 w 3694535"/>
                <a:gd name="connsiteY1-4648" fmla="*/ 3785190 h 4492350"/>
                <a:gd name="connsiteX2-4649" fmla="*/ 1307805 w 3694535"/>
                <a:gd name="connsiteY2-4650" fmla="*/ 3381153 h 4492350"/>
                <a:gd name="connsiteX3-4651" fmla="*/ 31898 w 3694535"/>
                <a:gd name="connsiteY3-4652" fmla="*/ 2945218 h 4492350"/>
                <a:gd name="connsiteX4-4653" fmla="*/ 1127052 w 3694535"/>
                <a:gd name="connsiteY4-4654" fmla="*/ 3242930 h 4492350"/>
                <a:gd name="connsiteX5-4655" fmla="*/ 393405 w 3694535"/>
                <a:gd name="connsiteY5-4656" fmla="*/ 2456121 h 4492350"/>
                <a:gd name="connsiteX6-4657" fmla="*/ 1775638 w 3694535"/>
                <a:gd name="connsiteY6-4658" fmla="*/ 3519376 h 4492350"/>
                <a:gd name="connsiteX7-4659" fmla="*/ 1683956 w 3694535"/>
                <a:gd name="connsiteY7-4660" fmla="*/ 2424409 h 4492350"/>
                <a:gd name="connsiteX8-4661" fmla="*/ 0 w 3694535"/>
                <a:gd name="connsiteY8-4662" fmla="*/ 754911 h 4492350"/>
                <a:gd name="connsiteX9-4663" fmla="*/ 988828 w 3694535"/>
                <a:gd name="connsiteY9-4664" fmla="*/ 1924493 h 4492350"/>
                <a:gd name="connsiteX10-4665" fmla="*/ 1113621 w 3694535"/>
                <a:gd name="connsiteY10-4666" fmla="*/ 861237 h 4492350"/>
                <a:gd name="connsiteX11-4667" fmla="*/ 1194671 w 3694535"/>
                <a:gd name="connsiteY11-4668" fmla="*/ 2026621 h 4492350"/>
                <a:gd name="connsiteX12-4669" fmla="*/ 1714640 w 3694535"/>
                <a:gd name="connsiteY12-4670" fmla="*/ 2194318 h 4492350"/>
                <a:gd name="connsiteX13-4671" fmla="*/ 1956391 w 3694535"/>
                <a:gd name="connsiteY13-4672" fmla="*/ 0 h 4492350"/>
                <a:gd name="connsiteX14-4673" fmla="*/ 2027834 w 3694535"/>
                <a:gd name="connsiteY14-4674" fmla="*/ 986216 h 4492350"/>
                <a:gd name="connsiteX15-4675" fmla="*/ 1881963 w 3694535"/>
                <a:gd name="connsiteY15-4676" fmla="*/ 2060385 h 4492350"/>
                <a:gd name="connsiteX16-4677" fmla="*/ 2057494 w 3694535"/>
                <a:gd name="connsiteY16-4678" fmla="*/ 3046321 h 4492350"/>
                <a:gd name="connsiteX17-4679" fmla="*/ 2647507 w 3694535"/>
                <a:gd name="connsiteY17-4680" fmla="*/ 2519916 h 4492350"/>
                <a:gd name="connsiteX18-4681" fmla="*/ 2913694 w 3694535"/>
                <a:gd name="connsiteY18-4682" fmla="*/ 1291762 h 4492350"/>
                <a:gd name="connsiteX19-4683" fmla="*/ 2806809 w 3694535"/>
                <a:gd name="connsiteY19-4684" fmla="*/ 2383091 h 4492350"/>
                <a:gd name="connsiteX20-4685" fmla="*/ 3694535 w 3694535"/>
                <a:gd name="connsiteY20-4686" fmla="*/ 1124252 h 4492350"/>
                <a:gd name="connsiteX21-4687" fmla="*/ 2222205 w 3694535"/>
                <a:gd name="connsiteY21-4688" fmla="*/ 3370521 h 4492350"/>
                <a:gd name="connsiteX22-4689" fmla="*/ 2169042 w 3694535"/>
                <a:gd name="connsiteY22-4690" fmla="*/ 3817088 h 4492350"/>
                <a:gd name="connsiteX23-4691" fmla="*/ 3317358 w 3694535"/>
                <a:gd name="connsiteY23-4692" fmla="*/ 3094074 h 4492350"/>
                <a:gd name="connsiteX24-4693" fmla="*/ 2194317 w 3694535"/>
                <a:gd name="connsiteY24-4694" fmla="*/ 4030951 h 4492350"/>
                <a:gd name="connsiteX25-4695" fmla="*/ 2232838 w 3694535"/>
                <a:gd name="connsiteY25-4696" fmla="*/ 4476307 h 4492350"/>
                <a:gd name="connsiteX26-4697" fmla="*/ 2218194 w 3694535"/>
                <a:gd name="connsiteY26-4698" fmla="*/ 4491415 h 4492350"/>
                <a:gd name="connsiteX27-4699" fmla="*/ 1743740 w 3694535"/>
                <a:gd name="connsiteY27-4700" fmla="*/ 4492350 h 4492350"/>
                <a:gd name="connsiteX0-4701" fmla="*/ 1743740 w 3694535"/>
                <a:gd name="connsiteY0-4702" fmla="*/ 4492350 h 4492350"/>
                <a:gd name="connsiteX1-4703" fmla="*/ 1796903 w 3694535"/>
                <a:gd name="connsiteY1-4704" fmla="*/ 3785190 h 4492350"/>
                <a:gd name="connsiteX2-4705" fmla="*/ 1307805 w 3694535"/>
                <a:gd name="connsiteY2-4706" fmla="*/ 3381153 h 4492350"/>
                <a:gd name="connsiteX3-4707" fmla="*/ 31898 w 3694535"/>
                <a:gd name="connsiteY3-4708" fmla="*/ 2945218 h 4492350"/>
                <a:gd name="connsiteX4-4709" fmla="*/ 1127052 w 3694535"/>
                <a:gd name="connsiteY4-4710" fmla="*/ 3242930 h 4492350"/>
                <a:gd name="connsiteX5-4711" fmla="*/ 393405 w 3694535"/>
                <a:gd name="connsiteY5-4712" fmla="*/ 2456121 h 4492350"/>
                <a:gd name="connsiteX6-4713" fmla="*/ 1775638 w 3694535"/>
                <a:gd name="connsiteY6-4714" fmla="*/ 3519376 h 4492350"/>
                <a:gd name="connsiteX7-4715" fmla="*/ 1683956 w 3694535"/>
                <a:gd name="connsiteY7-4716" fmla="*/ 2424409 h 4492350"/>
                <a:gd name="connsiteX8-4717" fmla="*/ 0 w 3694535"/>
                <a:gd name="connsiteY8-4718" fmla="*/ 754911 h 4492350"/>
                <a:gd name="connsiteX9-4719" fmla="*/ 988828 w 3694535"/>
                <a:gd name="connsiteY9-4720" fmla="*/ 1924493 h 4492350"/>
                <a:gd name="connsiteX10-4721" fmla="*/ 1093568 w 3694535"/>
                <a:gd name="connsiteY10-4722" fmla="*/ 857226 h 4492350"/>
                <a:gd name="connsiteX11-4723" fmla="*/ 1194671 w 3694535"/>
                <a:gd name="connsiteY11-4724" fmla="*/ 2026621 h 4492350"/>
                <a:gd name="connsiteX12-4725" fmla="*/ 1714640 w 3694535"/>
                <a:gd name="connsiteY12-4726" fmla="*/ 2194318 h 4492350"/>
                <a:gd name="connsiteX13-4727" fmla="*/ 1956391 w 3694535"/>
                <a:gd name="connsiteY13-4728" fmla="*/ 0 h 4492350"/>
                <a:gd name="connsiteX14-4729" fmla="*/ 2027834 w 3694535"/>
                <a:gd name="connsiteY14-4730" fmla="*/ 986216 h 4492350"/>
                <a:gd name="connsiteX15-4731" fmla="*/ 1881963 w 3694535"/>
                <a:gd name="connsiteY15-4732" fmla="*/ 2060385 h 4492350"/>
                <a:gd name="connsiteX16-4733" fmla="*/ 2057494 w 3694535"/>
                <a:gd name="connsiteY16-4734" fmla="*/ 3046321 h 4492350"/>
                <a:gd name="connsiteX17-4735" fmla="*/ 2647507 w 3694535"/>
                <a:gd name="connsiteY17-4736" fmla="*/ 2519916 h 4492350"/>
                <a:gd name="connsiteX18-4737" fmla="*/ 2913694 w 3694535"/>
                <a:gd name="connsiteY18-4738" fmla="*/ 1291762 h 4492350"/>
                <a:gd name="connsiteX19-4739" fmla="*/ 2806809 w 3694535"/>
                <a:gd name="connsiteY19-4740" fmla="*/ 2383091 h 4492350"/>
                <a:gd name="connsiteX20-4741" fmla="*/ 3694535 w 3694535"/>
                <a:gd name="connsiteY20-4742" fmla="*/ 1124252 h 4492350"/>
                <a:gd name="connsiteX21-4743" fmla="*/ 2222205 w 3694535"/>
                <a:gd name="connsiteY21-4744" fmla="*/ 3370521 h 4492350"/>
                <a:gd name="connsiteX22-4745" fmla="*/ 2169042 w 3694535"/>
                <a:gd name="connsiteY22-4746" fmla="*/ 3817088 h 4492350"/>
                <a:gd name="connsiteX23-4747" fmla="*/ 3317358 w 3694535"/>
                <a:gd name="connsiteY23-4748" fmla="*/ 3094074 h 4492350"/>
                <a:gd name="connsiteX24-4749" fmla="*/ 2194317 w 3694535"/>
                <a:gd name="connsiteY24-4750" fmla="*/ 4030951 h 4492350"/>
                <a:gd name="connsiteX25-4751" fmla="*/ 2232838 w 3694535"/>
                <a:gd name="connsiteY25-4752" fmla="*/ 4476307 h 4492350"/>
                <a:gd name="connsiteX26-4753" fmla="*/ 2218194 w 3694535"/>
                <a:gd name="connsiteY26-4754" fmla="*/ 4491415 h 4492350"/>
                <a:gd name="connsiteX27-4755" fmla="*/ 1743740 w 3694535"/>
                <a:gd name="connsiteY27-4756" fmla="*/ 4492350 h 4492350"/>
                <a:gd name="connsiteX0-4757" fmla="*/ 1743740 w 3694535"/>
                <a:gd name="connsiteY0-4758" fmla="*/ 4492350 h 4492350"/>
                <a:gd name="connsiteX1-4759" fmla="*/ 1796903 w 3694535"/>
                <a:gd name="connsiteY1-4760" fmla="*/ 3785190 h 4492350"/>
                <a:gd name="connsiteX2-4761" fmla="*/ 1307805 w 3694535"/>
                <a:gd name="connsiteY2-4762" fmla="*/ 3381153 h 4492350"/>
                <a:gd name="connsiteX3-4763" fmla="*/ 31898 w 3694535"/>
                <a:gd name="connsiteY3-4764" fmla="*/ 2945218 h 4492350"/>
                <a:gd name="connsiteX4-4765" fmla="*/ 1127052 w 3694535"/>
                <a:gd name="connsiteY4-4766" fmla="*/ 3242930 h 4492350"/>
                <a:gd name="connsiteX5-4767" fmla="*/ 393405 w 3694535"/>
                <a:gd name="connsiteY5-4768" fmla="*/ 2456121 h 4492350"/>
                <a:gd name="connsiteX6-4769" fmla="*/ 1775638 w 3694535"/>
                <a:gd name="connsiteY6-4770" fmla="*/ 3519376 h 4492350"/>
                <a:gd name="connsiteX7-4771" fmla="*/ 1683956 w 3694535"/>
                <a:gd name="connsiteY7-4772" fmla="*/ 2424409 h 4492350"/>
                <a:gd name="connsiteX8-4773" fmla="*/ 0 w 3694535"/>
                <a:gd name="connsiteY8-4774" fmla="*/ 754911 h 4492350"/>
                <a:gd name="connsiteX9-4775" fmla="*/ 988828 w 3694535"/>
                <a:gd name="connsiteY9-4776" fmla="*/ 1924493 h 4492350"/>
                <a:gd name="connsiteX10-4777" fmla="*/ 1093568 w 3694535"/>
                <a:gd name="connsiteY10-4778" fmla="*/ 857226 h 4492350"/>
                <a:gd name="connsiteX11-4779" fmla="*/ 1194671 w 3694535"/>
                <a:gd name="connsiteY11-4780" fmla="*/ 2026621 h 4492350"/>
                <a:gd name="connsiteX12-4781" fmla="*/ 1714640 w 3694535"/>
                <a:gd name="connsiteY12-4782" fmla="*/ 2194318 h 4492350"/>
                <a:gd name="connsiteX13-4783" fmla="*/ 1956391 w 3694535"/>
                <a:gd name="connsiteY13-4784" fmla="*/ 0 h 4492350"/>
                <a:gd name="connsiteX14-4785" fmla="*/ 2027834 w 3694535"/>
                <a:gd name="connsiteY14-4786" fmla="*/ 986216 h 4492350"/>
                <a:gd name="connsiteX15-4787" fmla="*/ 1881963 w 3694535"/>
                <a:gd name="connsiteY15-4788" fmla="*/ 2060385 h 4492350"/>
                <a:gd name="connsiteX16-4789" fmla="*/ 2057494 w 3694535"/>
                <a:gd name="connsiteY16-4790" fmla="*/ 3046321 h 4492350"/>
                <a:gd name="connsiteX17-4791" fmla="*/ 2647507 w 3694535"/>
                <a:gd name="connsiteY17-4792" fmla="*/ 2519916 h 4492350"/>
                <a:gd name="connsiteX18-4793" fmla="*/ 2913694 w 3694535"/>
                <a:gd name="connsiteY18-4794" fmla="*/ 1291762 h 4492350"/>
                <a:gd name="connsiteX19-4795" fmla="*/ 2806809 w 3694535"/>
                <a:gd name="connsiteY19-4796" fmla="*/ 2383091 h 4492350"/>
                <a:gd name="connsiteX20-4797" fmla="*/ 3694535 w 3694535"/>
                <a:gd name="connsiteY20-4798" fmla="*/ 1124252 h 4492350"/>
                <a:gd name="connsiteX21-4799" fmla="*/ 2222205 w 3694535"/>
                <a:gd name="connsiteY21-4800" fmla="*/ 3370521 h 4492350"/>
                <a:gd name="connsiteX22-4801" fmla="*/ 2169042 w 3694535"/>
                <a:gd name="connsiteY22-4802" fmla="*/ 3817088 h 4492350"/>
                <a:gd name="connsiteX23-4803" fmla="*/ 3317358 w 3694535"/>
                <a:gd name="connsiteY23-4804" fmla="*/ 3094074 h 4492350"/>
                <a:gd name="connsiteX24-4805" fmla="*/ 2194317 w 3694535"/>
                <a:gd name="connsiteY24-4806" fmla="*/ 4030951 h 4492350"/>
                <a:gd name="connsiteX25-4807" fmla="*/ 2232838 w 3694535"/>
                <a:gd name="connsiteY25-4808" fmla="*/ 4476307 h 4492350"/>
                <a:gd name="connsiteX26-4809" fmla="*/ 2218194 w 3694535"/>
                <a:gd name="connsiteY26-4810" fmla="*/ 4491415 h 4492350"/>
                <a:gd name="connsiteX27-4811" fmla="*/ 1743740 w 3694535"/>
                <a:gd name="connsiteY27-4812" fmla="*/ 4492350 h 4492350"/>
                <a:gd name="connsiteX0-4813" fmla="*/ 1711842 w 3662637"/>
                <a:gd name="connsiteY0-4814" fmla="*/ 4492350 h 4492350"/>
                <a:gd name="connsiteX1-4815" fmla="*/ 1765005 w 3662637"/>
                <a:gd name="connsiteY1-4816" fmla="*/ 3785190 h 4492350"/>
                <a:gd name="connsiteX2-4817" fmla="*/ 1275907 w 3662637"/>
                <a:gd name="connsiteY2-4818" fmla="*/ 3381153 h 4492350"/>
                <a:gd name="connsiteX3-4819" fmla="*/ 0 w 3662637"/>
                <a:gd name="connsiteY3-4820" fmla="*/ 2945218 h 4492350"/>
                <a:gd name="connsiteX4-4821" fmla="*/ 1095154 w 3662637"/>
                <a:gd name="connsiteY4-4822" fmla="*/ 3242930 h 4492350"/>
                <a:gd name="connsiteX5-4823" fmla="*/ 361507 w 3662637"/>
                <a:gd name="connsiteY5-4824" fmla="*/ 2456121 h 4492350"/>
                <a:gd name="connsiteX6-4825" fmla="*/ 1743740 w 3662637"/>
                <a:gd name="connsiteY6-4826" fmla="*/ 3519376 h 4492350"/>
                <a:gd name="connsiteX7-4827" fmla="*/ 1652058 w 3662637"/>
                <a:gd name="connsiteY7-4828" fmla="*/ 2424409 h 4492350"/>
                <a:gd name="connsiteX8-4829" fmla="*/ 8208 w 3662637"/>
                <a:gd name="connsiteY8-4830" fmla="*/ 750901 h 4492350"/>
                <a:gd name="connsiteX9-4831" fmla="*/ 956930 w 3662637"/>
                <a:gd name="connsiteY9-4832" fmla="*/ 1924493 h 4492350"/>
                <a:gd name="connsiteX10-4833" fmla="*/ 1061670 w 3662637"/>
                <a:gd name="connsiteY10-4834" fmla="*/ 857226 h 4492350"/>
                <a:gd name="connsiteX11-4835" fmla="*/ 1162773 w 3662637"/>
                <a:gd name="connsiteY11-4836" fmla="*/ 2026621 h 4492350"/>
                <a:gd name="connsiteX12-4837" fmla="*/ 1682742 w 3662637"/>
                <a:gd name="connsiteY12-4838" fmla="*/ 2194318 h 4492350"/>
                <a:gd name="connsiteX13-4839" fmla="*/ 1924493 w 3662637"/>
                <a:gd name="connsiteY13-4840" fmla="*/ 0 h 4492350"/>
                <a:gd name="connsiteX14-4841" fmla="*/ 1995936 w 3662637"/>
                <a:gd name="connsiteY14-4842" fmla="*/ 986216 h 4492350"/>
                <a:gd name="connsiteX15-4843" fmla="*/ 1850065 w 3662637"/>
                <a:gd name="connsiteY15-4844" fmla="*/ 2060385 h 4492350"/>
                <a:gd name="connsiteX16-4845" fmla="*/ 2025596 w 3662637"/>
                <a:gd name="connsiteY16-4846" fmla="*/ 3046321 h 4492350"/>
                <a:gd name="connsiteX17-4847" fmla="*/ 2615609 w 3662637"/>
                <a:gd name="connsiteY17-4848" fmla="*/ 2519916 h 4492350"/>
                <a:gd name="connsiteX18-4849" fmla="*/ 2881796 w 3662637"/>
                <a:gd name="connsiteY18-4850" fmla="*/ 1291762 h 4492350"/>
                <a:gd name="connsiteX19-4851" fmla="*/ 2774911 w 3662637"/>
                <a:gd name="connsiteY19-4852" fmla="*/ 2383091 h 4492350"/>
                <a:gd name="connsiteX20-4853" fmla="*/ 3662637 w 3662637"/>
                <a:gd name="connsiteY20-4854" fmla="*/ 1124252 h 4492350"/>
                <a:gd name="connsiteX21-4855" fmla="*/ 2190307 w 3662637"/>
                <a:gd name="connsiteY21-4856" fmla="*/ 3370521 h 4492350"/>
                <a:gd name="connsiteX22-4857" fmla="*/ 2137144 w 3662637"/>
                <a:gd name="connsiteY22-4858" fmla="*/ 3817088 h 4492350"/>
                <a:gd name="connsiteX23-4859" fmla="*/ 3285460 w 3662637"/>
                <a:gd name="connsiteY23-4860" fmla="*/ 3094074 h 4492350"/>
                <a:gd name="connsiteX24-4861" fmla="*/ 2162419 w 3662637"/>
                <a:gd name="connsiteY24-4862" fmla="*/ 4030951 h 4492350"/>
                <a:gd name="connsiteX25-4863" fmla="*/ 2200940 w 3662637"/>
                <a:gd name="connsiteY25-4864" fmla="*/ 4476307 h 4492350"/>
                <a:gd name="connsiteX26-4865" fmla="*/ 2186296 w 3662637"/>
                <a:gd name="connsiteY26-4866" fmla="*/ 4491415 h 4492350"/>
                <a:gd name="connsiteX27-4867" fmla="*/ 1711842 w 3662637"/>
                <a:gd name="connsiteY27-4868" fmla="*/ 4492350 h 4492350"/>
                <a:gd name="connsiteX0-4869" fmla="*/ 1711842 w 3662637"/>
                <a:gd name="connsiteY0-4870" fmla="*/ 4492350 h 4492350"/>
                <a:gd name="connsiteX1-4871" fmla="*/ 1765005 w 3662637"/>
                <a:gd name="connsiteY1-4872" fmla="*/ 3785190 h 4492350"/>
                <a:gd name="connsiteX2-4873" fmla="*/ 1275907 w 3662637"/>
                <a:gd name="connsiteY2-4874" fmla="*/ 3381153 h 4492350"/>
                <a:gd name="connsiteX3-4875" fmla="*/ 0 w 3662637"/>
                <a:gd name="connsiteY3-4876" fmla="*/ 2945218 h 4492350"/>
                <a:gd name="connsiteX4-4877" fmla="*/ 1095154 w 3662637"/>
                <a:gd name="connsiteY4-4878" fmla="*/ 3242930 h 4492350"/>
                <a:gd name="connsiteX5-4879" fmla="*/ 361507 w 3662637"/>
                <a:gd name="connsiteY5-4880" fmla="*/ 2456121 h 4492350"/>
                <a:gd name="connsiteX6-4881" fmla="*/ 1743740 w 3662637"/>
                <a:gd name="connsiteY6-4882" fmla="*/ 3519376 h 4492350"/>
                <a:gd name="connsiteX7-4883" fmla="*/ 1652058 w 3662637"/>
                <a:gd name="connsiteY7-4884" fmla="*/ 2424409 h 4492350"/>
                <a:gd name="connsiteX8-4885" fmla="*/ 8208 w 3662637"/>
                <a:gd name="connsiteY8-4886" fmla="*/ 750901 h 4492350"/>
                <a:gd name="connsiteX9-4887" fmla="*/ 956930 w 3662637"/>
                <a:gd name="connsiteY9-4888" fmla="*/ 1924493 h 4492350"/>
                <a:gd name="connsiteX10-4889" fmla="*/ 1061670 w 3662637"/>
                <a:gd name="connsiteY10-4890" fmla="*/ 857226 h 4492350"/>
                <a:gd name="connsiteX11-4891" fmla="*/ 1162773 w 3662637"/>
                <a:gd name="connsiteY11-4892" fmla="*/ 2026621 h 4492350"/>
                <a:gd name="connsiteX12-4893" fmla="*/ 1682742 w 3662637"/>
                <a:gd name="connsiteY12-4894" fmla="*/ 2194318 h 4492350"/>
                <a:gd name="connsiteX13-4895" fmla="*/ 1924493 w 3662637"/>
                <a:gd name="connsiteY13-4896" fmla="*/ 0 h 4492350"/>
                <a:gd name="connsiteX14-4897" fmla="*/ 1995936 w 3662637"/>
                <a:gd name="connsiteY14-4898" fmla="*/ 986216 h 4492350"/>
                <a:gd name="connsiteX15-4899" fmla="*/ 1850065 w 3662637"/>
                <a:gd name="connsiteY15-4900" fmla="*/ 2060385 h 4492350"/>
                <a:gd name="connsiteX16-4901" fmla="*/ 2025596 w 3662637"/>
                <a:gd name="connsiteY16-4902" fmla="*/ 3046321 h 4492350"/>
                <a:gd name="connsiteX17-4903" fmla="*/ 2615609 w 3662637"/>
                <a:gd name="connsiteY17-4904" fmla="*/ 2519916 h 4492350"/>
                <a:gd name="connsiteX18-4905" fmla="*/ 2881796 w 3662637"/>
                <a:gd name="connsiteY18-4906" fmla="*/ 1291762 h 4492350"/>
                <a:gd name="connsiteX19-4907" fmla="*/ 2774911 w 3662637"/>
                <a:gd name="connsiteY19-4908" fmla="*/ 2383091 h 4492350"/>
                <a:gd name="connsiteX20-4909" fmla="*/ 3662637 w 3662637"/>
                <a:gd name="connsiteY20-4910" fmla="*/ 1124252 h 4492350"/>
                <a:gd name="connsiteX21-4911" fmla="*/ 2190307 w 3662637"/>
                <a:gd name="connsiteY21-4912" fmla="*/ 3370521 h 4492350"/>
                <a:gd name="connsiteX22-4913" fmla="*/ 2137144 w 3662637"/>
                <a:gd name="connsiteY22-4914" fmla="*/ 3817088 h 4492350"/>
                <a:gd name="connsiteX23-4915" fmla="*/ 3285460 w 3662637"/>
                <a:gd name="connsiteY23-4916" fmla="*/ 3094074 h 4492350"/>
                <a:gd name="connsiteX24-4917" fmla="*/ 2162419 w 3662637"/>
                <a:gd name="connsiteY24-4918" fmla="*/ 4030951 h 4492350"/>
                <a:gd name="connsiteX25-4919" fmla="*/ 2200940 w 3662637"/>
                <a:gd name="connsiteY25-4920" fmla="*/ 4476307 h 4492350"/>
                <a:gd name="connsiteX26-4921" fmla="*/ 2186296 w 3662637"/>
                <a:gd name="connsiteY26-4922" fmla="*/ 4491415 h 4492350"/>
                <a:gd name="connsiteX27-4923" fmla="*/ 1711842 w 3662637"/>
                <a:gd name="connsiteY27-4924" fmla="*/ 4492350 h 4492350"/>
                <a:gd name="connsiteX0-4925" fmla="*/ 1711842 w 3662637"/>
                <a:gd name="connsiteY0-4926" fmla="*/ 4492350 h 4492350"/>
                <a:gd name="connsiteX1-4927" fmla="*/ 1765005 w 3662637"/>
                <a:gd name="connsiteY1-4928" fmla="*/ 3785190 h 4492350"/>
                <a:gd name="connsiteX2-4929" fmla="*/ 1275907 w 3662637"/>
                <a:gd name="connsiteY2-4930" fmla="*/ 3381153 h 4492350"/>
                <a:gd name="connsiteX3-4931" fmla="*/ 0 w 3662637"/>
                <a:gd name="connsiteY3-4932" fmla="*/ 2945218 h 4492350"/>
                <a:gd name="connsiteX4-4933" fmla="*/ 1095154 w 3662637"/>
                <a:gd name="connsiteY4-4934" fmla="*/ 3242930 h 4492350"/>
                <a:gd name="connsiteX5-4935" fmla="*/ 361507 w 3662637"/>
                <a:gd name="connsiteY5-4936" fmla="*/ 2456121 h 4492350"/>
                <a:gd name="connsiteX6-4937" fmla="*/ 1743740 w 3662637"/>
                <a:gd name="connsiteY6-4938" fmla="*/ 3519376 h 4492350"/>
                <a:gd name="connsiteX7-4939" fmla="*/ 1652058 w 3662637"/>
                <a:gd name="connsiteY7-4940" fmla="*/ 2424409 h 4492350"/>
                <a:gd name="connsiteX8-4941" fmla="*/ 8208 w 3662637"/>
                <a:gd name="connsiteY8-4942" fmla="*/ 750901 h 4492350"/>
                <a:gd name="connsiteX9-4943" fmla="*/ 956930 w 3662637"/>
                <a:gd name="connsiteY9-4944" fmla="*/ 1924493 h 4492350"/>
                <a:gd name="connsiteX10-4945" fmla="*/ 1061670 w 3662637"/>
                <a:gd name="connsiteY10-4946" fmla="*/ 857226 h 4492350"/>
                <a:gd name="connsiteX11-4947" fmla="*/ 1162773 w 3662637"/>
                <a:gd name="connsiteY11-4948" fmla="*/ 2026621 h 4492350"/>
                <a:gd name="connsiteX12-4949" fmla="*/ 1682742 w 3662637"/>
                <a:gd name="connsiteY12-4950" fmla="*/ 2194318 h 4492350"/>
                <a:gd name="connsiteX13-4951" fmla="*/ 1924493 w 3662637"/>
                <a:gd name="connsiteY13-4952" fmla="*/ 0 h 4492350"/>
                <a:gd name="connsiteX14-4953" fmla="*/ 1995936 w 3662637"/>
                <a:gd name="connsiteY14-4954" fmla="*/ 986216 h 4492350"/>
                <a:gd name="connsiteX15-4955" fmla="*/ 1850065 w 3662637"/>
                <a:gd name="connsiteY15-4956" fmla="*/ 2060385 h 4492350"/>
                <a:gd name="connsiteX16-4957" fmla="*/ 2025596 w 3662637"/>
                <a:gd name="connsiteY16-4958" fmla="*/ 3046321 h 4492350"/>
                <a:gd name="connsiteX17-4959" fmla="*/ 2615609 w 3662637"/>
                <a:gd name="connsiteY17-4960" fmla="*/ 2519916 h 4492350"/>
                <a:gd name="connsiteX18-4961" fmla="*/ 2881796 w 3662637"/>
                <a:gd name="connsiteY18-4962" fmla="*/ 1291762 h 4492350"/>
                <a:gd name="connsiteX19-4963" fmla="*/ 2774911 w 3662637"/>
                <a:gd name="connsiteY19-4964" fmla="*/ 2383091 h 4492350"/>
                <a:gd name="connsiteX20-4965" fmla="*/ 3662637 w 3662637"/>
                <a:gd name="connsiteY20-4966" fmla="*/ 1124252 h 4492350"/>
                <a:gd name="connsiteX21-4967" fmla="*/ 2190307 w 3662637"/>
                <a:gd name="connsiteY21-4968" fmla="*/ 3370521 h 4492350"/>
                <a:gd name="connsiteX22-4969" fmla="*/ 2137144 w 3662637"/>
                <a:gd name="connsiteY22-4970" fmla="*/ 3817088 h 4492350"/>
                <a:gd name="connsiteX23-4971" fmla="*/ 3285460 w 3662637"/>
                <a:gd name="connsiteY23-4972" fmla="*/ 3094074 h 4492350"/>
                <a:gd name="connsiteX24-4973" fmla="*/ 2162419 w 3662637"/>
                <a:gd name="connsiteY24-4974" fmla="*/ 4030951 h 4492350"/>
                <a:gd name="connsiteX25-4975" fmla="*/ 2200940 w 3662637"/>
                <a:gd name="connsiteY25-4976" fmla="*/ 4476307 h 4492350"/>
                <a:gd name="connsiteX26-4977" fmla="*/ 2186296 w 3662637"/>
                <a:gd name="connsiteY26-4978" fmla="*/ 4491415 h 4492350"/>
                <a:gd name="connsiteX27-4979" fmla="*/ 1711842 w 3662637"/>
                <a:gd name="connsiteY27-4980" fmla="*/ 4492350 h 4492350"/>
                <a:gd name="connsiteX0-4981" fmla="*/ 1711842 w 3662637"/>
                <a:gd name="connsiteY0-4982" fmla="*/ 4492350 h 4492350"/>
                <a:gd name="connsiteX1-4983" fmla="*/ 1765005 w 3662637"/>
                <a:gd name="connsiteY1-4984" fmla="*/ 3785190 h 4492350"/>
                <a:gd name="connsiteX2-4985" fmla="*/ 1275907 w 3662637"/>
                <a:gd name="connsiteY2-4986" fmla="*/ 3381153 h 4492350"/>
                <a:gd name="connsiteX3-4987" fmla="*/ 0 w 3662637"/>
                <a:gd name="connsiteY3-4988" fmla="*/ 2945218 h 4492350"/>
                <a:gd name="connsiteX4-4989" fmla="*/ 1095154 w 3662637"/>
                <a:gd name="connsiteY4-4990" fmla="*/ 3242930 h 4492350"/>
                <a:gd name="connsiteX5-4991" fmla="*/ 361507 w 3662637"/>
                <a:gd name="connsiteY5-4992" fmla="*/ 2456121 h 4492350"/>
                <a:gd name="connsiteX6-4993" fmla="*/ 1743740 w 3662637"/>
                <a:gd name="connsiteY6-4994" fmla="*/ 3519376 h 4492350"/>
                <a:gd name="connsiteX7-4995" fmla="*/ 1652058 w 3662637"/>
                <a:gd name="connsiteY7-4996" fmla="*/ 2424409 h 4492350"/>
                <a:gd name="connsiteX8-4997" fmla="*/ 8208 w 3662637"/>
                <a:gd name="connsiteY8-4998" fmla="*/ 750901 h 4492350"/>
                <a:gd name="connsiteX9-4999" fmla="*/ 956930 w 3662637"/>
                <a:gd name="connsiteY9-5000" fmla="*/ 1924493 h 4492350"/>
                <a:gd name="connsiteX10-5001" fmla="*/ 1061670 w 3662637"/>
                <a:gd name="connsiteY10-5002" fmla="*/ 857226 h 4492350"/>
                <a:gd name="connsiteX11-5003" fmla="*/ 1162773 w 3662637"/>
                <a:gd name="connsiteY11-5004" fmla="*/ 2026621 h 4492350"/>
                <a:gd name="connsiteX12-5005" fmla="*/ 1682742 w 3662637"/>
                <a:gd name="connsiteY12-5006" fmla="*/ 2194318 h 4492350"/>
                <a:gd name="connsiteX13-5007" fmla="*/ 1924493 w 3662637"/>
                <a:gd name="connsiteY13-5008" fmla="*/ 0 h 4492350"/>
                <a:gd name="connsiteX14-5009" fmla="*/ 1995936 w 3662637"/>
                <a:gd name="connsiteY14-5010" fmla="*/ 986216 h 4492350"/>
                <a:gd name="connsiteX15-5011" fmla="*/ 1850065 w 3662637"/>
                <a:gd name="connsiteY15-5012" fmla="*/ 2060385 h 4492350"/>
                <a:gd name="connsiteX16-5013" fmla="*/ 2025596 w 3662637"/>
                <a:gd name="connsiteY16-5014" fmla="*/ 3046321 h 4492350"/>
                <a:gd name="connsiteX17-5015" fmla="*/ 2615609 w 3662637"/>
                <a:gd name="connsiteY17-5016" fmla="*/ 2519916 h 4492350"/>
                <a:gd name="connsiteX18-5017" fmla="*/ 2881796 w 3662637"/>
                <a:gd name="connsiteY18-5018" fmla="*/ 1291762 h 4492350"/>
                <a:gd name="connsiteX19-5019" fmla="*/ 2774911 w 3662637"/>
                <a:gd name="connsiteY19-5020" fmla="*/ 2383091 h 4492350"/>
                <a:gd name="connsiteX20-5021" fmla="*/ 3662637 w 3662637"/>
                <a:gd name="connsiteY20-5022" fmla="*/ 1124252 h 4492350"/>
                <a:gd name="connsiteX21-5023" fmla="*/ 2190307 w 3662637"/>
                <a:gd name="connsiteY21-5024" fmla="*/ 3370521 h 4492350"/>
                <a:gd name="connsiteX22-5025" fmla="*/ 2137144 w 3662637"/>
                <a:gd name="connsiteY22-5026" fmla="*/ 3817088 h 4492350"/>
                <a:gd name="connsiteX23-5027" fmla="*/ 3285460 w 3662637"/>
                <a:gd name="connsiteY23-5028" fmla="*/ 3094074 h 4492350"/>
                <a:gd name="connsiteX24-5029" fmla="*/ 2162419 w 3662637"/>
                <a:gd name="connsiteY24-5030" fmla="*/ 4030951 h 4492350"/>
                <a:gd name="connsiteX25-5031" fmla="*/ 2200940 w 3662637"/>
                <a:gd name="connsiteY25-5032" fmla="*/ 4476307 h 4492350"/>
                <a:gd name="connsiteX26-5033" fmla="*/ 2186296 w 3662637"/>
                <a:gd name="connsiteY26-5034" fmla="*/ 4491415 h 4492350"/>
                <a:gd name="connsiteX27-5035" fmla="*/ 1711842 w 3662637"/>
                <a:gd name="connsiteY27-5036" fmla="*/ 4492350 h 4492350"/>
                <a:gd name="connsiteX0-5037" fmla="*/ 1711842 w 3662637"/>
                <a:gd name="connsiteY0-5038" fmla="*/ 4492350 h 4492350"/>
                <a:gd name="connsiteX1-5039" fmla="*/ 1765005 w 3662637"/>
                <a:gd name="connsiteY1-5040" fmla="*/ 3785190 h 4492350"/>
                <a:gd name="connsiteX2-5041" fmla="*/ 1275907 w 3662637"/>
                <a:gd name="connsiteY2-5042" fmla="*/ 3381153 h 4492350"/>
                <a:gd name="connsiteX3-5043" fmla="*/ 0 w 3662637"/>
                <a:gd name="connsiteY3-5044" fmla="*/ 2945218 h 4492350"/>
                <a:gd name="connsiteX4-5045" fmla="*/ 1095154 w 3662637"/>
                <a:gd name="connsiteY4-5046" fmla="*/ 3242930 h 4492350"/>
                <a:gd name="connsiteX5-5047" fmla="*/ 361507 w 3662637"/>
                <a:gd name="connsiteY5-5048" fmla="*/ 2456121 h 4492350"/>
                <a:gd name="connsiteX6-5049" fmla="*/ 1743740 w 3662637"/>
                <a:gd name="connsiteY6-5050" fmla="*/ 3519376 h 4492350"/>
                <a:gd name="connsiteX7-5051" fmla="*/ 1652058 w 3662637"/>
                <a:gd name="connsiteY7-5052" fmla="*/ 2400346 h 4492350"/>
                <a:gd name="connsiteX8-5053" fmla="*/ 8208 w 3662637"/>
                <a:gd name="connsiteY8-5054" fmla="*/ 750901 h 4492350"/>
                <a:gd name="connsiteX9-5055" fmla="*/ 956930 w 3662637"/>
                <a:gd name="connsiteY9-5056" fmla="*/ 1924493 h 4492350"/>
                <a:gd name="connsiteX10-5057" fmla="*/ 1061670 w 3662637"/>
                <a:gd name="connsiteY10-5058" fmla="*/ 857226 h 4492350"/>
                <a:gd name="connsiteX11-5059" fmla="*/ 1162773 w 3662637"/>
                <a:gd name="connsiteY11-5060" fmla="*/ 2026621 h 4492350"/>
                <a:gd name="connsiteX12-5061" fmla="*/ 1682742 w 3662637"/>
                <a:gd name="connsiteY12-5062" fmla="*/ 2194318 h 4492350"/>
                <a:gd name="connsiteX13-5063" fmla="*/ 1924493 w 3662637"/>
                <a:gd name="connsiteY13-5064" fmla="*/ 0 h 4492350"/>
                <a:gd name="connsiteX14-5065" fmla="*/ 1995936 w 3662637"/>
                <a:gd name="connsiteY14-5066" fmla="*/ 986216 h 4492350"/>
                <a:gd name="connsiteX15-5067" fmla="*/ 1850065 w 3662637"/>
                <a:gd name="connsiteY15-5068" fmla="*/ 2060385 h 4492350"/>
                <a:gd name="connsiteX16-5069" fmla="*/ 2025596 w 3662637"/>
                <a:gd name="connsiteY16-5070" fmla="*/ 3046321 h 4492350"/>
                <a:gd name="connsiteX17-5071" fmla="*/ 2615609 w 3662637"/>
                <a:gd name="connsiteY17-5072" fmla="*/ 2519916 h 4492350"/>
                <a:gd name="connsiteX18-5073" fmla="*/ 2881796 w 3662637"/>
                <a:gd name="connsiteY18-5074" fmla="*/ 1291762 h 4492350"/>
                <a:gd name="connsiteX19-5075" fmla="*/ 2774911 w 3662637"/>
                <a:gd name="connsiteY19-5076" fmla="*/ 2383091 h 4492350"/>
                <a:gd name="connsiteX20-5077" fmla="*/ 3662637 w 3662637"/>
                <a:gd name="connsiteY20-5078" fmla="*/ 1124252 h 4492350"/>
                <a:gd name="connsiteX21-5079" fmla="*/ 2190307 w 3662637"/>
                <a:gd name="connsiteY21-5080" fmla="*/ 3370521 h 4492350"/>
                <a:gd name="connsiteX22-5081" fmla="*/ 2137144 w 3662637"/>
                <a:gd name="connsiteY22-5082" fmla="*/ 3817088 h 4492350"/>
                <a:gd name="connsiteX23-5083" fmla="*/ 3285460 w 3662637"/>
                <a:gd name="connsiteY23-5084" fmla="*/ 3094074 h 4492350"/>
                <a:gd name="connsiteX24-5085" fmla="*/ 2162419 w 3662637"/>
                <a:gd name="connsiteY24-5086" fmla="*/ 4030951 h 4492350"/>
                <a:gd name="connsiteX25-5087" fmla="*/ 2200940 w 3662637"/>
                <a:gd name="connsiteY25-5088" fmla="*/ 4476307 h 4492350"/>
                <a:gd name="connsiteX26-5089" fmla="*/ 2186296 w 3662637"/>
                <a:gd name="connsiteY26-5090" fmla="*/ 4491415 h 4492350"/>
                <a:gd name="connsiteX27-5091" fmla="*/ 1711842 w 3662637"/>
                <a:gd name="connsiteY27-5092" fmla="*/ 4492350 h 4492350"/>
                <a:gd name="connsiteX0-5093" fmla="*/ 1711842 w 3662637"/>
                <a:gd name="connsiteY0-5094" fmla="*/ 4492350 h 4492350"/>
                <a:gd name="connsiteX1-5095" fmla="*/ 1765005 w 3662637"/>
                <a:gd name="connsiteY1-5096" fmla="*/ 3785190 h 4492350"/>
                <a:gd name="connsiteX2-5097" fmla="*/ 1275907 w 3662637"/>
                <a:gd name="connsiteY2-5098" fmla="*/ 3381153 h 4492350"/>
                <a:gd name="connsiteX3-5099" fmla="*/ 0 w 3662637"/>
                <a:gd name="connsiteY3-5100" fmla="*/ 2945218 h 4492350"/>
                <a:gd name="connsiteX4-5101" fmla="*/ 1095154 w 3662637"/>
                <a:gd name="connsiteY4-5102" fmla="*/ 3242930 h 4492350"/>
                <a:gd name="connsiteX5-5103" fmla="*/ 361507 w 3662637"/>
                <a:gd name="connsiteY5-5104" fmla="*/ 2456121 h 4492350"/>
                <a:gd name="connsiteX6-5105" fmla="*/ 1743740 w 3662637"/>
                <a:gd name="connsiteY6-5106" fmla="*/ 3519376 h 4492350"/>
                <a:gd name="connsiteX7-5107" fmla="*/ 1652058 w 3662637"/>
                <a:gd name="connsiteY7-5108" fmla="*/ 2400346 h 4492350"/>
                <a:gd name="connsiteX8-5109" fmla="*/ 8208 w 3662637"/>
                <a:gd name="connsiteY8-5110" fmla="*/ 750901 h 4492350"/>
                <a:gd name="connsiteX9-5111" fmla="*/ 956930 w 3662637"/>
                <a:gd name="connsiteY9-5112" fmla="*/ 1924493 h 4492350"/>
                <a:gd name="connsiteX10-5113" fmla="*/ 1061670 w 3662637"/>
                <a:gd name="connsiteY10-5114" fmla="*/ 857226 h 4492350"/>
                <a:gd name="connsiteX11-5115" fmla="*/ 1162773 w 3662637"/>
                <a:gd name="connsiteY11-5116" fmla="*/ 2026621 h 4492350"/>
                <a:gd name="connsiteX12-5117" fmla="*/ 1682742 w 3662637"/>
                <a:gd name="connsiteY12-5118" fmla="*/ 2194318 h 4492350"/>
                <a:gd name="connsiteX13-5119" fmla="*/ 1924493 w 3662637"/>
                <a:gd name="connsiteY13-5120" fmla="*/ 0 h 4492350"/>
                <a:gd name="connsiteX14-5121" fmla="*/ 1995936 w 3662637"/>
                <a:gd name="connsiteY14-5122" fmla="*/ 986216 h 4492350"/>
                <a:gd name="connsiteX15-5123" fmla="*/ 1850065 w 3662637"/>
                <a:gd name="connsiteY15-5124" fmla="*/ 2060385 h 4492350"/>
                <a:gd name="connsiteX16-5125" fmla="*/ 2025596 w 3662637"/>
                <a:gd name="connsiteY16-5126" fmla="*/ 3046321 h 4492350"/>
                <a:gd name="connsiteX17-5127" fmla="*/ 2615609 w 3662637"/>
                <a:gd name="connsiteY17-5128" fmla="*/ 2519916 h 4492350"/>
                <a:gd name="connsiteX18-5129" fmla="*/ 2881796 w 3662637"/>
                <a:gd name="connsiteY18-5130" fmla="*/ 1291762 h 4492350"/>
                <a:gd name="connsiteX19-5131" fmla="*/ 2774911 w 3662637"/>
                <a:gd name="connsiteY19-5132" fmla="*/ 2383091 h 4492350"/>
                <a:gd name="connsiteX20-5133" fmla="*/ 3662637 w 3662637"/>
                <a:gd name="connsiteY20-5134" fmla="*/ 1124252 h 4492350"/>
                <a:gd name="connsiteX21-5135" fmla="*/ 2190307 w 3662637"/>
                <a:gd name="connsiteY21-5136" fmla="*/ 3370521 h 4492350"/>
                <a:gd name="connsiteX22-5137" fmla="*/ 2137144 w 3662637"/>
                <a:gd name="connsiteY22-5138" fmla="*/ 3817088 h 4492350"/>
                <a:gd name="connsiteX23-5139" fmla="*/ 3285460 w 3662637"/>
                <a:gd name="connsiteY23-5140" fmla="*/ 3094074 h 4492350"/>
                <a:gd name="connsiteX24-5141" fmla="*/ 2162419 w 3662637"/>
                <a:gd name="connsiteY24-5142" fmla="*/ 4030951 h 4492350"/>
                <a:gd name="connsiteX25-5143" fmla="*/ 2200940 w 3662637"/>
                <a:gd name="connsiteY25-5144" fmla="*/ 4476307 h 4492350"/>
                <a:gd name="connsiteX26-5145" fmla="*/ 2186296 w 3662637"/>
                <a:gd name="connsiteY26-5146" fmla="*/ 4491415 h 4492350"/>
                <a:gd name="connsiteX27-5147" fmla="*/ 1711842 w 3662637"/>
                <a:gd name="connsiteY27-5148" fmla="*/ 4492350 h 4492350"/>
                <a:gd name="connsiteX0-5149" fmla="*/ 1711842 w 3662637"/>
                <a:gd name="connsiteY0-5150" fmla="*/ 4492350 h 4492350"/>
                <a:gd name="connsiteX1-5151" fmla="*/ 1765005 w 3662637"/>
                <a:gd name="connsiteY1-5152" fmla="*/ 3785190 h 4492350"/>
                <a:gd name="connsiteX2-5153" fmla="*/ 1275907 w 3662637"/>
                <a:gd name="connsiteY2-5154" fmla="*/ 3381153 h 4492350"/>
                <a:gd name="connsiteX3-5155" fmla="*/ 0 w 3662637"/>
                <a:gd name="connsiteY3-5156" fmla="*/ 2945218 h 4492350"/>
                <a:gd name="connsiteX4-5157" fmla="*/ 1095154 w 3662637"/>
                <a:gd name="connsiteY4-5158" fmla="*/ 3242930 h 4492350"/>
                <a:gd name="connsiteX5-5159" fmla="*/ 361507 w 3662637"/>
                <a:gd name="connsiteY5-5160" fmla="*/ 2456121 h 4492350"/>
                <a:gd name="connsiteX6-5161" fmla="*/ 1743740 w 3662637"/>
                <a:gd name="connsiteY6-5162" fmla="*/ 3519376 h 4492350"/>
                <a:gd name="connsiteX7-5163" fmla="*/ 1652058 w 3662637"/>
                <a:gd name="connsiteY7-5164" fmla="*/ 2400346 h 4492350"/>
                <a:gd name="connsiteX8-5165" fmla="*/ 8208 w 3662637"/>
                <a:gd name="connsiteY8-5166" fmla="*/ 750901 h 4492350"/>
                <a:gd name="connsiteX9-5167" fmla="*/ 956930 w 3662637"/>
                <a:gd name="connsiteY9-5168" fmla="*/ 1924493 h 4492350"/>
                <a:gd name="connsiteX10-5169" fmla="*/ 1061670 w 3662637"/>
                <a:gd name="connsiteY10-5170" fmla="*/ 857226 h 4492350"/>
                <a:gd name="connsiteX11-5171" fmla="*/ 1162773 w 3662637"/>
                <a:gd name="connsiteY11-5172" fmla="*/ 2026621 h 4492350"/>
                <a:gd name="connsiteX12-5173" fmla="*/ 1682742 w 3662637"/>
                <a:gd name="connsiteY12-5174" fmla="*/ 2194318 h 4492350"/>
                <a:gd name="connsiteX13-5175" fmla="*/ 1924493 w 3662637"/>
                <a:gd name="connsiteY13-5176" fmla="*/ 0 h 4492350"/>
                <a:gd name="connsiteX14-5177" fmla="*/ 1995936 w 3662637"/>
                <a:gd name="connsiteY14-5178" fmla="*/ 986216 h 4492350"/>
                <a:gd name="connsiteX15-5179" fmla="*/ 1850065 w 3662637"/>
                <a:gd name="connsiteY15-5180" fmla="*/ 2060385 h 4492350"/>
                <a:gd name="connsiteX16-5181" fmla="*/ 2025596 w 3662637"/>
                <a:gd name="connsiteY16-5182" fmla="*/ 3046321 h 4492350"/>
                <a:gd name="connsiteX17-5183" fmla="*/ 2615609 w 3662637"/>
                <a:gd name="connsiteY17-5184" fmla="*/ 2519916 h 4492350"/>
                <a:gd name="connsiteX18-5185" fmla="*/ 2881796 w 3662637"/>
                <a:gd name="connsiteY18-5186" fmla="*/ 1291762 h 4492350"/>
                <a:gd name="connsiteX19-5187" fmla="*/ 2774911 w 3662637"/>
                <a:gd name="connsiteY19-5188" fmla="*/ 2383091 h 4492350"/>
                <a:gd name="connsiteX20-5189" fmla="*/ 3662637 w 3662637"/>
                <a:gd name="connsiteY20-5190" fmla="*/ 1124252 h 4492350"/>
                <a:gd name="connsiteX21-5191" fmla="*/ 2190307 w 3662637"/>
                <a:gd name="connsiteY21-5192" fmla="*/ 3370521 h 4492350"/>
                <a:gd name="connsiteX22-5193" fmla="*/ 2137144 w 3662637"/>
                <a:gd name="connsiteY22-5194" fmla="*/ 3817088 h 4492350"/>
                <a:gd name="connsiteX23-5195" fmla="*/ 3285460 w 3662637"/>
                <a:gd name="connsiteY23-5196" fmla="*/ 3094074 h 4492350"/>
                <a:gd name="connsiteX24-5197" fmla="*/ 2162419 w 3662637"/>
                <a:gd name="connsiteY24-5198" fmla="*/ 4030951 h 4492350"/>
                <a:gd name="connsiteX25-5199" fmla="*/ 2200940 w 3662637"/>
                <a:gd name="connsiteY25-5200" fmla="*/ 4476307 h 4492350"/>
                <a:gd name="connsiteX26-5201" fmla="*/ 2186296 w 3662637"/>
                <a:gd name="connsiteY26-5202" fmla="*/ 4491415 h 4492350"/>
                <a:gd name="connsiteX27-5203" fmla="*/ 1711842 w 3662637"/>
                <a:gd name="connsiteY27-5204" fmla="*/ 4492350 h 4492350"/>
                <a:gd name="connsiteX0-5205" fmla="*/ 1711842 w 3662637"/>
                <a:gd name="connsiteY0-5206" fmla="*/ 4492350 h 4492350"/>
                <a:gd name="connsiteX1-5207" fmla="*/ 1765005 w 3662637"/>
                <a:gd name="connsiteY1-5208" fmla="*/ 3785190 h 4492350"/>
                <a:gd name="connsiteX2-5209" fmla="*/ 1275907 w 3662637"/>
                <a:gd name="connsiteY2-5210" fmla="*/ 3381153 h 4492350"/>
                <a:gd name="connsiteX3-5211" fmla="*/ 0 w 3662637"/>
                <a:gd name="connsiteY3-5212" fmla="*/ 2945218 h 4492350"/>
                <a:gd name="connsiteX4-5213" fmla="*/ 1095154 w 3662637"/>
                <a:gd name="connsiteY4-5214" fmla="*/ 3242930 h 4492350"/>
                <a:gd name="connsiteX5-5215" fmla="*/ 361507 w 3662637"/>
                <a:gd name="connsiteY5-5216" fmla="*/ 2456121 h 4492350"/>
                <a:gd name="connsiteX6-5217" fmla="*/ 1743740 w 3662637"/>
                <a:gd name="connsiteY6-5218" fmla="*/ 3519376 h 4492350"/>
                <a:gd name="connsiteX7-5219" fmla="*/ 1652058 w 3662637"/>
                <a:gd name="connsiteY7-5220" fmla="*/ 2400346 h 4492350"/>
                <a:gd name="connsiteX8-5221" fmla="*/ 8208 w 3662637"/>
                <a:gd name="connsiteY8-5222" fmla="*/ 750901 h 4492350"/>
                <a:gd name="connsiteX9-5223" fmla="*/ 956930 w 3662637"/>
                <a:gd name="connsiteY9-5224" fmla="*/ 1924493 h 4492350"/>
                <a:gd name="connsiteX10-5225" fmla="*/ 1061670 w 3662637"/>
                <a:gd name="connsiteY10-5226" fmla="*/ 857226 h 4492350"/>
                <a:gd name="connsiteX11-5227" fmla="*/ 1162773 w 3662637"/>
                <a:gd name="connsiteY11-5228" fmla="*/ 2026621 h 4492350"/>
                <a:gd name="connsiteX12-5229" fmla="*/ 1682742 w 3662637"/>
                <a:gd name="connsiteY12-5230" fmla="*/ 2194318 h 4492350"/>
                <a:gd name="connsiteX13-5231" fmla="*/ 1924493 w 3662637"/>
                <a:gd name="connsiteY13-5232" fmla="*/ 0 h 4492350"/>
                <a:gd name="connsiteX14-5233" fmla="*/ 1995936 w 3662637"/>
                <a:gd name="connsiteY14-5234" fmla="*/ 986216 h 4492350"/>
                <a:gd name="connsiteX15-5235" fmla="*/ 1850065 w 3662637"/>
                <a:gd name="connsiteY15-5236" fmla="*/ 2060385 h 4492350"/>
                <a:gd name="connsiteX16-5237" fmla="*/ 2025596 w 3662637"/>
                <a:gd name="connsiteY16-5238" fmla="*/ 3046321 h 4492350"/>
                <a:gd name="connsiteX17-5239" fmla="*/ 2615609 w 3662637"/>
                <a:gd name="connsiteY17-5240" fmla="*/ 2519916 h 4492350"/>
                <a:gd name="connsiteX18-5241" fmla="*/ 2881796 w 3662637"/>
                <a:gd name="connsiteY18-5242" fmla="*/ 1291762 h 4492350"/>
                <a:gd name="connsiteX19-5243" fmla="*/ 2774911 w 3662637"/>
                <a:gd name="connsiteY19-5244" fmla="*/ 2383091 h 4492350"/>
                <a:gd name="connsiteX20-5245" fmla="*/ 3662637 w 3662637"/>
                <a:gd name="connsiteY20-5246" fmla="*/ 1124252 h 4492350"/>
                <a:gd name="connsiteX21-5247" fmla="*/ 2190307 w 3662637"/>
                <a:gd name="connsiteY21-5248" fmla="*/ 3370521 h 4492350"/>
                <a:gd name="connsiteX22-5249" fmla="*/ 2137144 w 3662637"/>
                <a:gd name="connsiteY22-5250" fmla="*/ 3817088 h 4492350"/>
                <a:gd name="connsiteX23-5251" fmla="*/ 3285460 w 3662637"/>
                <a:gd name="connsiteY23-5252" fmla="*/ 3094074 h 4492350"/>
                <a:gd name="connsiteX24-5253" fmla="*/ 2162419 w 3662637"/>
                <a:gd name="connsiteY24-5254" fmla="*/ 4030951 h 4492350"/>
                <a:gd name="connsiteX25-5255" fmla="*/ 2200940 w 3662637"/>
                <a:gd name="connsiteY25-5256" fmla="*/ 4476307 h 4492350"/>
                <a:gd name="connsiteX26-5257" fmla="*/ 2186296 w 3662637"/>
                <a:gd name="connsiteY26-5258" fmla="*/ 4491415 h 4492350"/>
                <a:gd name="connsiteX27-5259" fmla="*/ 1711842 w 3662637"/>
                <a:gd name="connsiteY27-5260" fmla="*/ 4492350 h 4492350"/>
                <a:gd name="connsiteX0-5261" fmla="*/ 1711842 w 3662637"/>
                <a:gd name="connsiteY0-5262" fmla="*/ 4492350 h 4492350"/>
                <a:gd name="connsiteX1-5263" fmla="*/ 1765005 w 3662637"/>
                <a:gd name="connsiteY1-5264" fmla="*/ 3785190 h 4492350"/>
                <a:gd name="connsiteX2-5265" fmla="*/ 1275907 w 3662637"/>
                <a:gd name="connsiteY2-5266" fmla="*/ 3381153 h 4492350"/>
                <a:gd name="connsiteX3-5267" fmla="*/ 0 w 3662637"/>
                <a:gd name="connsiteY3-5268" fmla="*/ 2945218 h 4492350"/>
                <a:gd name="connsiteX4-5269" fmla="*/ 1095154 w 3662637"/>
                <a:gd name="connsiteY4-5270" fmla="*/ 3242930 h 4492350"/>
                <a:gd name="connsiteX5-5271" fmla="*/ 361507 w 3662637"/>
                <a:gd name="connsiteY5-5272" fmla="*/ 2456121 h 4492350"/>
                <a:gd name="connsiteX6-5273" fmla="*/ 1743740 w 3662637"/>
                <a:gd name="connsiteY6-5274" fmla="*/ 3519376 h 4492350"/>
                <a:gd name="connsiteX7-5275" fmla="*/ 1652058 w 3662637"/>
                <a:gd name="connsiteY7-5276" fmla="*/ 2400346 h 4492350"/>
                <a:gd name="connsiteX8-5277" fmla="*/ 28261 w 3662637"/>
                <a:gd name="connsiteY8-5278" fmla="*/ 742880 h 4492350"/>
                <a:gd name="connsiteX9-5279" fmla="*/ 956930 w 3662637"/>
                <a:gd name="connsiteY9-5280" fmla="*/ 1924493 h 4492350"/>
                <a:gd name="connsiteX10-5281" fmla="*/ 1061670 w 3662637"/>
                <a:gd name="connsiteY10-5282" fmla="*/ 857226 h 4492350"/>
                <a:gd name="connsiteX11-5283" fmla="*/ 1162773 w 3662637"/>
                <a:gd name="connsiteY11-5284" fmla="*/ 2026621 h 4492350"/>
                <a:gd name="connsiteX12-5285" fmla="*/ 1682742 w 3662637"/>
                <a:gd name="connsiteY12-5286" fmla="*/ 2194318 h 4492350"/>
                <a:gd name="connsiteX13-5287" fmla="*/ 1924493 w 3662637"/>
                <a:gd name="connsiteY13-5288" fmla="*/ 0 h 4492350"/>
                <a:gd name="connsiteX14-5289" fmla="*/ 1995936 w 3662637"/>
                <a:gd name="connsiteY14-5290" fmla="*/ 986216 h 4492350"/>
                <a:gd name="connsiteX15-5291" fmla="*/ 1850065 w 3662637"/>
                <a:gd name="connsiteY15-5292" fmla="*/ 2060385 h 4492350"/>
                <a:gd name="connsiteX16-5293" fmla="*/ 2025596 w 3662637"/>
                <a:gd name="connsiteY16-5294" fmla="*/ 3046321 h 4492350"/>
                <a:gd name="connsiteX17-5295" fmla="*/ 2615609 w 3662637"/>
                <a:gd name="connsiteY17-5296" fmla="*/ 2519916 h 4492350"/>
                <a:gd name="connsiteX18-5297" fmla="*/ 2881796 w 3662637"/>
                <a:gd name="connsiteY18-5298" fmla="*/ 1291762 h 4492350"/>
                <a:gd name="connsiteX19-5299" fmla="*/ 2774911 w 3662637"/>
                <a:gd name="connsiteY19-5300" fmla="*/ 2383091 h 4492350"/>
                <a:gd name="connsiteX20-5301" fmla="*/ 3662637 w 3662637"/>
                <a:gd name="connsiteY20-5302" fmla="*/ 1124252 h 4492350"/>
                <a:gd name="connsiteX21-5303" fmla="*/ 2190307 w 3662637"/>
                <a:gd name="connsiteY21-5304" fmla="*/ 3370521 h 4492350"/>
                <a:gd name="connsiteX22-5305" fmla="*/ 2137144 w 3662637"/>
                <a:gd name="connsiteY22-5306" fmla="*/ 3817088 h 4492350"/>
                <a:gd name="connsiteX23-5307" fmla="*/ 3285460 w 3662637"/>
                <a:gd name="connsiteY23-5308" fmla="*/ 3094074 h 4492350"/>
                <a:gd name="connsiteX24-5309" fmla="*/ 2162419 w 3662637"/>
                <a:gd name="connsiteY24-5310" fmla="*/ 4030951 h 4492350"/>
                <a:gd name="connsiteX25-5311" fmla="*/ 2200940 w 3662637"/>
                <a:gd name="connsiteY25-5312" fmla="*/ 4476307 h 4492350"/>
                <a:gd name="connsiteX26-5313" fmla="*/ 2186296 w 3662637"/>
                <a:gd name="connsiteY26-5314" fmla="*/ 4491415 h 4492350"/>
                <a:gd name="connsiteX27-5315" fmla="*/ 1711842 w 3662637"/>
                <a:gd name="connsiteY27-5316" fmla="*/ 4492350 h 4492350"/>
                <a:gd name="connsiteX0-5317" fmla="*/ 1711842 w 3662637"/>
                <a:gd name="connsiteY0-5318" fmla="*/ 4492350 h 4492350"/>
                <a:gd name="connsiteX1-5319" fmla="*/ 1765005 w 3662637"/>
                <a:gd name="connsiteY1-5320" fmla="*/ 3785190 h 4492350"/>
                <a:gd name="connsiteX2-5321" fmla="*/ 1275907 w 3662637"/>
                <a:gd name="connsiteY2-5322" fmla="*/ 3381153 h 4492350"/>
                <a:gd name="connsiteX3-5323" fmla="*/ 0 w 3662637"/>
                <a:gd name="connsiteY3-5324" fmla="*/ 2945218 h 4492350"/>
                <a:gd name="connsiteX4-5325" fmla="*/ 1095154 w 3662637"/>
                <a:gd name="connsiteY4-5326" fmla="*/ 3242930 h 4492350"/>
                <a:gd name="connsiteX5-5327" fmla="*/ 361507 w 3662637"/>
                <a:gd name="connsiteY5-5328" fmla="*/ 2456121 h 4492350"/>
                <a:gd name="connsiteX6-5329" fmla="*/ 1743740 w 3662637"/>
                <a:gd name="connsiteY6-5330" fmla="*/ 3519376 h 4492350"/>
                <a:gd name="connsiteX7-5331" fmla="*/ 1652058 w 3662637"/>
                <a:gd name="connsiteY7-5332" fmla="*/ 2400346 h 4492350"/>
                <a:gd name="connsiteX8-5333" fmla="*/ 28261 w 3662637"/>
                <a:gd name="connsiteY8-5334" fmla="*/ 742880 h 4492350"/>
                <a:gd name="connsiteX9-5335" fmla="*/ 956930 w 3662637"/>
                <a:gd name="connsiteY9-5336" fmla="*/ 1924493 h 4492350"/>
                <a:gd name="connsiteX10-5337" fmla="*/ 1061670 w 3662637"/>
                <a:gd name="connsiteY10-5338" fmla="*/ 857226 h 4492350"/>
                <a:gd name="connsiteX11-5339" fmla="*/ 1162773 w 3662637"/>
                <a:gd name="connsiteY11-5340" fmla="*/ 2026621 h 4492350"/>
                <a:gd name="connsiteX12-5341" fmla="*/ 1682742 w 3662637"/>
                <a:gd name="connsiteY12-5342" fmla="*/ 2194318 h 4492350"/>
                <a:gd name="connsiteX13-5343" fmla="*/ 1924493 w 3662637"/>
                <a:gd name="connsiteY13-5344" fmla="*/ 0 h 4492350"/>
                <a:gd name="connsiteX14-5345" fmla="*/ 1995936 w 3662637"/>
                <a:gd name="connsiteY14-5346" fmla="*/ 986216 h 4492350"/>
                <a:gd name="connsiteX15-5347" fmla="*/ 1850065 w 3662637"/>
                <a:gd name="connsiteY15-5348" fmla="*/ 2060385 h 4492350"/>
                <a:gd name="connsiteX16-5349" fmla="*/ 2025596 w 3662637"/>
                <a:gd name="connsiteY16-5350" fmla="*/ 3046321 h 4492350"/>
                <a:gd name="connsiteX17-5351" fmla="*/ 2615609 w 3662637"/>
                <a:gd name="connsiteY17-5352" fmla="*/ 2519916 h 4492350"/>
                <a:gd name="connsiteX18-5353" fmla="*/ 2881796 w 3662637"/>
                <a:gd name="connsiteY18-5354" fmla="*/ 1291762 h 4492350"/>
                <a:gd name="connsiteX19-5355" fmla="*/ 2774911 w 3662637"/>
                <a:gd name="connsiteY19-5356" fmla="*/ 2383091 h 4492350"/>
                <a:gd name="connsiteX20-5357" fmla="*/ 3662637 w 3662637"/>
                <a:gd name="connsiteY20-5358" fmla="*/ 1124252 h 4492350"/>
                <a:gd name="connsiteX21-5359" fmla="*/ 2190307 w 3662637"/>
                <a:gd name="connsiteY21-5360" fmla="*/ 3370521 h 4492350"/>
                <a:gd name="connsiteX22-5361" fmla="*/ 2137144 w 3662637"/>
                <a:gd name="connsiteY22-5362" fmla="*/ 3817088 h 4492350"/>
                <a:gd name="connsiteX23-5363" fmla="*/ 3285460 w 3662637"/>
                <a:gd name="connsiteY23-5364" fmla="*/ 3094074 h 4492350"/>
                <a:gd name="connsiteX24-5365" fmla="*/ 2162419 w 3662637"/>
                <a:gd name="connsiteY24-5366" fmla="*/ 4030951 h 4492350"/>
                <a:gd name="connsiteX25-5367" fmla="*/ 2200940 w 3662637"/>
                <a:gd name="connsiteY25-5368" fmla="*/ 4476307 h 4492350"/>
                <a:gd name="connsiteX26-5369" fmla="*/ 2186296 w 3662637"/>
                <a:gd name="connsiteY26-5370" fmla="*/ 4491415 h 4492350"/>
                <a:gd name="connsiteX27-5371" fmla="*/ 1711842 w 3662637"/>
                <a:gd name="connsiteY27-5372" fmla="*/ 4492350 h 4492350"/>
                <a:gd name="connsiteX0-5373" fmla="*/ 1711842 w 3662637"/>
                <a:gd name="connsiteY0-5374" fmla="*/ 4492350 h 4492350"/>
                <a:gd name="connsiteX1-5375" fmla="*/ 1765005 w 3662637"/>
                <a:gd name="connsiteY1-5376" fmla="*/ 3785190 h 4492350"/>
                <a:gd name="connsiteX2-5377" fmla="*/ 1275907 w 3662637"/>
                <a:gd name="connsiteY2-5378" fmla="*/ 3381153 h 4492350"/>
                <a:gd name="connsiteX3-5379" fmla="*/ 0 w 3662637"/>
                <a:gd name="connsiteY3-5380" fmla="*/ 2945218 h 4492350"/>
                <a:gd name="connsiteX4-5381" fmla="*/ 1095154 w 3662637"/>
                <a:gd name="connsiteY4-5382" fmla="*/ 3242930 h 4492350"/>
                <a:gd name="connsiteX5-5383" fmla="*/ 361507 w 3662637"/>
                <a:gd name="connsiteY5-5384" fmla="*/ 2456121 h 4492350"/>
                <a:gd name="connsiteX6-5385" fmla="*/ 1743740 w 3662637"/>
                <a:gd name="connsiteY6-5386" fmla="*/ 3519376 h 4492350"/>
                <a:gd name="connsiteX7-5387" fmla="*/ 1652058 w 3662637"/>
                <a:gd name="connsiteY7-5388" fmla="*/ 2400346 h 4492350"/>
                <a:gd name="connsiteX8-5389" fmla="*/ 28261 w 3662637"/>
                <a:gd name="connsiteY8-5390" fmla="*/ 742880 h 4492350"/>
                <a:gd name="connsiteX9-5391" fmla="*/ 956930 w 3662637"/>
                <a:gd name="connsiteY9-5392" fmla="*/ 1924493 h 4492350"/>
                <a:gd name="connsiteX10-5393" fmla="*/ 1061670 w 3662637"/>
                <a:gd name="connsiteY10-5394" fmla="*/ 857226 h 4492350"/>
                <a:gd name="connsiteX11-5395" fmla="*/ 1162773 w 3662637"/>
                <a:gd name="connsiteY11-5396" fmla="*/ 2026621 h 4492350"/>
                <a:gd name="connsiteX12-5397" fmla="*/ 1682742 w 3662637"/>
                <a:gd name="connsiteY12-5398" fmla="*/ 2194318 h 4492350"/>
                <a:gd name="connsiteX13-5399" fmla="*/ 1924493 w 3662637"/>
                <a:gd name="connsiteY13-5400" fmla="*/ 0 h 4492350"/>
                <a:gd name="connsiteX14-5401" fmla="*/ 1995936 w 3662637"/>
                <a:gd name="connsiteY14-5402" fmla="*/ 986216 h 4492350"/>
                <a:gd name="connsiteX15-5403" fmla="*/ 1850065 w 3662637"/>
                <a:gd name="connsiteY15-5404" fmla="*/ 2060385 h 4492350"/>
                <a:gd name="connsiteX16-5405" fmla="*/ 2025596 w 3662637"/>
                <a:gd name="connsiteY16-5406" fmla="*/ 3046321 h 4492350"/>
                <a:gd name="connsiteX17-5407" fmla="*/ 2615609 w 3662637"/>
                <a:gd name="connsiteY17-5408" fmla="*/ 2519916 h 4492350"/>
                <a:gd name="connsiteX18-5409" fmla="*/ 2881796 w 3662637"/>
                <a:gd name="connsiteY18-5410" fmla="*/ 1291762 h 4492350"/>
                <a:gd name="connsiteX19-5411" fmla="*/ 2774911 w 3662637"/>
                <a:gd name="connsiteY19-5412" fmla="*/ 2383091 h 4492350"/>
                <a:gd name="connsiteX20-5413" fmla="*/ 3662637 w 3662637"/>
                <a:gd name="connsiteY20-5414" fmla="*/ 1124252 h 4492350"/>
                <a:gd name="connsiteX21-5415" fmla="*/ 2190307 w 3662637"/>
                <a:gd name="connsiteY21-5416" fmla="*/ 3370521 h 4492350"/>
                <a:gd name="connsiteX22-5417" fmla="*/ 2137144 w 3662637"/>
                <a:gd name="connsiteY22-5418" fmla="*/ 3817088 h 4492350"/>
                <a:gd name="connsiteX23-5419" fmla="*/ 3285460 w 3662637"/>
                <a:gd name="connsiteY23-5420" fmla="*/ 3094074 h 4492350"/>
                <a:gd name="connsiteX24-5421" fmla="*/ 2162419 w 3662637"/>
                <a:gd name="connsiteY24-5422" fmla="*/ 4030951 h 4492350"/>
                <a:gd name="connsiteX25-5423" fmla="*/ 2200940 w 3662637"/>
                <a:gd name="connsiteY25-5424" fmla="*/ 4476307 h 4492350"/>
                <a:gd name="connsiteX26-5425" fmla="*/ 2186296 w 3662637"/>
                <a:gd name="connsiteY26-5426" fmla="*/ 4491415 h 4492350"/>
                <a:gd name="connsiteX27-5427" fmla="*/ 1711842 w 3662637"/>
                <a:gd name="connsiteY27-5428" fmla="*/ 4492350 h 4492350"/>
                <a:gd name="connsiteX0-5429" fmla="*/ 1711842 w 3662637"/>
                <a:gd name="connsiteY0-5430" fmla="*/ 4492350 h 4492350"/>
                <a:gd name="connsiteX1-5431" fmla="*/ 1765005 w 3662637"/>
                <a:gd name="connsiteY1-5432" fmla="*/ 3785190 h 4492350"/>
                <a:gd name="connsiteX2-5433" fmla="*/ 1275907 w 3662637"/>
                <a:gd name="connsiteY2-5434" fmla="*/ 3381153 h 4492350"/>
                <a:gd name="connsiteX3-5435" fmla="*/ 0 w 3662637"/>
                <a:gd name="connsiteY3-5436" fmla="*/ 2945218 h 4492350"/>
                <a:gd name="connsiteX4-5437" fmla="*/ 1095154 w 3662637"/>
                <a:gd name="connsiteY4-5438" fmla="*/ 3242930 h 4492350"/>
                <a:gd name="connsiteX5-5439" fmla="*/ 361507 w 3662637"/>
                <a:gd name="connsiteY5-5440" fmla="*/ 2456121 h 4492350"/>
                <a:gd name="connsiteX6-5441" fmla="*/ 1743740 w 3662637"/>
                <a:gd name="connsiteY6-5442" fmla="*/ 3519376 h 4492350"/>
                <a:gd name="connsiteX7-5443" fmla="*/ 1652058 w 3662637"/>
                <a:gd name="connsiteY7-5444" fmla="*/ 2400346 h 4492350"/>
                <a:gd name="connsiteX8-5445" fmla="*/ 28261 w 3662637"/>
                <a:gd name="connsiteY8-5446" fmla="*/ 742880 h 4492350"/>
                <a:gd name="connsiteX9-5447" fmla="*/ 956930 w 3662637"/>
                <a:gd name="connsiteY9-5448" fmla="*/ 1924493 h 4492350"/>
                <a:gd name="connsiteX10-5449" fmla="*/ 1061670 w 3662637"/>
                <a:gd name="connsiteY10-5450" fmla="*/ 857226 h 4492350"/>
                <a:gd name="connsiteX11-5451" fmla="*/ 1162773 w 3662637"/>
                <a:gd name="connsiteY11-5452" fmla="*/ 2026621 h 4492350"/>
                <a:gd name="connsiteX12-5453" fmla="*/ 1682742 w 3662637"/>
                <a:gd name="connsiteY12-5454" fmla="*/ 2194318 h 4492350"/>
                <a:gd name="connsiteX13-5455" fmla="*/ 1924493 w 3662637"/>
                <a:gd name="connsiteY13-5456" fmla="*/ 0 h 4492350"/>
                <a:gd name="connsiteX14-5457" fmla="*/ 1995936 w 3662637"/>
                <a:gd name="connsiteY14-5458" fmla="*/ 986216 h 4492350"/>
                <a:gd name="connsiteX15-5459" fmla="*/ 1850065 w 3662637"/>
                <a:gd name="connsiteY15-5460" fmla="*/ 2060385 h 4492350"/>
                <a:gd name="connsiteX16-5461" fmla="*/ 2025596 w 3662637"/>
                <a:gd name="connsiteY16-5462" fmla="*/ 3046321 h 4492350"/>
                <a:gd name="connsiteX17-5463" fmla="*/ 2615609 w 3662637"/>
                <a:gd name="connsiteY17-5464" fmla="*/ 2519916 h 4492350"/>
                <a:gd name="connsiteX18-5465" fmla="*/ 2881796 w 3662637"/>
                <a:gd name="connsiteY18-5466" fmla="*/ 1291762 h 4492350"/>
                <a:gd name="connsiteX19-5467" fmla="*/ 2774911 w 3662637"/>
                <a:gd name="connsiteY19-5468" fmla="*/ 2383091 h 4492350"/>
                <a:gd name="connsiteX20-5469" fmla="*/ 3662637 w 3662637"/>
                <a:gd name="connsiteY20-5470" fmla="*/ 1124252 h 4492350"/>
                <a:gd name="connsiteX21-5471" fmla="*/ 2190307 w 3662637"/>
                <a:gd name="connsiteY21-5472" fmla="*/ 3370521 h 4492350"/>
                <a:gd name="connsiteX22-5473" fmla="*/ 2137144 w 3662637"/>
                <a:gd name="connsiteY22-5474" fmla="*/ 3817088 h 4492350"/>
                <a:gd name="connsiteX23-5475" fmla="*/ 3285460 w 3662637"/>
                <a:gd name="connsiteY23-5476" fmla="*/ 3094074 h 4492350"/>
                <a:gd name="connsiteX24-5477" fmla="*/ 2162419 w 3662637"/>
                <a:gd name="connsiteY24-5478" fmla="*/ 4030951 h 4492350"/>
                <a:gd name="connsiteX25-5479" fmla="*/ 2200940 w 3662637"/>
                <a:gd name="connsiteY25-5480" fmla="*/ 4476307 h 4492350"/>
                <a:gd name="connsiteX26-5481" fmla="*/ 2186296 w 3662637"/>
                <a:gd name="connsiteY26-5482" fmla="*/ 4491415 h 4492350"/>
                <a:gd name="connsiteX27-5483" fmla="*/ 1711842 w 3662637"/>
                <a:gd name="connsiteY27-5484" fmla="*/ 4492350 h 4492350"/>
                <a:gd name="connsiteX0-5485" fmla="*/ 1711842 w 3662637"/>
                <a:gd name="connsiteY0-5486" fmla="*/ 4492350 h 4492350"/>
                <a:gd name="connsiteX1-5487" fmla="*/ 1765005 w 3662637"/>
                <a:gd name="connsiteY1-5488" fmla="*/ 3785190 h 4492350"/>
                <a:gd name="connsiteX2-5489" fmla="*/ 1275907 w 3662637"/>
                <a:gd name="connsiteY2-5490" fmla="*/ 3381153 h 4492350"/>
                <a:gd name="connsiteX3-5491" fmla="*/ 0 w 3662637"/>
                <a:gd name="connsiteY3-5492" fmla="*/ 2945218 h 4492350"/>
                <a:gd name="connsiteX4-5493" fmla="*/ 1095154 w 3662637"/>
                <a:gd name="connsiteY4-5494" fmla="*/ 3242930 h 4492350"/>
                <a:gd name="connsiteX5-5495" fmla="*/ 361507 w 3662637"/>
                <a:gd name="connsiteY5-5496" fmla="*/ 2456121 h 4492350"/>
                <a:gd name="connsiteX6-5497" fmla="*/ 1743740 w 3662637"/>
                <a:gd name="connsiteY6-5498" fmla="*/ 3519376 h 4492350"/>
                <a:gd name="connsiteX7-5499" fmla="*/ 1652058 w 3662637"/>
                <a:gd name="connsiteY7-5500" fmla="*/ 2400346 h 4492350"/>
                <a:gd name="connsiteX8-5501" fmla="*/ 28261 w 3662637"/>
                <a:gd name="connsiteY8-5502" fmla="*/ 742880 h 4492350"/>
                <a:gd name="connsiteX9-5503" fmla="*/ 956930 w 3662637"/>
                <a:gd name="connsiteY9-5504" fmla="*/ 1924493 h 4492350"/>
                <a:gd name="connsiteX10-5505" fmla="*/ 1061670 w 3662637"/>
                <a:gd name="connsiteY10-5506" fmla="*/ 857226 h 4492350"/>
                <a:gd name="connsiteX11-5507" fmla="*/ 1162773 w 3662637"/>
                <a:gd name="connsiteY11-5508" fmla="*/ 2026621 h 4492350"/>
                <a:gd name="connsiteX12-5509" fmla="*/ 1682742 w 3662637"/>
                <a:gd name="connsiteY12-5510" fmla="*/ 2194318 h 4492350"/>
                <a:gd name="connsiteX13-5511" fmla="*/ 1924493 w 3662637"/>
                <a:gd name="connsiteY13-5512" fmla="*/ 0 h 4492350"/>
                <a:gd name="connsiteX14-5513" fmla="*/ 1995936 w 3662637"/>
                <a:gd name="connsiteY14-5514" fmla="*/ 986216 h 4492350"/>
                <a:gd name="connsiteX15-5515" fmla="*/ 1850065 w 3662637"/>
                <a:gd name="connsiteY15-5516" fmla="*/ 2060385 h 4492350"/>
                <a:gd name="connsiteX16-5517" fmla="*/ 2025596 w 3662637"/>
                <a:gd name="connsiteY16-5518" fmla="*/ 3046321 h 4492350"/>
                <a:gd name="connsiteX17-5519" fmla="*/ 2615609 w 3662637"/>
                <a:gd name="connsiteY17-5520" fmla="*/ 2519916 h 4492350"/>
                <a:gd name="connsiteX18-5521" fmla="*/ 2881796 w 3662637"/>
                <a:gd name="connsiteY18-5522" fmla="*/ 1291762 h 4492350"/>
                <a:gd name="connsiteX19-5523" fmla="*/ 2774911 w 3662637"/>
                <a:gd name="connsiteY19-5524" fmla="*/ 2383091 h 4492350"/>
                <a:gd name="connsiteX20-5525" fmla="*/ 3662637 w 3662637"/>
                <a:gd name="connsiteY20-5526" fmla="*/ 1124252 h 4492350"/>
                <a:gd name="connsiteX21-5527" fmla="*/ 2190307 w 3662637"/>
                <a:gd name="connsiteY21-5528" fmla="*/ 3370521 h 4492350"/>
                <a:gd name="connsiteX22-5529" fmla="*/ 2137144 w 3662637"/>
                <a:gd name="connsiteY22-5530" fmla="*/ 3817088 h 4492350"/>
                <a:gd name="connsiteX23-5531" fmla="*/ 3285460 w 3662637"/>
                <a:gd name="connsiteY23-5532" fmla="*/ 3094074 h 4492350"/>
                <a:gd name="connsiteX24-5533" fmla="*/ 2162419 w 3662637"/>
                <a:gd name="connsiteY24-5534" fmla="*/ 4030951 h 4492350"/>
                <a:gd name="connsiteX25-5535" fmla="*/ 2200940 w 3662637"/>
                <a:gd name="connsiteY25-5536" fmla="*/ 4476307 h 4492350"/>
                <a:gd name="connsiteX26-5537" fmla="*/ 2186296 w 3662637"/>
                <a:gd name="connsiteY26-5538" fmla="*/ 4491415 h 4492350"/>
                <a:gd name="connsiteX27-5539" fmla="*/ 1711842 w 3662637"/>
                <a:gd name="connsiteY27-5540" fmla="*/ 4492350 h 4492350"/>
                <a:gd name="connsiteX0-5541" fmla="*/ 1711842 w 3662637"/>
                <a:gd name="connsiteY0-5542" fmla="*/ 4492350 h 4492350"/>
                <a:gd name="connsiteX1-5543" fmla="*/ 1765005 w 3662637"/>
                <a:gd name="connsiteY1-5544" fmla="*/ 3785190 h 4492350"/>
                <a:gd name="connsiteX2-5545" fmla="*/ 1275907 w 3662637"/>
                <a:gd name="connsiteY2-5546" fmla="*/ 3381153 h 4492350"/>
                <a:gd name="connsiteX3-5547" fmla="*/ 0 w 3662637"/>
                <a:gd name="connsiteY3-5548" fmla="*/ 2945218 h 4492350"/>
                <a:gd name="connsiteX4-5549" fmla="*/ 1095154 w 3662637"/>
                <a:gd name="connsiteY4-5550" fmla="*/ 3242930 h 4492350"/>
                <a:gd name="connsiteX5-5551" fmla="*/ 361507 w 3662637"/>
                <a:gd name="connsiteY5-5552" fmla="*/ 2456121 h 4492350"/>
                <a:gd name="connsiteX6-5553" fmla="*/ 1743740 w 3662637"/>
                <a:gd name="connsiteY6-5554" fmla="*/ 3519376 h 4492350"/>
                <a:gd name="connsiteX7-5555" fmla="*/ 1652058 w 3662637"/>
                <a:gd name="connsiteY7-5556" fmla="*/ 2400346 h 4492350"/>
                <a:gd name="connsiteX8-5557" fmla="*/ 28261 w 3662637"/>
                <a:gd name="connsiteY8-5558" fmla="*/ 742880 h 4492350"/>
                <a:gd name="connsiteX9-5559" fmla="*/ 956930 w 3662637"/>
                <a:gd name="connsiteY9-5560" fmla="*/ 1924493 h 4492350"/>
                <a:gd name="connsiteX10-5561" fmla="*/ 1061670 w 3662637"/>
                <a:gd name="connsiteY10-5562" fmla="*/ 857226 h 4492350"/>
                <a:gd name="connsiteX11-5563" fmla="*/ 1162773 w 3662637"/>
                <a:gd name="connsiteY11-5564" fmla="*/ 2026621 h 4492350"/>
                <a:gd name="connsiteX12-5565" fmla="*/ 1682742 w 3662637"/>
                <a:gd name="connsiteY12-5566" fmla="*/ 2194318 h 4492350"/>
                <a:gd name="connsiteX13-5567" fmla="*/ 1924493 w 3662637"/>
                <a:gd name="connsiteY13-5568" fmla="*/ 0 h 4492350"/>
                <a:gd name="connsiteX14-5569" fmla="*/ 1995936 w 3662637"/>
                <a:gd name="connsiteY14-5570" fmla="*/ 986216 h 4492350"/>
                <a:gd name="connsiteX15-5571" fmla="*/ 1850065 w 3662637"/>
                <a:gd name="connsiteY15-5572" fmla="*/ 2060385 h 4492350"/>
                <a:gd name="connsiteX16-5573" fmla="*/ 2025596 w 3662637"/>
                <a:gd name="connsiteY16-5574" fmla="*/ 3046321 h 4492350"/>
                <a:gd name="connsiteX17-5575" fmla="*/ 2615609 w 3662637"/>
                <a:gd name="connsiteY17-5576" fmla="*/ 2519916 h 4492350"/>
                <a:gd name="connsiteX18-5577" fmla="*/ 2881796 w 3662637"/>
                <a:gd name="connsiteY18-5578" fmla="*/ 1291762 h 4492350"/>
                <a:gd name="connsiteX19-5579" fmla="*/ 2774911 w 3662637"/>
                <a:gd name="connsiteY19-5580" fmla="*/ 2383091 h 4492350"/>
                <a:gd name="connsiteX20-5581" fmla="*/ 3662637 w 3662637"/>
                <a:gd name="connsiteY20-5582" fmla="*/ 1124252 h 4492350"/>
                <a:gd name="connsiteX21-5583" fmla="*/ 2190307 w 3662637"/>
                <a:gd name="connsiteY21-5584" fmla="*/ 3370521 h 4492350"/>
                <a:gd name="connsiteX22-5585" fmla="*/ 2137144 w 3662637"/>
                <a:gd name="connsiteY22-5586" fmla="*/ 3817088 h 4492350"/>
                <a:gd name="connsiteX23-5587" fmla="*/ 3285460 w 3662637"/>
                <a:gd name="connsiteY23-5588" fmla="*/ 3094074 h 4492350"/>
                <a:gd name="connsiteX24-5589" fmla="*/ 2162419 w 3662637"/>
                <a:gd name="connsiteY24-5590" fmla="*/ 4030951 h 4492350"/>
                <a:gd name="connsiteX25-5591" fmla="*/ 2200940 w 3662637"/>
                <a:gd name="connsiteY25-5592" fmla="*/ 4476307 h 4492350"/>
                <a:gd name="connsiteX26-5593" fmla="*/ 2186296 w 3662637"/>
                <a:gd name="connsiteY26-5594" fmla="*/ 4491415 h 4492350"/>
                <a:gd name="connsiteX27-5595" fmla="*/ 1711842 w 3662637"/>
                <a:gd name="connsiteY27-5596" fmla="*/ 4492350 h 4492350"/>
                <a:gd name="connsiteX0-5597" fmla="*/ 1711842 w 3662637"/>
                <a:gd name="connsiteY0-5598" fmla="*/ 4492350 h 4492350"/>
                <a:gd name="connsiteX1-5599" fmla="*/ 1765005 w 3662637"/>
                <a:gd name="connsiteY1-5600" fmla="*/ 3785190 h 4492350"/>
                <a:gd name="connsiteX2-5601" fmla="*/ 1275907 w 3662637"/>
                <a:gd name="connsiteY2-5602" fmla="*/ 3381153 h 4492350"/>
                <a:gd name="connsiteX3-5603" fmla="*/ 0 w 3662637"/>
                <a:gd name="connsiteY3-5604" fmla="*/ 2945218 h 4492350"/>
                <a:gd name="connsiteX4-5605" fmla="*/ 1095154 w 3662637"/>
                <a:gd name="connsiteY4-5606" fmla="*/ 3242930 h 4492350"/>
                <a:gd name="connsiteX5-5607" fmla="*/ 381560 w 3662637"/>
                <a:gd name="connsiteY5-5608" fmla="*/ 2432058 h 4492350"/>
                <a:gd name="connsiteX6-5609" fmla="*/ 1743740 w 3662637"/>
                <a:gd name="connsiteY6-5610" fmla="*/ 3519376 h 4492350"/>
                <a:gd name="connsiteX7-5611" fmla="*/ 1652058 w 3662637"/>
                <a:gd name="connsiteY7-5612" fmla="*/ 2400346 h 4492350"/>
                <a:gd name="connsiteX8-5613" fmla="*/ 28261 w 3662637"/>
                <a:gd name="connsiteY8-5614" fmla="*/ 742880 h 4492350"/>
                <a:gd name="connsiteX9-5615" fmla="*/ 956930 w 3662637"/>
                <a:gd name="connsiteY9-5616" fmla="*/ 1924493 h 4492350"/>
                <a:gd name="connsiteX10-5617" fmla="*/ 1061670 w 3662637"/>
                <a:gd name="connsiteY10-5618" fmla="*/ 857226 h 4492350"/>
                <a:gd name="connsiteX11-5619" fmla="*/ 1162773 w 3662637"/>
                <a:gd name="connsiteY11-5620" fmla="*/ 2026621 h 4492350"/>
                <a:gd name="connsiteX12-5621" fmla="*/ 1682742 w 3662637"/>
                <a:gd name="connsiteY12-5622" fmla="*/ 2194318 h 4492350"/>
                <a:gd name="connsiteX13-5623" fmla="*/ 1924493 w 3662637"/>
                <a:gd name="connsiteY13-5624" fmla="*/ 0 h 4492350"/>
                <a:gd name="connsiteX14-5625" fmla="*/ 1995936 w 3662637"/>
                <a:gd name="connsiteY14-5626" fmla="*/ 986216 h 4492350"/>
                <a:gd name="connsiteX15-5627" fmla="*/ 1850065 w 3662637"/>
                <a:gd name="connsiteY15-5628" fmla="*/ 2060385 h 4492350"/>
                <a:gd name="connsiteX16-5629" fmla="*/ 2025596 w 3662637"/>
                <a:gd name="connsiteY16-5630" fmla="*/ 3046321 h 4492350"/>
                <a:gd name="connsiteX17-5631" fmla="*/ 2615609 w 3662637"/>
                <a:gd name="connsiteY17-5632" fmla="*/ 2519916 h 4492350"/>
                <a:gd name="connsiteX18-5633" fmla="*/ 2881796 w 3662637"/>
                <a:gd name="connsiteY18-5634" fmla="*/ 1291762 h 4492350"/>
                <a:gd name="connsiteX19-5635" fmla="*/ 2774911 w 3662637"/>
                <a:gd name="connsiteY19-5636" fmla="*/ 2383091 h 4492350"/>
                <a:gd name="connsiteX20-5637" fmla="*/ 3662637 w 3662637"/>
                <a:gd name="connsiteY20-5638" fmla="*/ 1124252 h 4492350"/>
                <a:gd name="connsiteX21-5639" fmla="*/ 2190307 w 3662637"/>
                <a:gd name="connsiteY21-5640" fmla="*/ 3370521 h 4492350"/>
                <a:gd name="connsiteX22-5641" fmla="*/ 2137144 w 3662637"/>
                <a:gd name="connsiteY22-5642" fmla="*/ 3817088 h 4492350"/>
                <a:gd name="connsiteX23-5643" fmla="*/ 3285460 w 3662637"/>
                <a:gd name="connsiteY23-5644" fmla="*/ 3094074 h 4492350"/>
                <a:gd name="connsiteX24-5645" fmla="*/ 2162419 w 3662637"/>
                <a:gd name="connsiteY24-5646" fmla="*/ 4030951 h 4492350"/>
                <a:gd name="connsiteX25-5647" fmla="*/ 2200940 w 3662637"/>
                <a:gd name="connsiteY25-5648" fmla="*/ 4476307 h 4492350"/>
                <a:gd name="connsiteX26-5649" fmla="*/ 2186296 w 3662637"/>
                <a:gd name="connsiteY26-5650" fmla="*/ 4491415 h 4492350"/>
                <a:gd name="connsiteX27-5651" fmla="*/ 1711842 w 3662637"/>
                <a:gd name="connsiteY27-5652" fmla="*/ 4492350 h 4492350"/>
                <a:gd name="connsiteX0-5653" fmla="*/ 1711842 w 3662637"/>
                <a:gd name="connsiteY0-5654" fmla="*/ 4492350 h 4492350"/>
                <a:gd name="connsiteX1-5655" fmla="*/ 1765005 w 3662637"/>
                <a:gd name="connsiteY1-5656" fmla="*/ 3785190 h 4492350"/>
                <a:gd name="connsiteX2-5657" fmla="*/ 1275907 w 3662637"/>
                <a:gd name="connsiteY2-5658" fmla="*/ 3381153 h 4492350"/>
                <a:gd name="connsiteX3-5659" fmla="*/ 0 w 3662637"/>
                <a:gd name="connsiteY3-5660" fmla="*/ 2945218 h 4492350"/>
                <a:gd name="connsiteX4-5661" fmla="*/ 1095154 w 3662637"/>
                <a:gd name="connsiteY4-5662" fmla="*/ 3242930 h 4492350"/>
                <a:gd name="connsiteX5-5663" fmla="*/ 381560 w 3662637"/>
                <a:gd name="connsiteY5-5664" fmla="*/ 2432058 h 4492350"/>
                <a:gd name="connsiteX6-5665" fmla="*/ 1743740 w 3662637"/>
                <a:gd name="connsiteY6-5666" fmla="*/ 3519376 h 4492350"/>
                <a:gd name="connsiteX7-5667" fmla="*/ 1652058 w 3662637"/>
                <a:gd name="connsiteY7-5668" fmla="*/ 2400346 h 4492350"/>
                <a:gd name="connsiteX8-5669" fmla="*/ 28261 w 3662637"/>
                <a:gd name="connsiteY8-5670" fmla="*/ 742880 h 4492350"/>
                <a:gd name="connsiteX9-5671" fmla="*/ 956930 w 3662637"/>
                <a:gd name="connsiteY9-5672" fmla="*/ 1924493 h 4492350"/>
                <a:gd name="connsiteX10-5673" fmla="*/ 1061670 w 3662637"/>
                <a:gd name="connsiteY10-5674" fmla="*/ 857226 h 4492350"/>
                <a:gd name="connsiteX11-5675" fmla="*/ 1162773 w 3662637"/>
                <a:gd name="connsiteY11-5676" fmla="*/ 2026621 h 4492350"/>
                <a:gd name="connsiteX12-5677" fmla="*/ 1682742 w 3662637"/>
                <a:gd name="connsiteY12-5678" fmla="*/ 2194318 h 4492350"/>
                <a:gd name="connsiteX13-5679" fmla="*/ 1924493 w 3662637"/>
                <a:gd name="connsiteY13-5680" fmla="*/ 0 h 4492350"/>
                <a:gd name="connsiteX14-5681" fmla="*/ 1995936 w 3662637"/>
                <a:gd name="connsiteY14-5682" fmla="*/ 986216 h 4492350"/>
                <a:gd name="connsiteX15-5683" fmla="*/ 1850065 w 3662637"/>
                <a:gd name="connsiteY15-5684" fmla="*/ 2060385 h 4492350"/>
                <a:gd name="connsiteX16-5685" fmla="*/ 2025596 w 3662637"/>
                <a:gd name="connsiteY16-5686" fmla="*/ 3046321 h 4492350"/>
                <a:gd name="connsiteX17-5687" fmla="*/ 2615609 w 3662637"/>
                <a:gd name="connsiteY17-5688" fmla="*/ 2519916 h 4492350"/>
                <a:gd name="connsiteX18-5689" fmla="*/ 2881796 w 3662637"/>
                <a:gd name="connsiteY18-5690" fmla="*/ 1291762 h 4492350"/>
                <a:gd name="connsiteX19-5691" fmla="*/ 2774911 w 3662637"/>
                <a:gd name="connsiteY19-5692" fmla="*/ 2383091 h 4492350"/>
                <a:gd name="connsiteX20-5693" fmla="*/ 3662637 w 3662637"/>
                <a:gd name="connsiteY20-5694" fmla="*/ 1124252 h 4492350"/>
                <a:gd name="connsiteX21-5695" fmla="*/ 2190307 w 3662637"/>
                <a:gd name="connsiteY21-5696" fmla="*/ 3370521 h 4492350"/>
                <a:gd name="connsiteX22-5697" fmla="*/ 2137144 w 3662637"/>
                <a:gd name="connsiteY22-5698" fmla="*/ 3817088 h 4492350"/>
                <a:gd name="connsiteX23-5699" fmla="*/ 3285460 w 3662637"/>
                <a:gd name="connsiteY23-5700" fmla="*/ 3094074 h 4492350"/>
                <a:gd name="connsiteX24-5701" fmla="*/ 2162419 w 3662637"/>
                <a:gd name="connsiteY24-5702" fmla="*/ 4030951 h 4492350"/>
                <a:gd name="connsiteX25-5703" fmla="*/ 2200940 w 3662637"/>
                <a:gd name="connsiteY25-5704" fmla="*/ 4476307 h 4492350"/>
                <a:gd name="connsiteX26-5705" fmla="*/ 2186296 w 3662637"/>
                <a:gd name="connsiteY26-5706" fmla="*/ 4491415 h 4492350"/>
                <a:gd name="connsiteX27-5707" fmla="*/ 1711842 w 3662637"/>
                <a:gd name="connsiteY27-5708" fmla="*/ 4492350 h 4492350"/>
                <a:gd name="connsiteX0-5709" fmla="*/ 1711842 w 3662637"/>
                <a:gd name="connsiteY0-5710" fmla="*/ 4492350 h 4492350"/>
                <a:gd name="connsiteX1-5711" fmla="*/ 1765005 w 3662637"/>
                <a:gd name="connsiteY1-5712" fmla="*/ 3785190 h 4492350"/>
                <a:gd name="connsiteX2-5713" fmla="*/ 1275907 w 3662637"/>
                <a:gd name="connsiteY2-5714" fmla="*/ 3381153 h 4492350"/>
                <a:gd name="connsiteX3-5715" fmla="*/ 0 w 3662637"/>
                <a:gd name="connsiteY3-5716" fmla="*/ 2945218 h 4492350"/>
                <a:gd name="connsiteX4-5717" fmla="*/ 1095154 w 3662637"/>
                <a:gd name="connsiteY4-5718" fmla="*/ 3242930 h 4492350"/>
                <a:gd name="connsiteX5-5719" fmla="*/ 381560 w 3662637"/>
                <a:gd name="connsiteY5-5720" fmla="*/ 2432058 h 4492350"/>
                <a:gd name="connsiteX6-5721" fmla="*/ 1743740 w 3662637"/>
                <a:gd name="connsiteY6-5722" fmla="*/ 3519376 h 4492350"/>
                <a:gd name="connsiteX7-5723" fmla="*/ 1652058 w 3662637"/>
                <a:gd name="connsiteY7-5724" fmla="*/ 2400346 h 4492350"/>
                <a:gd name="connsiteX8-5725" fmla="*/ 28261 w 3662637"/>
                <a:gd name="connsiteY8-5726" fmla="*/ 742880 h 4492350"/>
                <a:gd name="connsiteX9-5727" fmla="*/ 956930 w 3662637"/>
                <a:gd name="connsiteY9-5728" fmla="*/ 1924493 h 4492350"/>
                <a:gd name="connsiteX10-5729" fmla="*/ 1061670 w 3662637"/>
                <a:gd name="connsiteY10-5730" fmla="*/ 857226 h 4492350"/>
                <a:gd name="connsiteX11-5731" fmla="*/ 1162773 w 3662637"/>
                <a:gd name="connsiteY11-5732" fmla="*/ 2026621 h 4492350"/>
                <a:gd name="connsiteX12-5733" fmla="*/ 1682742 w 3662637"/>
                <a:gd name="connsiteY12-5734" fmla="*/ 2194318 h 4492350"/>
                <a:gd name="connsiteX13-5735" fmla="*/ 1924493 w 3662637"/>
                <a:gd name="connsiteY13-5736" fmla="*/ 0 h 4492350"/>
                <a:gd name="connsiteX14-5737" fmla="*/ 1995936 w 3662637"/>
                <a:gd name="connsiteY14-5738" fmla="*/ 986216 h 4492350"/>
                <a:gd name="connsiteX15-5739" fmla="*/ 1850065 w 3662637"/>
                <a:gd name="connsiteY15-5740" fmla="*/ 2060385 h 4492350"/>
                <a:gd name="connsiteX16-5741" fmla="*/ 2025596 w 3662637"/>
                <a:gd name="connsiteY16-5742" fmla="*/ 3046321 h 4492350"/>
                <a:gd name="connsiteX17-5743" fmla="*/ 2615609 w 3662637"/>
                <a:gd name="connsiteY17-5744" fmla="*/ 2519916 h 4492350"/>
                <a:gd name="connsiteX18-5745" fmla="*/ 2881796 w 3662637"/>
                <a:gd name="connsiteY18-5746" fmla="*/ 1291762 h 4492350"/>
                <a:gd name="connsiteX19-5747" fmla="*/ 2774911 w 3662637"/>
                <a:gd name="connsiteY19-5748" fmla="*/ 2383091 h 4492350"/>
                <a:gd name="connsiteX20-5749" fmla="*/ 3662637 w 3662637"/>
                <a:gd name="connsiteY20-5750" fmla="*/ 1124252 h 4492350"/>
                <a:gd name="connsiteX21-5751" fmla="*/ 2190307 w 3662637"/>
                <a:gd name="connsiteY21-5752" fmla="*/ 3370521 h 4492350"/>
                <a:gd name="connsiteX22-5753" fmla="*/ 2137144 w 3662637"/>
                <a:gd name="connsiteY22-5754" fmla="*/ 3817088 h 4492350"/>
                <a:gd name="connsiteX23-5755" fmla="*/ 3285460 w 3662637"/>
                <a:gd name="connsiteY23-5756" fmla="*/ 3094074 h 4492350"/>
                <a:gd name="connsiteX24-5757" fmla="*/ 2162419 w 3662637"/>
                <a:gd name="connsiteY24-5758" fmla="*/ 4030951 h 4492350"/>
                <a:gd name="connsiteX25-5759" fmla="*/ 2200940 w 3662637"/>
                <a:gd name="connsiteY25-5760" fmla="*/ 4476307 h 4492350"/>
                <a:gd name="connsiteX26-5761" fmla="*/ 2186296 w 3662637"/>
                <a:gd name="connsiteY26-5762" fmla="*/ 4491415 h 4492350"/>
                <a:gd name="connsiteX27-5763" fmla="*/ 1711842 w 3662637"/>
                <a:gd name="connsiteY27-5764" fmla="*/ 4492350 h 4492350"/>
                <a:gd name="connsiteX0-5765" fmla="*/ 1711842 w 3662637"/>
                <a:gd name="connsiteY0-5766" fmla="*/ 4492350 h 4492350"/>
                <a:gd name="connsiteX1-5767" fmla="*/ 1765005 w 3662637"/>
                <a:gd name="connsiteY1-5768" fmla="*/ 3785190 h 4492350"/>
                <a:gd name="connsiteX2-5769" fmla="*/ 1275907 w 3662637"/>
                <a:gd name="connsiteY2-5770" fmla="*/ 3381153 h 4492350"/>
                <a:gd name="connsiteX3-5771" fmla="*/ 0 w 3662637"/>
                <a:gd name="connsiteY3-5772" fmla="*/ 2945218 h 4492350"/>
                <a:gd name="connsiteX4-5773" fmla="*/ 1111196 w 3662637"/>
                <a:gd name="connsiteY4-5774" fmla="*/ 3238920 h 4492350"/>
                <a:gd name="connsiteX5-5775" fmla="*/ 381560 w 3662637"/>
                <a:gd name="connsiteY5-5776" fmla="*/ 2432058 h 4492350"/>
                <a:gd name="connsiteX6-5777" fmla="*/ 1743740 w 3662637"/>
                <a:gd name="connsiteY6-5778" fmla="*/ 3519376 h 4492350"/>
                <a:gd name="connsiteX7-5779" fmla="*/ 1652058 w 3662637"/>
                <a:gd name="connsiteY7-5780" fmla="*/ 2400346 h 4492350"/>
                <a:gd name="connsiteX8-5781" fmla="*/ 28261 w 3662637"/>
                <a:gd name="connsiteY8-5782" fmla="*/ 742880 h 4492350"/>
                <a:gd name="connsiteX9-5783" fmla="*/ 956930 w 3662637"/>
                <a:gd name="connsiteY9-5784" fmla="*/ 1924493 h 4492350"/>
                <a:gd name="connsiteX10-5785" fmla="*/ 1061670 w 3662637"/>
                <a:gd name="connsiteY10-5786" fmla="*/ 857226 h 4492350"/>
                <a:gd name="connsiteX11-5787" fmla="*/ 1162773 w 3662637"/>
                <a:gd name="connsiteY11-5788" fmla="*/ 2026621 h 4492350"/>
                <a:gd name="connsiteX12-5789" fmla="*/ 1682742 w 3662637"/>
                <a:gd name="connsiteY12-5790" fmla="*/ 2194318 h 4492350"/>
                <a:gd name="connsiteX13-5791" fmla="*/ 1924493 w 3662637"/>
                <a:gd name="connsiteY13-5792" fmla="*/ 0 h 4492350"/>
                <a:gd name="connsiteX14-5793" fmla="*/ 1995936 w 3662637"/>
                <a:gd name="connsiteY14-5794" fmla="*/ 986216 h 4492350"/>
                <a:gd name="connsiteX15-5795" fmla="*/ 1850065 w 3662637"/>
                <a:gd name="connsiteY15-5796" fmla="*/ 2060385 h 4492350"/>
                <a:gd name="connsiteX16-5797" fmla="*/ 2025596 w 3662637"/>
                <a:gd name="connsiteY16-5798" fmla="*/ 3046321 h 4492350"/>
                <a:gd name="connsiteX17-5799" fmla="*/ 2615609 w 3662637"/>
                <a:gd name="connsiteY17-5800" fmla="*/ 2519916 h 4492350"/>
                <a:gd name="connsiteX18-5801" fmla="*/ 2881796 w 3662637"/>
                <a:gd name="connsiteY18-5802" fmla="*/ 1291762 h 4492350"/>
                <a:gd name="connsiteX19-5803" fmla="*/ 2774911 w 3662637"/>
                <a:gd name="connsiteY19-5804" fmla="*/ 2383091 h 4492350"/>
                <a:gd name="connsiteX20-5805" fmla="*/ 3662637 w 3662637"/>
                <a:gd name="connsiteY20-5806" fmla="*/ 1124252 h 4492350"/>
                <a:gd name="connsiteX21-5807" fmla="*/ 2190307 w 3662637"/>
                <a:gd name="connsiteY21-5808" fmla="*/ 3370521 h 4492350"/>
                <a:gd name="connsiteX22-5809" fmla="*/ 2137144 w 3662637"/>
                <a:gd name="connsiteY22-5810" fmla="*/ 3817088 h 4492350"/>
                <a:gd name="connsiteX23-5811" fmla="*/ 3285460 w 3662637"/>
                <a:gd name="connsiteY23-5812" fmla="*/ 3094074 h 4492350"/>
                <a:gd name="connsiteX24-5813" fmla="*/ 2162419 w 3662637"/>
                <a:gd name="connsiteY24-5814" fmla="*/ 4030951 h 4492350"/>
                <a:gd name="connsiteX25-5815" fmla="*/ 2200940 w 3662637"/>
                <a:gd name="connsiteY25-5816" fmla="*/ 4476307 h 4492350"/>
                <a:gd name="connsiteX26-5817" fmla="*/ 2186296 w 3662637"/>
                <a:gd name="connsiteY26-5818" fmla="*/ 4491415 h 4492350"/>
                <a:gd name="connsiteX27-5819" fmla="*/ 1711842 w 3662637"/>
                <a:gd name="connsiteY27-5820" fmla="*/ 4492350 h 4492350"/>
                <a:gd name="connsiteX0-5821" fmla="*/ 1711842 w 3662637"/>
                <a:gd name="connsiteY0-5822" fmla="*/ 4492350 h 4492350"/>
                <a:gd name="connsiteX1-5823" fmla="*/ 1765005 w 3662637"/>
                <a:gd name="connsiteY1-5824" fmla="*/ 3785190 h 4492350"/>
                <a:gd name="connsiteX2-5825" fmla="*/ 1275907 w 3662637"/>
                <a:gd name="connsiteY2-5826" fmla="*/ 3381153 h 4492350"/>
                <a:gd name="connsiteX3-5827" fmla="*/ 0 w 3662637"/>
                <a:gd name="connsiteY3-5828" fmla="*/ 2945218 h 4492350"/>
                <a:gd name="connsiteX4-5829" fmla="*/ 1111196 w 3662637"/>
                <a:gd name="connsiteY4-5830" fmla="*/ 3238920 h 4492350"/>
                <a:gd name="connsiteX5-5831" fmla="*/ 381560 w 3662637"/>
                <a:gd name="connsiteY5-5832" fmla="*/ 2432058 h 4492350"/>
                <a:gd name="connsiteX6-5833" fmla="*/ 1743740 w 3662637"/>
                <a:gd name="connsiteY6-5834" fmla="*/ 3519376 h 4492350"/>
                <a:gd name="connsiteX7-5835" fmla="*/ 1652058 w 3662637"/>
                <a:gd name="connsiteY7-5836" fmla="*/ 2400346 h 4492350"/>
                <a:gd name="connsiteX8-5837" fmla="*/ 28261 w 3662637"/>
                <a:gd name="connsiteY8-5838" fmla="*/ 742880 h 4492350"/>
                <a:gd name="connsiteX9-5839" fmla="*/ 956930 w 3662637"/>
                <a:gd name="connsiteY9-5840" fmla="*/ 1924493 h 4492350"/>
                <a:gd name="connsiteX10-5841" fmla="*/ 1061670 w 3662637"/>
                <a:gd name="connsiteY10-5842" fmla="*/ 857226 h 4492350"/>
                <a:gd name="connsiteX11-5843" fmla="*/ 1162773 w 3662637"/>
                <a:gd name="connsiteY11-5844" fmla="*/ 2026621 h 4492350"/>
                <a:gd name="connsiteX12-5845" fmla="*/ 1682742 w 3662637"/>
                <a:gd name="connsiteY12-5846" fmla="*/ 2194318 h 4492350"/>
                <a:gd name="connsiteX13-5847" fmla="*/ 1924493 w 3662637"/>
                <a:gd name="connsiteY13-5848" fmla="*/ 0 h 4492350"/>
                <a:gd name="connsiteX14-5849" fmla="*/ 1995936 w 3662637"/>
                <a:gd name="connsiteY14-5850" fmla="*/ 986216 h 4492350"/>
                <a:gd name="connsiteX15-5851" fmla="*/ 1850065 w 3662637"/>
                <a:gd name="connsiteY15-5852" fmla="*/ 2060385 h 4492350"/>
                <a:gd name="connsiteX16-5853" fmla="*/ 2025596 w 3662637"/>
                <a:gd name="connsiteY16-5854" fmla="*/ 3046321 h 4492350"/>
                <a:gd name="connsiteX17-5855" fmla="*/ 2615609 w 3662637"/>
                <a:gd name="connsiteY17-5856" fmla="*/ 2519916 h 4492350"/>
                <a:gd name="connsiteX18-5857" fmla="*/ 2881796 w 3662637"/>
                <a:gd name="connsiteY18-5858" fmla="*/ 1291762 h 4492350"/>
                <a:gd name="connsiteX19-5859" fmla="*/ 2774911 w 3662637"/>
                <a:gd name="connsiteY19-5860" fmla="*/ 2383091 h 4492350"/>
                <a:gd name="connsiteX20-5861" fmla="*/ 3662637 w 3662637"/>
                <a:gd name="connsiteY20-5862" fmla="*/ 1124252 h 4492350"/>
                <a:gd name="connsiteX21-5863" fmla="*/ 2190307 w 3662637"/>
                <a:gd name="connsiteY21-5864" fmla="*/ 3370521 h 4492350"/>
                <a:gd name="connsiteX22-5865" fmla="*/ 2137144 w 3662637"/>
                <a:gd name="connsiteY22-5866" fmla="*/ 3817088 h 4492350"/>
                <a:gd name="connsiteX23-5867" fmla="*/ 3285460 w 3662637"/>
                <a:gd name="connsiteY23-5868" fmla="*/ 3094074 h 4492350"/>
                <a:gd name="connsiteX24-5869" fmla="*/ 2162419 w 3662637"/>
                <a:gd name="connsiteY24-5870" fmla="*/ 4030951 h 4492350"/>
                <a:gd name="connsiteX25-5871" fmla="*/ 2200940 w 3662637"/>
                <a:gd name="connsiteY25-5872" fmla="*/ 4476307 h 4492350"/>
                <a:gd name="connsiteX26-5873" fmla="*/ 2186296 w 3662637"/>
                <a:gd name="connsiteY26-5874" fmla="*/ 4491415 h 4492350"/>
                <a:gd name="connsiteX27-5875" fmla="*/ 1711842 w 3662637"/>
                <a:gd name="connsiteY27-5876" fmla="*/ 4492350 h 4492350"/>
                <a:gd name="connsiteX0-5877" fmla="*/ 1711842 w 3662637"/>
                <a:gd name="connsiteY0-5878" fmla="*/ 4492350 h 4492350"/>
                <a:gd name="connsiteX1-5879" fmla="*/ 1765005 w 3662637"/>
                <a:gd name="connsiteY1-5880" fmla="*/ 3785190 h 4492350"/>
                <a:gd name="connsiteX2-5881" fmla="*/ 1275907 w 3662637"/>
                <a:gd name="connsiteY2-5882" fmla="*/ 3381153 h 4492350"/>
                <a:gd name="connsiteX3-5883" fmla="*/ 0 w 3662637"/>
                <a:gd name="connsiteY3-5884" fmla="*/ 2945218 h 4492350"/>
                <a:gd name="connsiteX4-5885" fmla="*/ 1111196 w 3662637"/>
                <a:gd name="connsiteY4-5886" fmla="*/ 3238920 h 4492350"/>
                <a:gd name="connsiteX5-5887" fmla="*/ 381560 w 3662637"/>
                <a:gd name="connsiteY5-5888" fmla="*/ 2432058 h 4492350"/>
                <a:gd name="connsiteX6-5889" fmla="*/ 1743740 w 3662637"/>
                <a:gd name="connsiteY6-5890" fmla="*/ 3519376 h 4492350"/>
                <a:gd name="connsiteX7-5891" fmla="*/ 1652058 w 3662637"/>
                <a:gd name="connsiteY7-5892" fmla="*/ 2400346 h 4492350"/>
                <a:gd name="connsiteX8-5893" fmla="*/ 28261 w 3662637"/>
                <a:gd name="connsiteY8-5894" fmla="*/ 742880 h 4492350"/>
                <a:gd name="connsiteX9-5895" fmla="*/ 956930 w 3662637"/>
                <a:gd name="connsiteY9-5896" fmla="*/ 1924493 h 4492350"/>
                <a:gd name="connsiteX10-5897" fmla="*/ 1061670 w 3662637"/>
                <a:gd name="connsiteY10-5898" fmla="*/ 857226 h 4492350"/>
                <a:gd name="connsiteX11-5899" fmla="*/ 1162773 w 3662637"/>
                <a:gd name="connsiteY11-5900" fmla="*/ 2026621 h 4492350"/>
                <a:gd name="connsiteX12-5901" fmla="*/ 1682742 w 3662637"/>
                <a:gd name="connsiteY12-5902" fmla="*/ 2194318 h 4492350"/>
                <a:gd name="connsiteX13-5903" fmla="*/ 1924493 w 3662637"/>
                <a:gd name="connsiteY13-5904" fmla="*/ 0 h 4492350"/>
                <a:gd name="connsiteX14-5905" fmla="*/ 1995936 w 3662637"/>
                <a:gd name="connsiteY14-5906" fmla="*/ 986216 h 4492350"/>
                <a:gd name="connsiteX15-5907" fmla="*/ 1850065 w 3662637"/>
                <a:gd name="connsiteY15-5908" fmla="*/ 2060385 h 4492350"/>
                <a:gd name="connsiteX16-5909" fmla="*/ 2025596 w 3662637"/>
                <a:gd name="connsiteY16-5910" fmla="*/ 3046321 h 4492350"/>
                <a:gd name="connsiteX17-5911" fmla="*/ 2615609 w 3662637"/>
                <a:gd name="connsiteY17-5912" fmla="*/ 2519916 h 4492350"/>
                <a:gd name="connsiteX18-5913" fmla="*/ 2881796 w 3662637"/>
                <a:gd name="connsiteY18-5914" fmla="*/ 1291762 h 4492350"/>
                <a:gd name="connsiteX19-5915" fmla="*/ 2774911 w 3662637"/>
                <a:gd name="connsiteY19-5916" fmla="*/ 2383091 h 4492350"/>
                <a:gd name="connsiteX20-5917" fmla="*/ 3662637 w 3662637"/>
                <a:gd name="connsiteY20-5918" fmla="*/ 1124252 h 4492350"/>
                <a:gd name="connsiteX21-5919" fmla="*/ 2190307 w 3662637"/>
                <a:gd name="connsiteY21-5920" fmla="*/ 3370521 h 4492350"/>
                <a:gd name="connsiteX22-5921" fmla="*/ 2137144 w 3662637"/>
                <a:gd name="connsiteY22-5922" fmla="*/ 3817088 h 4492350"/>
                <a:gd name="connsiteX23-5923" fmla="*/ 3285460 w 3662637"/>
                <a:gd name="connsiteY23-5924" fmla="*/ 3094074 h 4492350"/>
                <a:gd name="connsiteX24-5925" fmla="*/ 2162419 w 3662637"/>
                <a:gd name="connsiteY24-5926" fmla="*/ 4030951 h 4492350"/>
                <a:gd name="connsiteX25-5927" fmla="*/ 2200940 w 3662637"/>
                <a:gd name="connsiteY25-5928" fmla="*/ 4476307 h 4492350"/>
                <a:gd name="connsiteX26-5929" fmla="*/ 2186296 w 3662637"/>
                <a:gd name="connsiteY26-5930" fmla="*/ 4491415 h 4492350"/>
                <a:gd name="connsiteX27-5931" fmla="*/ 1711842 w 3662637"/>
                <a:gd name="connsiteY27-5932" fmla="*/ 4492350 h 4492350"/>
                <a:gd name="connsiteX0-5933" fmla="*/ 1711842 w 3662637"/>
                <a:gd name="connsiteY0-5934" fmla="*/ 4492350 h 4492350"/>
                <a:gd name="connsiteX1-5935" fmla="*/ 1765005 w 3662637"/>
                <a:gd name="connsiteY1-5936" fmla="*/ 3785190 h 4492350"/>
                <a:gd name="connsiteX2-5937" fmla="*/ 1275907 w 3662637"/>
                <a:gd name="connsiteY2-5938" fmla="*/ 3381153 h 4492350"/>
                <a:gd name="connsiteX3-5939" fmla="*/ 0 w 3662637"/>
                <a:gd name="connsiteY3-5940" fmla="*/ 2945218 h 4492350"/>
                <a:gd name="connsiteX4-5941" fmla="*/ 1111196 w 3662637"/>
                <a:gd name="connsiteY4-5942" fmla="*/ 3238920 h 4492350"/>
                <a:gd name="connsiteX5-5943" fmla="*/ 381560 w 3662637"/>
                <a:gd name="connsiteY5-5944" fmla="*/ 2432058 h 4492350"/>
                <a:gd name="connsiteX6-5945" fmla="*/ 1743740 w 3662637"/>
                <a:gd name="connsiteY6-5946" fmla="*/ 3519376 h 4492350"/>
                <a:gd name="connsiteX7-5947" fmla="*/ 1652058 w 3662637"/>
                <a:gd name="connsiteY7-5948" fmla="*/ 2400346 h 4492350"/>
                <a:gd name="connsiteX8-5949" fmla="*/ 28261 w 3662637"/>
                <a:gd name="connsiteY8-5950" fmla="*/ 742880 h 4492350"/>
                <a:gd name="connsiteX9-5951" fmla="*/ 956930 w 3662637"/>
                <a:gd name="connsiteY9-5952" fmla="*/ 1924493 h 4492350"/>
                <a:gd name="connsiteX10-5953" fmla="*/ 1061670 w 3662637"/>
                <a:gd name="connsiteY10-5954" fmla="*/ 857226 h 4492350"/>
                <a:gd name="connsiteX11-5955" fmla="*/ 1162773 w 3662637"/>
                <a:gd name="connsiteY11-5956" fmla="*/ 2026621 h 4492350"/>
                <a:gd name="connsiteX12-5957" fmla="*/ 1682742 w 3662637"/>
                <a:gd name="connsiteY12-5958" fmla="*/ 2194318 h 4492350"/>
                <a:gd name="connsiteX13-5959" fmla="*/ 1924493 w 3662637"/>
                <a:gd name="connsiteY13-5960" fmla="*/ 0 h 4492350"/>
                <a:gd name="connsiteX14-5961" fmla="*/ 1995936 w 3662637"/>
                <a:gd name="connsiteY14-5962" fmla="*/ 986216 h 4492350"/>
                <a:gd name="connsiteX15-5963" fmla="*/ 1850065 w 3662637"/>
                <a:gd name="connsiteY15-5964" fmla="*/ 2060385 h 4492350"/>
                <a:gd name="connsiteX16-5965" fmla="*/ 2025596 w 3662637"/>
                <a:gd name="connsiteY16-5966" fmla="*/ 3046321 h 4492350"/>
                <a:gd name="connsiteX17-5967" fmla="*/ 2615609 w 3662637"/>
                <a:gd name="connsiteY17-5968" fmla="*/ 2519916 h 4492350"/>
                <a:gd name="connsiteX18-5969" fmla="*/ 2881796 w 3662637"/>
                <a:gd name="connsiteY18-5970" fmla="*/ 1291762 h 4492350"/>
                <a:gd name="connsiteX19-5971" fmla="*/ 2774911 w 3662637"/>
                <a:gd name="connsiteY19-5972" fmla="*/ 2383091 h 4492350"/>
                <a:gd name="connsiteX20-5973" fmla="*/ 3662637 w 3662637"/>
                <a:gd name="connsiteY20-5974" fmla="*/ 1124252 h 4492350"/>
                <a:gd name="connsiteX21-5975" fmla="*/ 2190307 w 3662637"/>
                <a:gd name="connsiteY21-5976" fmla="*/ 3370521 h 4492350"/>
                <a:gd name="connsiteX22-5977" fmla="*/ 2137144 w 3662637"/>
                <a:gd name="connsiteY22-5978" fmla="*/ 3817088 h 4492350"/>
                <a:gd name="connsiteX23-5979" fmla="*/ 3285460 w 3662637"/>
                <a:gd name="connsiteY23-5980" fmla="*/ 3094074 h 4492350"/>
                <a:gd name="connsiteX24-5981" fmla="*/ 2162419 w 3662637"/>
                <a:gd name="connsiteY24-5982" fmla="*/ 4030951 h 4492350"/>
                <a:gd name="connsiteX25-5983" fmla="*/ 2200940 w 3662637"/>
                <a:gd name="connsiteY25-5984" fmla="*/ 4476307 h 4492350"/>
                <a:gd name="connsiteX26-5985" fmla="*/ 2186296 w 3662637"/>
                <a:gd name="connsiteY26-5986" fmla="*/ 4491415 h 4492350"/>
                <a:gd name="connsiteX27-5987" fmla="*/ 1711842 w 3662637"/>
                <a:gd name="connsiteY27-5988" fmla="*/ 4492350 h 4492350"/>
                <a:gd name="connsiteX0-5989" fmla="*/ 1711842 w 3662637"/>
                <a:gd name="connsiteY0-5990" fmla="*/ 4492350 h 4492350"/>
                <a:gd name="connsiteX1-5991" fmla="*/ 1765005 w 3662637"/>
                <a:gd name="connsiteY1-5992" fmla="*/ 3785190 h 4492350"/>
                <a:gd name="connsiteX2-5993" fmla="*/ 1275907 w 3662637"/>
                <a:gd name="connsiteY2-5994" fmla="*/ 3381153 h 4492350"/>
                <a:gd name="connsiteX3-5995" fmla="*/ 0 w 3662637"/>
                <a:gd name="connsiteY3-5996" fmla="*/ 2945218 h 4492350"/>
                <a:gd name="connsiteX4-5997" fmla="*/ 1111196 w 3662637"/>
                <a:gd name="connsiteY4-5998" fmla="*/ 3238920 h 4492350"/>
                <a:gd name="connsiteX5-5999" fmla="*/ 381560 w 3662637"/>
                <a:gd name="connsiteY5-6000" fmla="*/ 2432058 h 4492350"/>
                <a:gd name="connsiteX6-6001" fmla="*/ 1743740 w 3662637"/>
                <a:gd name="connsiteY6-6002" fmla="*/ 3519376 h 4492350"/>
                <a:gd name="connsiteX7-6003" fmla="*/ 1652058 w 3662637"/>
                <a:gd name="connsiteY7-6004" fmla="*/ 2400346 h 4492350"/>
                <a:gd name="connsiteX8-6005" fmla="*/ 28261 w 3662637"/>
                <a:gd name="connsiteY8-6006" fmla="*/ 742880 h 4492350"/>
                <a:gd name="connsiteX9-6007" fmla="*/ 956930 w 3662637"/>
                <a:gd name="connsiteY9-6008" fmla="*/ 1924493 h 4492350"/>
                <a:gd name="connsiteX10-6009" fmla="*/ 1061670 w 3662637"/>
                <a:gd name="connsiteY10-6010" fmla="*/ 857226 h 4492350"/>
                <a:gd name="connsiteX11-6011" fmla="*/ 1162773 w 3662637"/>
                <a:gd name="connsiteY11-6012" fmla="*/ 2026621 h 4492350"/>
                <a:gd name="connsiteX12-6013" fmla="*/ 1682742 w 3662637"/>
                <a:gd name="connsiteY12-6014" fmla="*/ 2194318 h 4492350"/>
                <a:gd name="connsiteX13-6015" fmla="*/ 1924493 w 3662637"/>
                <a:gd name="connsiteY13-6016" fmla="*/ 0 h 4492350"/>
                <a:gd name="connsiteX14-6017" fmla="*/ 1995936 w 3662637"/>
                <a:gd name="connsiteY14-6018" fmla="*/ 986216 h 4492350"/>
                <a:gd name="connsiteX15-6019" fmla="*/ 1850065 w 3662637"/>
                <a:gd name="connsiteY15-6020" fmla="*/ 2060385 h 4492350"/>
                <a:gd name="connsiteX16-6021" fmla="*/ 2025596 w 3662637"/>
                <a:gd name="connsiteY16-6022" fmla="*/ 3046321 h 4492350"/>
                <a:gd name="connsiteX17-6023" fmla="*/ 2615609 w 3662637"/>
                <a:gd name="connsiteY17-6024" fmla="*/ 2519916 h 4492350"/>
                <a:gd name="connsiteX18-6025" fmla="*/ 2881796 w 3662637"/>
                <a:gd name="connsiteY18-6026" fmla="*/ 1291762 h 4492350"/>
                <a:gd name="connsiteX19-6027" fmla="*/ 2774911 w 3662637"/>
                <a:gd name="connsiteY19-6028" fmla="*/ 2383091 h 4492350"/>
                <a:gd name="connsiteX20-6029" fmla="*/ 3662637 w 3662637"/>
                <a:gd name="connsiteY20-6030" fmla="*/ 1124252 h 4492350"/>
                <a:gd name="connsiteX21-6031" fmla="*/ 2190307 w 3662637"/>
                <a:gd name="connsiteY21-6032" fmla="*/ 3370521 h 4492350"/>
                <a:gd name="connsiteX22-6033" fmla="*/ 2137144 w 3662637"/>
                <a:gd name="connsiteY22-6034" fmla="*/ 3817088 h 4492350"/>
                <a:gd name="connsiteX23-6035" fmla="*/ 3285460 w 3662637"/>
                <a:gd name="connsiteY23-6036" fmla="*/ 3094074 h 4492350"/>
                <a:gd name="connsiteX24-6037" fmla="*/ 2162419 w 3662637"/>
                <a:gd name="connsiteY24-6038" fmla="*/ 4030951 h 4492350"/>
                <a:gd name="connsiteX25-6039" fmla="*/ 2200940 w 3662637"/>
                <a:gd name="connsiteY25-6040" fmla="*/ 4476307 h 4492350"/>
                <a:gd name="connsiteX26-6041" fmla="*/ 2186296 w 3662637"/>
                <a:gd name="connsiteY26-6042" fmla="*/ 4491415 h 4492350"/>
                <a:gd name="connsiteX27-6043" fmla="*/ 1711842 w 3662637"/>
                <a:gd name="connsiteY27-6044" fmla="*/ 4492350 h 4492350"/>
                <a:gd name="connsiteX0-6045" fmla="*/ 1711842 w 3662637"/>
                <a:gd name="connsiteY0-6046" fmla="*/ 4492350 h 4492350"/>
                <a:gd name="connsiteX1-6047" fmla="*/ 1765005 w 3662637"/>
                <a:gd name="connsiteY1-6048" fmla="*/ 3785190 h 4492350"/>
                <a:gd name="connsiteX2-6049" fmla="*/ 1275907 w 3662637"/>
                <a:gd name="connsiteY2-6050" fmla="*/ 3381153 h 4492350"/>
                <a:gd name="connsiteX3-6051" fmla="*/ 0 w 3662637"/>
                <a:gd name="connsiteY3-6052" fmla="*/ 2945218 h 4492350"/>
                <a:gd name="connsiteX4-6053" fmla="*/ 1111196 w 3662637"/>
                <a:gd name="connsiteY4-6054" fmla="*/ 3238920 h 4492350"/>
                <a:gd name="connsiteX5-6055" fmla="*/ 381560 w 3662637"/>
                <a:gd name="connsiteY5-6056" fmla="*/ 2432058 h 4492350"/>
                <a:gd name="connsiteX6-6057" fmla="*/ 1743740 w 3662637"/>
                <a:gd name="connsiteY6-6058" fmla="*/ 3519376 h 4492350"/>
                <a:gd name="connsiteX7-6059" fmla="*/ 1652058 w 3662637"/>
                <a:gd name="connsiteY7-6060" fmla="*/ 2400346 h 4492350"/>
                <a:gd name="connsiteX8-6061" fmla="*/ 28261 w 3662637"/>
                <a:gd name="connsiteY8-6062" fmla="*/ 742880 h 4492350"/>
                <a:gd name="connsiteX9-6063" fmla="*/ 956930 w 3662637"/>
                <a:gd name="connsiteY9-6064" fmla="*/ 1924493 h 4492350"/>
                <a:gd name="connsiteX10-6065" fmla="*/ 1061670 w 3662637"/>
                <a:gd name="connsiteY10-6066" fmla="*/ 857226 h 4492350"/>
                <a:gd name="connsiteX11-6067" fmla="*/ 1162773 w 3662637"/>
                <a:gd name="connsiteY11-6068" fmla="*/ 2026621 h 4492350"/>
                <a:gd name="connsiteX12-6069" fmla="*/ 1682742 w 3662637"/>
                <a:gd name="connsiteY12-6070" fmla="*/ 2194318 h 4492350"/>
                <a:gd name="connsiteX13-6071" fmla="*/ 1924493 w 3662637"/>
                <a:gd name="connsiteY13-6072" fmla="*/ 0 h 4492350"/>
                <a:gd name="connsiteX14-6073" fmla="*/ 1995936 w 3662637"/>
                <a:gd name="connsiteY14-6074" fmla="*/ 986216 h 4492350"/>
                <a:gd name="connsiteX15-6075" fmla="*/ 1850065 w 3662637"/>
                <a:gd name="connsiteY15-6076" fmla="*/ 2060385 h 4492350"/>
                <a:gd name="connsiteX16-6077" fmla="*/ 2025596 w 3662637"/>
                <a:gd name="connsiteY16-6078" fmla="*/ 3046321 h 4492350"/>
                <a:gd name="connsiteX17-6079" fmla="*/ 2615609 w 3662637"/>
                <a:gd name="connsiteY17-6080" fmla="*/ 2519916 h 4492350"/>
                <a:gd name="connsiteX18-6081" fmla="*/ 2881796 w 3662637"/>
                <a:gd name="connsiteY18-6082" fmla="*/ 1291762 h 4492350"/>
                <a:gd name="connsiteX19-6083" fmla="*/ 2774911 w 3662637"/>
                <a:gd name="connsiteY19-6084" fmla="*/ 2383091 h 4492350"/>
                <a:gd name="connsiteX20-6085" fmla="*/ 3662637 w 3662637"/>
                <a:gd name="connsiteY20-6086" fmla="*/ 1124252 h 4492350"/>
                <a:gd name="connsiteX21-6087" fmla="*/ 2190307 w 3662637"/>
                <a:gd name="connsiteY21-6088" fmla="*/ 3370521 h 4492350"/>
                <a:gd name="connsiteX22-6089" fmla="*/ 2137144 w 3662637"/>
                <a:gd name="connsiteY22-6090" fmla="*/ 3817088 h 4492350"/>
                <a:gd name="connsiteX23-6091" fmla="*/ 3285460 w 3662637"/>
                <a:gd name="connsiteY23-6092" fmla="*/ 3094074 h 4492350"/>
                <a:gd name="connsiteX24-6093" fmla="*/ 2162419 w 3662637"/>
                <a:gd name="connsiteY24-6094" fmla="*/ 4030951 h 4492350"/>
                <a:gd name="connsiteX25-6095" fmla="*/ 2200940 w 3662637"/>
                <a:gd name="connsiteY25-6096" fmla="*/ 4476307 h 4492350"/>
                <a:gd name="connsiteX26-6097" fmla="*/ 2186296 w 3662637"/>
                <a:gd name="connsiteY26-6098" fmla="*/ 4491415 h 4492350"/>
                <a:gd name="connsiteX27-6099" fmla="*/ 1711842 w 3662637"/>
                <a:gd name="connsiteY27-6100" fmla="*/ 4492350 h 4492350"/>
                <a:gd name="connsiteX0-6101" fmla="*/ 1711842 w 3662637"/>
                <a:gd name="connsiteY0-6102" fmla="*/ 4492350 h 4492350"/>
                <a:gd name="connsiteX1-6103" fmla="*/ 1765005 w 3662637"/>
                <a:gd name="connsiteY1-6104" fmla="*/ 3785190 h 4492350"/>
                <a:gd name="connsiteX2-6105" fmla="*/ 1275907 w 3662637"/>
                <a:gd name="connsiteY2-6106" fmla="*/ 3381153 h 4492350"/>
                <a:gd name="connsiteX3-6107" fmla="*/ 0 w 3662637"/>
                <a:gd name="connsiteY3-6108" fmla="*/ 2945218 h 4492350"/>
                <a:gd name="connsiteX4-6109" fmla="*/ 1111196 w 3662637"/>
                <a:gd name="connsiteY4-6110" fmla="*/ 3238920 h 4492350"/>
                <a:gd name="connsiteX5-6111" fmla="*/ 381560 w 3662637"/>
                <a:gd name="connsiteY5-6112" fmla="*/ 2432058 h 4492350"/>
                <a:gd name="connsiteX6-6113" fmla="*/ 1743740 w 3662637"/>
                <a:gd name="connsiteY6-6114" fmla="*/ 3519376 h 4492350"/>
                <a:gd name="connsiteX7-6115" fmla="*/ 1652058 w 3662637"/>
                <a:gd name="connsiteY7-6116" fmla="*/ 2400346 h 4492350"/>
                <a:gd name="connsiteX8-6117" fmla="*/ 28261 w 3662637"/>
                <a:gd name="connsiteY8-6118" fmla="*/ 742880 h 4492350"/>
                <a:gd name="connsiteX9-6119" fmla="*/ 956930 w 3662637"/>
                <a:gd name="connsiteY9-6120" fmla="*/ 1924493 h 4492350"/>
                <a:gd name="connsiteX10-6121" fmla="*/ 1061670 w 3662637"/>
                <a:gd name="connsiteY10-6122" fmla="*/ 857226 h 4492350"/>
                <a:gd name="connsiteX11-6123" fmla="*/ 1162773 w 3662637"/>
                <a:gd name="connsiteY11-6124" fmla="*/ 2026621 h 4492350"/>
                <a:gd name="connsiteX12-6125" fmla="*/ 1682742 w 3662637"/>
                <a:gd name="connsiteY12-6126" fmla="*/ 2194318 h 4492350"/>
                <a:gd name="connsiteX13-6127" fmla="*/ 1924493 w 3662637"/>
                <a:gd name="connsiteY13-6128" fmla="*/ 0 h 4492350"/>
                <a:gd name="connsiteX14-6129" fmla="*/ 1995936 w 3662637"/>
                <a:gd name="connsiteY14-6130" fmla="*/ 986216 h 4492350"/>
                <a:gd name="connsiteX15-6131" fmla="*/ 1850065 w 3662637"/>
                <a:gd name="connsiteY15-6132" fmla="*/ 2060385 h 4492350"/>
                <a:gd name="connsiteX16-6133" fmla="*/ 2025596 w 3662637"/>
                <a:gd name="connsiteY16-6134" fmla="*/ 3046321 h 4492350"/>
                <a:gd name="connsiteX17-6135" fmla="*/ 2615609 w 3662637"/>
                <a:gd name="connsiteY17-6136" fmla="*/ 2519916 h 4492350"/>
                <a:gd name="connsiteX18-6137" fmla="*/ 2881796 w 3662637"/>
                <a:gd name="connsiteY18-6138" fmla="*/ 1291762 h 4492350"/>
                <a:gd name="connsiteX19-6139" fmla="*/ 2774911 w 3662637"/>
                <a:gd name="connsiteY19-6140" fmla="*/ 2383091 h 4492350"/>
                <a:gd name="connsiteX20-6141" fmla="*/ 3662637 w 3662637"/>
                <a:gd name="connsiteY20-6142" fmla="*/ 1124252 h 4492350"/>
                <a:gd name="connsiteX21-6143" fmla="*/ 2190307 w 3662637"/>
                <a:gd name="connsiteY21-6144" fmla="*/ 3370521 h 4492350"/>
                <a:gd name="connsiteX22-6145" fmla="*/ 2137144 w 3662637"/>
                <a:gd name="connsiteY22-6146" fmla="*/ 3817088 h 4492350"/>
                <a:gd name="connsiteX23-6147" fmla="*/ 3285460 w 3662637"/>
                <a:gd name="connsiteY23-6148" fmla="*/ 3094074 h 4492350"/>
                <a:gd name="connsiteX24-6149" fmla="*/ 2162419 w 3662637"/>
                <a:gd name="connsiteY24-6150" fmla="*/ 4030951 h 4492350"/>
                <a:gd name="connsiteX25-6151" fmla="*/ 2200940 w 3662637"/>
                <a:gd name="connsiteY25-6152" fmla="*/ 4476307 h 4492350"/>
                <a:gd name="connsiteX26-6153" fmla="*/ 2186296 w 3662637"/>
                <a:gd name="connsiteY26-6154" fmla="*/ 4491415 h 4492350"/>
                <a:gd name="connsiteX27-6155" fmla="*/ 1711842 w 3662637"/>
                <a:gd name="connsiteY27-6156" fmla="*/ 4492350 h 4492350"/>
                <a:gd name="connsiteX0-6157" fmla="*/ 1711842 w 3662637"/>
                <a:gd name="connsiteY0-6158" fmla="*/ 4492350 h 4492350"/>
                <a:gd name="connsiteX1-6159" fmla="*/ 1765005 w 3662637"/>
                <a:gd name="connsiteY1-6160" fmla="*/ 3785190 h 4492350"/>
                <a:gd name="connsiteX2-6161" fmla="*/ 1275907 w 3662637"/>
                <a:gd name="connsiteY2-6162" fmla="*/ 3381153 h 4492350"/>
                <a:gd name="connsiteX3-6163" fmla="*/ 0 w 3662637"/>
                <a:gd name="connsiteY3-6164" fmla="*/ 2945218 h 4492350"/>
                <a:gd name="connsiteX4-6165" fmla="*/ 1111196 w 3662637"/>
                <a:gd name="connsiteY4-6166" fmla="*/ 3238920 h 4492350"/>
                <a:gd name="connsiteX5-6167" fmla="*/ 381560 w 3662637"/>
                <a:gd name="connsiteY5-6168" fmla="*/ 2432058 h 4492350"/>
                <a:gd name="connsiteX6-6169" fmla="*/ 1743740 w 3662637"/>
                <a:gd name="connsiteY6-6170" fmla="*/ 3519376 h 4492350"/>
                <a:gd name="connsiteX7-6171" fmla="*/ 1652058 w 3662637"/>
                <a:gd name="connsiteY7-6172" fmla="*/ 2400346 h 4492350"/>
                <a:gd name="connsiteX8-6173" fmla="*/ 28261 w 3662637"/>
                <a:gd name="connsiteY8-6174" fmla="*/ 742880 h 4492350"/>
                <a:gd name="connsiteX9-6175" fmla="*/ 956930 w 3662637"/>
                <a:gd name="connsiteY9-6176" fmla="*/ 1924493 h 4492350"/>
                <a:gd name="connsiteX10-6177" fmla="*/ 1061670 w 3662637"/>
                <a:gd name="connsiteY10-6178" fmla="*/ 857226 h 4492350"/>
                <a:gd name="connsiteX11-6179" fmla="*/ 1162773 w 3662637"/>
                <a:gd name="connsiteY11-6180" fmla="*/ 2026621 h 4492350"/>
                <a:gd name="connsiteX12-6181" fmla="*/ 1682742 w 3662637"/>
                <a:gd name="connsiteY12-6182" fmla="*/ 2194318 h 4492350"/>
                <a:gd name="connsiteX13-6183" fmla="*/ 1924493 w 3662637"/>
                <a:gd name="connsiteY13-6184" fmla="*/ 0 h 4492350"/>
                <a:gd name="connsiteX14-6185" fmla="*/ 1995936 w 3662637"/>
                <a:gd name="connsiteY14-6186" fmla="*/ 986216 h 4492350"/>
                <a:gd name="connsiteX15-6187" fmla="*/ 1850065 w 3662637"/>
                <a:gd name="connsiteY15-6188" fmla="*/ 2060385 h 4492350"/>
                <a:gd name="connsiteX16-6189" fmla="*/ 2025596 w 3662637"/>
                <a:gd name="connsiteY16-6190" fmla="*/ 3046321 h 4492350"/>
                <a:gd name="connsiteX17-6191" fmla="*/ 2615609 w 3662637"/>
                <a:gd name="connsiteY17-6192" fmla="*/ 2519916 h 4492350"/>
                <a:gd name="connsiteX18-6193" fmla="*/ 2881796 w 3662637"/>
                <a:gd name="connsiteY18-6194" fmla="*/ 1291762 h 4492350"/>
                <a:gd name="connsiteX19-6195" fmla="*/ 2774911 w 3662637"/>
                <a:gd name="connsiteY19-6196" fmla="*/ 2383091 h 4492350"/>
                <a:gd name="connsiteX20-6197" fmla="*/ 3662637 w 3662637"/>
                <a:gd name="connsiteY20-6198" fmla="*/ 1124252 h 4492350"/>
                <a:gd name="connsiteX21-6199" fmla="*/ 2190307 w 3662637"/>
                <a:gd name="connsiteY21-6200" fmla="*/ 3370521 h 4492350"/>
                <a:gd name="connsiteX22-6201" fmla="*/ 2137144 w 3662637"/>
                <a:gd name="connsiteY22-6202" fmla="*/ 3817088 h 4492350"/>
                <a:gd name="connsiteX23-6203" fmla="*/ 3285460 w 3662637"/>
                <a:gd name="connsiteY23-6204" fmla="*/ 3094074 h 4492350"/>
                <a:gd name="connsiteX24-6205" fmla="*/ 2162419 w 3662637"/>
                <a:gd name="connsiteY24-6206" fmla="*/ 4030951 h 4492350"/>
                <a:gd name="connsiteX25-6207" fmla="*/ 2200940 w 3662637"/>
                <a:gd name="connsiteY25-6208" fmla="*/ 4476307 h 4492350"/>
                <a:gd name="connsiteX26-6209" fmla="*/ 2186296 w 3662637"/>
                <a:gd name="connsiteY26-6210" fmla="*/ 4491415 h 4492350"/>
                <a:gd name="connsiteX27-6211" fmla="*/ 1711842 w 3662637"/>
                <a:gd name="connsiteY27-6212" fmla="*/ 4492350 h 4492350"/>
                <a:gd name="connsiteX0-6213" fmla="*/ 1687779 w 3638574"/>
                <a:gd name="connsiteY0-6214" fmla="*/ 4492350 h 4492350"/>
                <a:gd name="connsiteX1-6215" fmla="*/ 1740942 w 3638574"/>
                <a:gd name="connsiteY1-6216" fmla="*/ 3785190 h 4492350"/>
                <a:gd name="connsiteX2-6217" fmla="*/ 1251844 w 3638574"/>
                <a:gd name="connsiteY2-6218" fmla="*/ 3381153 h 4492350"/>
                <a:gd name="connsiteX3-6219" fmla="*/ 0 w 3638574"/>
                <a:gd name="connsiteY3-6220" fmla="*/ 2917145 h 4492350"/>
                <a:gd name="connsiteX4-6221" fmla="*/ 1087133 w 3638574"/>
                <a:gd name="connsiteY4-6222" fmla="*/ 3238920 h 4492350"/>
                <a:gd name="connsiteX5-6223" fmla="*/ 357497 w 3638574"/>
                <a:gd name="connsiteY5-6224" fmla="*/ 2432058 h 4492350"/>
                <a:gd name="connsiteX6-6225" fmla="*/ 1719677 w 3638574"/>
                <a:gd name="connsiteY6-6226" fmla="*/ 3519376 h 4492350"/>
                <a:gd name="connsiteX7-6227" fmla="*/ 1627995 w 3638574"/>
                <a:gd name="connsiteY7-6228" fmla="*/ 2400346 h 4492350"/>
                <a:gd name="connsiteX8-6229" fmla="*/ 4198 w 3638574"/>
                <a:gd name="connsiteY8-6230" fmla="*/ 742880 h 4492350"/>
                <a:gd name="connsiteX9-6231" fmla="*/ 932867 w 3638574"/>
                <a:gd name="connsiteY9-6232" fmla="*/ 1924493 h 4492350"/>
                <a:gd name="connsiteX10-6233" fmla="*/ 1037607 w 3638574"/>
                <a:gd name="connsiteY10-6234" fmla="*/ 857226 h 4492350"/>
                <a:gd name="connsiteX11-6235" fmla="*/ 1138710 w 3638574"/>
                <a:gd name="connsiteY11-6236" fmla="*/ 2026621 h 4492350"/>
                <a:gd name="connsiteX12-6237" fmla="*/ 1658679 w 3638574"/>
                <a:gd name="connsiteY12-6238" fmla="*/ 2194318 h 4492350"/>
                <a:gd name="connsiteX13-6239" fmla="*/ 1900430 w 3638574"/>
                <a:gd name="connsiteY13-6240" fmla="*/ 0 h 4492350"/>
                <a:gd name="connsiteX14-6241" fmla="*/ 1971873 w 3638574"/>
                <a:gd name="connsiteY14-6242" fmla="*/ 986216 h 4492350"/>
                <a:gd name="connsiteX15-6243" fmla="*/ 1826002 w 3638574"/>
                <a:gd name="connsiteY15-6244" fmla="*/ 2060385 h 4492350"/>
                <a:gd name="connsiteX16-6245" fmla="*/ 2001533 w 3638574"/>
                <a:gd name="connsiteY16-6246" fmla="*/ 3046321 h 4492350"/>
                <a:gd name="connsiteX17-6247" fmla="*/ 2591546 w 3638574"/>
                <a:gd name="connsiteY17-6248" fmla="*/ 2519916 h 4492350"/>
                <a:gd name="connsiteX18-6249" fmla="*/ 2857733 w 3638574"/>
                <a:gd name="connsiteY18-6250" fmla="*/ 1291762 h 4492350"/>
                <a:gd name="connsiteX19-6251" fmla="*/ 2750848 w 3638574"/>
                <a:gd name="connsiteY19-6252" fmla="*/ 2383091 h 4492350"/>
                <a:gd name="connsiteX20-6253" fmla="*/ 3638574 w 3638574"/>
                <a:gd name="connsiteY20-6254" fmla="*/ 1124252 h 4492350"/>
                <a:gd name="connsiteX21-6255" fmla="*/ 2166244 w 3638574"/>
                <a:gd name="connsiteY21-6256" fmla="*/ 3370521 h 4492350"/>
                <a:gd name="connsiteX22-6257" fmla="*/ 2113081 w 3638574"/>
                <a:gd name="connsiteY22-6258" fmla="*/ 3817088 h 4492350"/>
                <a:gd name="connsiteX23-6259" fmla="*/ 3261397 w 3638574"/>
                <a:gd name="connsiteY23-6260" fmla="*/ 3094074 h 4492350"/>
                <a:gd name="connsiteX24-6261" fmla="*/ 2138356 w 3638574"/>
                <a:gd name="connsiteY24-6262" fmla="*/ 4030951 h 4492350"/>
                <a:gd name="connsiteX25-6263" fmla="*/ 2176877 w 3638574"/>
                <a:gd name="connsiteY25-6264" fmla="*/ 4476307 h 4492350"/>
                <a:gd name="connsiteX26-6265" fmla="*/ 2162233 w 3638574"/>
                <a:gd name="connsiteY26-6266" fmla="*/ 4491415 h 4492350"/>
                <a:gd name="connsiteX27-6267" fmla="*/ 1687779 w 3638574"/>
                <a:gd name="connsiteY27-6268" fmla="*/ 4492350 h 4492350"/>
                <a:gd name="connsiteX0-6269" fmla="*/ 1687779 w 3638574"/>
                <a:gd name="connsiteY0-6270" fmla="*/ 4492350 h 4492350"/>
                <a:gd name="connsiteX1-6271" fmla="*/ 1740942 w 3638574"/>
                <a:gd name="connsiteY1-6272" fmla="*/ 3785190 h 4492350"/>
                <a:gd name="connsiteX2-6273" fmla="*/ 1251844 w 3638574"/>
                <a:gd name="connsiteY2-6274" fmla="*/ 3381153 h 4492350"/>
                <a:gd name="connsiteX3-6275" fmla="*/ 0 w 3638574"/>
                <a:gd name="connsiteY3-6276" fmla="*/ 2917145 h 4492350"/>
                <a:gd name="connsiteX4-6277" fmla="*/ 1087133 w 3638574"/>
                <a:gd name="connsiteY4-6278" fmla="*/ 3238920 h 4492350"/>
                <a:gd name="connsiteX5-6279" fmla="*/ 357497 w 3638574"/>
                <a:gd name="connsiteY5-6280" fmla="*/ 2432058 h 4492350"/>
                <a:gd name="connsiteX6-6281" fmla="*/ 1719677 w 3638574"/>
                <a:gd name="connsiteY6-6282" fmla="*/ 3519376 h 4492350"/>
                <a:gd name="connsiteX7-6283" fmla="*/ 1627995 w 3638574"/>
                <a:gd name="connsiteY7-6284" fmla="*/ 2400346 h 4492350"/>
                <a:gd name="connsiteX8-6285" fmla="*/ 4198 w 3638574"/>
                <a:gd name="connsiteY8-6286" fmla="*/ 742880 h 4492350"/>
                <a:gd name="connsiteX9-6287" fmla="*/ 932867 w 3638574"/>
                <a:gd name="connsiteY9-6288" fmla="*/ 1924493 h 4492350"/>
                <a:gd name="connsiteX10-6289" fmla="*/ 1037607 w 3638574"/>
                <a:gd name="connsiteY10-6290" fmla="*/ 857226 h 4492350"/>
                <a:gd name="connsiteX11-6291" fmla="*/ 1138710 w 3638574"/>
                <a:gd name="connsiteY11-6292" fmla="*/ 2026621 h 4492350"/>
                <a:gd name="connsiteX12-6293" fmla="*/ 1658679 w 3638574"/>
                <a:gd name="connsiteY12-6294" fmla="*/ 2194318 h 4492350"/>
                <a:gd name="connsiteX13-6295" fmla="*/ 1900430 w 3638574"/>
                <a:gd name="connsiteY13-6296" fmla="*/ 0 h 4492350"/>
                <a:gd name="connsiteX14-6297" fmla="*/ 1971873 w 3638574"/>
                <a:gd name="connsiteY14-6298" fmla="*/ 986216 h 4492350"/>
                <a:gd name="connsiteX15-6299" fmla="*/ 1826002 w 3638574"/>
                <a:gd name="connsiteY15-6300" fmla="*/ 2060385 h 4492350"/>
                <a:gd name="connsiteX16-6301" fmla="*/ 2001533 w 3638574"/>
                <a:gd name="connsiteY16-6302" fmla="*/ 3046321 h 4492350"/>
                <a:gd name="connsiteX17-6303" fmla="*/ 2591546 w 3638574"/>
                <a:gd name="connsiteY17-6304" fmla="*/ 2519916 h 4492350"/>
                <a:gd name="connsiteX18-6305" fmla="*/ 2857733 w 3638574"/>
                <a:gd name="connsiteY18-6306" fmla="*/ 1291762 h 4492350"/>
                <a:gd name="connsiteX19-6307" fmla="*/ 2750848 w 3638574"/>
                <a:gd name="connsiteY19-6308" fmla="*/ 2383091 h 4492350"/>
                <a:gd name="connsiteX20-6309" fmla="*/ 3638574 w 3638574"/>
                <a:gd name="connsiteY20-6310" fmla="*/ 1124252 h 4492350"/>
                <a:gd name="connsiteX21-6311" fmla="*/ 2166244 w 3638574"/>
                <a:gd name="connsiteY21-6312" fmla="*/ 3370521 h 4492350"/>
                <a:gd name="connsiteX22-6313" fmla="*/ 2113081 w 3638574"/>
                <a:gd name="connsiteY22-6314" fmla="*/ 3817088 h 4492350"/>
                <a:gd name="connsiteX23-6315" fmla="*/ 3261397 w 3638574"/>
                <a:gd name="connsiteY23-6316" fmla="*/ 3094074 h 4492350"/>
                <a:gd name="connsiteX24-6317" fmla="*/ 2138356 w 3638574"/>
                <a:gd name="connsiteY24-6318" fmla="*/ 4030951 h 4492350"/>
                <a:gd name="connsiteX25-6319" fmla="*/ 2176877 w 3638574"/>
                <a:gd name="connsiteY25-6320" fmla="*/ 4476307 h 4492350"/>
                <a:gd name="connsiteX26-6321" fmla="*/ 2162233 w 3638574"/>
                <a:gd name="connsiteY26-6322" fmla="*/ 4491415 h 4492350"/>
                <a:gd name="connsiteX27-6323" fmla="*/ 1687779 w 3638574"/>
                <a:gd name="connsiteY27-6324" fmla="*/ 4492350 h 4492350"/>
                <a:gd name="connsiteX0-6325" fmla="*/ 1687779 w 3638574"/>
                <a:gd name="connsiteY0-6326" fmla="*/ 4492350 h 4492350"/>
                <a:gd name="connsiteX1-6327" fmla="*/ 1740942 w 3638574"/>
                <a:gd name="connsiteY1-6328" fmla="*/ 3785190 h 4492350"/>
                <a:gd name="connsiteX2-6329" fmla="*/ 1251844 w 3638574"/>
                <a:gd name="connsiteY2-6330" fmla="*/ 3381153 h 4492350"/>
                <a:gd name="connsiteX3-6331" fmla="*/ 0 w 3638574"/>
                <a:gd name="connsiteY3-6332" fmla="*/ 2917145 h 4492350"/>
                <a:gd name="connsiteX4-6333" fmla="*/ 1087133 w 3638574"/>
                <a:gd name="connsiteY4-6334" fmla="*/ 3238920 h 4492350"/>
                <a:gd name="connsiteX5-6335" fmla="*/ 357497 w 3638574"/>
                <a:gd name="connsiteY5-6336" fmla="*/ 2432058 h 4492350"/>
                <a:gd name="connsiteX6-6337" fmla="*/ 1719677 w 3638574"/>
                <a:gd name="connsiteY6-6338" fmla="*/ 3519376 h 4492350"/>
                <a:gd name="connsiteX7-6339" fmla="*/ 1627995 w 3638574"/>
                <a:gd name="connsiteY7-6340" fmla="*/ 2400346 h 4492350"/>
                <a:gd name="connsiteX8-6341" fmla="*/ 4198 w 3638574"/>
                <a:gd name="connsiteY8-6342" fmla="*/ 742880 h 4492350"/>
                <a:gd name="connsiteX9-6343" fmla="*/ 932867 w 3638574"/>
                <a:gd name="connsiteY9-6344" fmla="*/ 1924493 h 4492350"/>
                <a:gd name="connsiteX10-6345" fmla="*/ 1037607 w 3638574"/>
                <a:gd name="connsiteY10-6346" fmla="*/ 857226 h 4492350"/>
                <a:gd name="connsiteX11-6347" fmla="*/ 1138710 w 3638574"/>
                <a:gd name="connsiteY11-6348" fmla="*/ 2026621 h 4492350"/>
                <a:gd name="connsiteX12-6349" fmla="*/ 1658679 w 3638574"/>
                <a:gd name="connsiteY12-6350" fmla="*/ 2194318 h 4492350"/>
                <a:gd name="connsiteX13-6351" fmla="*/ 1900430 w 3638574"/>
                <a:gd name="connsiteY13-6352" fmla="*/ 0 h 4492350"/>
                <a:gd name="connsiteX14-6353" fmla="*/ 1971873 w 3638574"/>
                <a:gd name="connsiteY14-6354" fmla="*/ 986216 h 4492350"/>
                <a:gd name="connsiteX15-6355" fmla="*/ 1826002 w 3638574"/>
                <a:gd name="connsiteY15-6356" fmla="*/ 2060385 h 4492350"/>
                <a:gd name="connsiteX16-6357" fmla="*/ 2001533 w 3638574"/>
                <a:gd name="connsiteY16-6358" fmla="*/ 3046321 h 4492350"/>
                <a:gd name="connsiteX17-6359" fmla="*/ 2591546 w 3638574"/>
                <a:gd name="connsiteY17-6360" fmla="*/ 2519916 h 4492350"/>
                <a:gd name="connsiteX18-6361" fmla="*/ 2857733 w 3638574"/>
                <a:gd name="connsiteY18-6362" fmla="*/ 1291762 h 4492350"/>
                <a:gd name="connsiteX19-6363" fmla="*/ 2750848 w 3638574"/>
                <a:gd name="connsiteY19-6364" fmla="*/ 2383091 h 4492350"/>
                <a:gd name="connsiteX20-6365" fmla="*/ 3638574 w 3638574"/>
                <a:gd name="connsiteY20-6366" fmla="*/ 1124252 h 4492350"/>
                <a:gd name="connsiteX21-6367" fmla="*/ 2166244 w 3638574"/>
                <a:gd name="connsiteY21-6368" fmla="*/ 3370521 h 4492350"/>
                <a:gd name="connsiteX22-6369" fmla="*/ 2113081 w 3638574"/>
                <a:gd name="connsiteY22-6370" fmla="*/ 3817088 h 4492350"/>
                <a:gd name="connsiteX23-6371" fmla="*/ 3261397 w 3638574"/>
                <a:gd name="connsiteY23-6372" fmla="*/ 3094074 h 4492350"/>
                <a:gd name="connsiteX24-6373" fmla="*/ 2138356 w 3638574"/>
                <a:gd name="connsiteY24-6374" fmla="*/ 4030951 h 4492350"/>
                <a:gd name="connsiteX25-6375" fmla="*/ 2176877 w 3638574"/>
                <a:gd name="connsiteY25-6376" fmla="*/ 4476307 h 4492350"/>
                <a:gd name="connsiteX26-6377" fmla="*/ 2162233 w 3638574"/>
                <a:gd name="connsiteY26-6378" fmla="*/ 4491415 h 4492350"/>
                <a:gd name="connsiteX27-6379" fmla="*/ 1687779 w 3638574"/>
                <a:gd name="connsiteY27-6380" fmla="*/ 4492350 h 4492350"/>
                <a:gd name="connsiteX0-6381" fmla="*/ 1687779 w 3638574"/>
                <a:gd name="connsiteY0-6382" fmla="*/ 4492350 h 4492350"/>
                <a:gd name="connsiteX1-6383" fmla="*/ 1740942 w 3638574"/>
                <a:gd name="connsiteY1-6384" fmla="*/ 3785190 h 4492350"/>
                <a:gd name="connsiteX2-6385" fmla="*/ 1239812 w 3638574"/>
                <a:gd name="connsiteY2-6386" fmla="*/ 3369121 h 4492350"/>
                <a:gd name="connsiteX3-6387" fmla="*/ 0 w 3638574"/>
                <a:gd name="connsiteY3-6388" fmla="*/ 2917145 h 4492350"/>
                <a:gd name="connsiteX4-6389" fmla="*/ 1087133 w 3638574"/>
                <a:gd name="connsiteY4-6390" fmla="*/ 3238920 h 4492350"/>
                <a:gd name="connsiteX5-6391" fmla="*/ 357497 w 3638574"/>
                <a:gd name="connsiteY5-6392" fmla="*/ 2432058 h 4492350"/>
                <a:gd name="connsiteX6-6393" fmla="*/ 1719677 w 3638574"/>
                <a:gd name="connsiteY6-6394" fmla="*/ 3519376 h 4492350"/>
                <a:gd name="connsiteX7-6395" fmla="*/ 1627995 w 3638574"/>
                <a:gd name="connsiteY7-6396" fmla="*/ 2400346 h 4492350"/>
                <a:gd name="connsiteX8-6397" fmla="*/ 4198 w 3638574"/>
                <a:gd name="connsiteY8-6398" fmla="*/ 742880 h 4492350"/>
                <a:gd name="connsiteX9-6399" fmla="*/ 932867 w 3638574"/>
                <a:gd name="connsiteY9-6400" fmla="*/ 1924493 h 4492350"/>
                <a:gd name="connsiteX10-6401" fmla="*/ 1037607 w 3638574"/>
                <a:gd name="connsiteY10-6402" fmla="*/ 857226 h 4492350"/>
                <a:gd name="connsiteX11-6403" fmla="*/ 1138710 w 3638574"/>
                <a:gd name="connsiteY11-6404" fmla="*/ 2026621 h 4492350"/>
                <a:gd name="connsiteX12-6405" fmla="*/ 1658679 w 3638574"/>
                <a:gd name="connsiteY12-6406" fmla="*/ 2194318 h 4492350"/>
                <a:gd name="connsiteX13-6407" fmla="*/ 1900430 w 3638574"/>
                <a:gd name="connsiteY13-6408" fmla="*/ 0 h 4492350"/>
                <a:gd name="connsiteX14-6409" fmla="*/ 1971873 w 3638574"/>
                <a:gd name="connsiteY14-6410" fmla="*/ 986216 h 4492350"/>
                <a:gd name="connsiteX15-6411" fmla="*/ 1826002 w 3638574"/>
                <a:gd name="connsiteY15-6412" fmla="*/ 2060385 h 4492350"/>
                <a:gd name="connsiteX16-6413" fmla="*/ 2001533 w 3638574"/>
                <a:gd name="connsiteY16-6414" fmla="*/ 3046321 h 4492350"/>
                <a:gd name="connsiteX17-6415" fmla="*/ 2591546 w 3638574"/>
                <a:gd name="connsiteY17-6416" fmla="*/ 2519916 h 4492350"/>
                <a:gd name="connsiteX18-6417" fmla="*/ 2857733 w 3638574"/>
                <a:gd name="connsiteY18-6418" fmla="*/ 1291762 h 4492350"/>
                <a:gd name="connsiteX19-6419" fmla="*/ 2750848 w 3638574"/>
                <a:gd name="connsiteY19-6420" fmla="*/ 2383091 h 4492350"/>
                <a:gd name="connsiteX20-6421" fmla="*/ 3638574 w 3638574"/>
                <a:gd name="connsiteY20-6422" fmla="*/ 1124252 h 4492350"/>
                <a:gd name="connsiteX21-6423" fmla="*/ 2166244 w 3638574"/>
                <a:gd name="connsiteY21-6424" fmla="*/ 3370521 h 4492350"/>
                <a:gd name="connsiteX22-6425" fmla="*/ 2113081 w 3638574"/>
                <a:gd name="connsiteY22-6426" fmla="*/ 3817088 h 4492350"/>
                <a:gd name="connsiteX23-6427" fmla="*/ 3261397 w 3638574"/>
                <a:gd name="connsiteY23-6428" fmla="*/ 3094074 h 4492350"/>
                <a:gd name="connsiteX24-6429" fmla="*/ 2138356 w 3638574"/>
                <a:gd name="connsiteY24-6430" fmla="*/ 4030951 h 4492350"/>
                <a:gd name="connsiteX25-6431" fmla="*/ 2176877 w 3638574"/>
                <a:gd name="connsiteY25-6432" fmla="*/ 4476307 h 4492350"/>
                <a:gd name="connsiteX26-6433" fmla="*/ 2162233 w 3638574"/>
                <a:gd name="connsiteY26-6434" fmla="*/ 4491415 h 4492350"/>
                <a:gd name="connsiteX27-6435" fmla="*/ 1687779 w 3638574"/>
                <a:gd name="connsiteY27-6436" fmla="*/ 4492350 h 4492350"/>
                <a:gd name="connsiteX0-6437" fmla="*/ 1687779 w 3638574"/>
                <a:gd name="connsiteY0-6438" fmla="*/ 4492350 h 4492350"/>
                <a:gd name="connsiteX1-6439" fmla="*/ 1740942 w 3638574"/>
                <a:gd name="connsiteY1-6440" fmla="*/ 3785190 h 4492350"/>
                <a:gd name="connsiteX2-6441" fmla="*/ 1239812 w 3638574"/>
                <a:gd name="connsiteY2-6442" fmla="*/ 3369121 h 4492350"/>
                <a:gd name="connsiteX3-6443" fmla="*/ 0 w 3638574"/>
                <a:gd name="connsiteY3-6444" fmla="*/ 2917145 h 4492350"/>
                <a:gd name="connsiteX4-6445" fmla="*/ 1087133 w 3638574"/>
                <a:gd name="connsiteY4-6446" fmla="*/ 3238920 h 4492350"/>
                <a:gd name="connsiteX5-6447" fmla="*/ 357497 w 3638574"/>
                <a:gd name="connsiteY5-6448" fmla="*/ 2432058 h 4492350"/>
                <a:gd name="connsiteX6-6449" fmla="*/ 1719677 w 3638574"/>
                <a:gd name="connsiteY6-6450" fmla="*/ 3519376 h 4492350"/>
                <a:gd name="connsiteX7-6451" fmla="*/ 1627995 w 3638574"/>
                <a:gd name="connsiteY7-6452" fmla="*/ 2400346 h 4492350"/>
                <a:gd name="connsiteX8-6453" fmla="*/ 4198 w 3638574"/>
                <a:gd name="connsiteY8-6454" fmla="*/ 742880 h 4492350"/>
                <a:gd name="connsiteX9-6455" fmla="*/ 932867 w 3638574"/>
                <a:gd name="connsiteY9-6456" fmla="*/ 1924493 h 4492350"/>
                <a:gd name="connsiteX10-6457" fmla="*/ 1037607 w 3638574"/>
                <a:gd name="connsiteY10-6458" fmla="*/ 857226 h 4492350"/>
                <a:gd name="connsiteX11-6459" fmla="*/ 1138710 w 3638574"/>
                <a:gd name="connsiteY11-6460" fmla="*/ 2026621 h 4492350"/>
                <a:gd name="connsiteX12-6461" fmla="*/ 1658679 w 3638574"/>
                <a:gd name="connsiteY12-6462" fmla="*/ 2194318 h 4492350"/>
                <a:gd name="connsiteX13-6463" fmla="*/ 1900430 w 3638574"/>
                <a:gd name="connsiteY13-6464" fmla="*/ 0 h 4492350"/>
                <a:gd name="connsiteX14-6465" fmla="*/ 1971873 w 3638574"/>
                <a:gd name="connsiteY14-6466" fmla="*/ 986216 h 4492350"/>
                <a:gd name="connsiteX15-6467" fmla="*/ 1826002 w 3638574"/>
                <a:gd name="connsiteY15-6468" fmla="*/ 2060385 h 4492350"/>
                <a:gd name="connsiteX16-6469" fmla="*/ 2001533 w 3638574"/>
                <a:gd name="connsiteY16-6470" fmla="*/ 3046321 h 4492350"/>
                <a:gd name="connsiteX17-6471" fmla="*/ 2591546 w 3638574"/>
                <a:gd name="connsiteY17-6472" fmla="*/ 2519916 h 4492350"/>
                <a:gd name="connsiteX18-6473" fmla="*/ 2857733 w 3638574"/>
                <a:gd name="connsiteY18-6474" fmla="*/ 1291762 h 4492350"/>
                <a:gd name="connsiteX19-6475" fmla="*/ 2750848 w 3638574"/>
                <a:gd name="connsiteY19-6476" fmla="*/ 2383091 h 4492350"/>
                <a:gd name="connsiteX20-6477" fmla="*/ 3638574 w 3638574"/>
                <a:gd name="connsiteY20-6478" fmla="*/ 1124252 h 4492350"/>
                <a:gd name="connsiteX21-6479" fmla="*/ 2166244 w 3638574"/>
                <a:gd name="connsiteY21-6480" fmla="*/ 3370521 h 4492350"/>
                <a:gd name="connsiteX22-6481" fmla="*/ 2113081 w 3638574"/>
                <a:gd name="connsiteY22-6482" fmla="*/ 3817088 h 4492350"/>
                <a:gd name="connsiteX23-6483" fmla="*/ 3261397 w 3638574"/>
                <a:gd name="connsiteY23-6484" fmla="*/ 3094074 h 4492350"/>
                <a:gd name="connsiteX24-6485" fmla="*/ 2138356 w 3638574"/>
                <a:gd name="connsiteY24-6486" fmla="*/ 4030951 h 4492350"/>
                <a:gd name="connsiteX25-6487" fmla="*/ 2176877 w 3638574"/>
                <a:gd name="connsiteY25-6488" fmla="*/ 4476307 h 4492350"/>
                <a:gd name="connsiteX26-6489" fmla="*/ 2162233 w 3638574"/>
                <a:gd name="connsiteY26-6490" fmla="*/ 4491415 h 4492350"/>
                <a:gd name="connsiteX27-6491" fmla="*/ 1687779 w 3638574"/>
                <a:gd name="connsiteY27-6492" fmla="*/ 4492350 h 4492350"/>
                <a:gd name="connsiteX0-6493" fmla="*/ 1687779 w 3638574"/>
                <a:gd name="connsiteY0-6494" fmla="*/ 4492350 h 4492350"/>
                <a:gd name="connsiteX1-6495" fmla="*/ 1740942 w 3638574"/>
                <a:gd name="connsiteY1-6496" fmla="*/ 3785190 h 4492350"/>
                <a:gd name="connsiteX2-6497" fmla="*/ 1239812 w 3638574"/>
                <a:gd name="connsiteY2-6498" fmla="*/ 3369121 h 4492350"/>
                <a:gd name="connsiteX3-6499" fmla="*/ 0 w 3638574"/>
                <a:gd name="connsiteY3-6500" fmla="*/ 2917145 h 4492350"/>
                <a:gd name="connsiteX4-6501" fmla="*/ 1087133 w 3638574"/>
                <a:gd name="connsiteY4-6502" fmla="*/ 3238920 h 4492350"/>
                <a:gd name="connsiteX5-6503" fmla="*/ 365518 w 3638574"/>
                <a:gd name="connsiteY5-6504" fmla="*/ 2420026 h 4492350"/>
                <a:gd name="connsiteX6-6505" fmla="*/ 1719677 w 3638574"/>
                <a:gd name="connsiteY6-6506" fmla="*/ 3519376 h 4492350"/>
                <a:gd name="connsiteX7-6507" fmla="*/ 1627995 w 3638574"/>
                <a:gd name="connsiteY7-6508" fmla="*/ 2400346 h 4492350"/>
                <a:gd name="connsiteX8-6509" fmla="*/ 4198 w 3638574"/>
                <a:gd name="connsiteY8-6510" fmla="*/ 742880 h 4492350"/>
                <a:gd name="connsiteX9-6511" fmla="*/ 932867 w 3638574"/>
                <a:gd name="connsiteY9-6512" fmla="*/ 1924493 h 4492350"/>
                <a:gd name="connsiteX10-6513" fmla="*/ 1037607 w 3638574"/>
                <a:gd name="connsiteY10-6514" fmla="*/ 857226 h 4492350"/>
                <a:gd name="connsiteX11-6515" fmla="*/ 1138710 w 3638574"/>
                <a:gd name="connsiteY11-6516" fmla="*/ 2026621 h 4492350"/>
                <a:gd name="connsiteX12-6517" fmla="*/ 1658679 w 3638574"/>
                <a:gd name="connsiteY12-6518" fmla="*/ 2194318 h 4492350"/>
                <a:gd name="connsiteX13-6519" fmla="*/ 1900430 w 3638574"/>
                <a:gd name="connsiteY13-6520" fmla="*/ 0 h 4492350"/>
                <a:gd name="connsiteX14-6521" fmla="*/ 1971873 w 3638574"/>
                <a:gd name="connsiteY14-6522" fmla="*/ 986216 h 4492350"/>
                <a:gd name="connsiteX15-6523" fmla="*/ 1826002 w 3638574"/>
                <a:gd name="connsiteY15-6524" fmla="*/ 2060385 h 4492350"/>
                <a:gd name="connsiteX16-6525" fmla="*/ 2001533 w 3638574"/>
                <a:gd name="connsiteY16-6526" fmla="*/ 3046321 h 4492350"/>
                <a:gd name="connsiteX17-6527" fmla="*/ 2591546 w 3638574"/>
                <a:gd name="connsiteY17-6528" fmla="*/ 2519916 h 4492350"/>
                <a:gd name="connsiteX18-6529" fmla="*/ 2857733 w 3638574"/>
                <a:gd name="connsiteY18-6530" fmla="*/ 1291762 h 4492350"/>
                <a:gd name="connsiteX19-6531" fmla="*/ 2750848 w 3638574"/>
                <a:gd name="connsiteY19-6532" fmla="*/ 2383091 h 4492350"/>
                <a:gd name="connsiteX20-6533" fmla="*/ 3638574 w 3638574"/>
                <a:gd name="connsiteY20-6534" fmla="*/ 1124252 h 4492350"/>
                <a:gd name="connsiteX21-6535" fmla="*/ 2166244 w 3638574"/>
                <a:gd name="connsiteY21-6536" fmla="*/ 3370521 h 4492350"/>
                <a:gd name="connsiteX22-6537" fmla="*/ 2113081 w 3638574"/>
                <a:gd name="connsiteY22-6538" fmla="*/ 3817088 h 4492350"/>
                <a:gd name="connsiteX23-6539" fmla="*/ 3261397 w 3638574"/>
                <a:gd name="connsiteY23-6540" fmla="*/ 3094074 h 4492350"/>
                <a:gd name="connsiteX24-6541" fmla="*/ 2138356 w 3638574"/>
                <a:gd name="connsiteY24-6542" fmla="*/ 4030951 h 4492350"/>
                <a:gd name="connsiteX25-6543" fmla="*/ 2176877 w 3638574"/>
                <a:gd name="connsiteY25-6544" fmla="*/ 4476307 h 4492350"/>
                <a:gd name="connsiteX26-6545" fmla="*/ 2162233 w 3638574"/>
                <a:gd name="connsiteY26-6546" fmla="*/ 4491415 h 4492350"/>
                <a:gd name="connsiteX27-6547" fmla="*/ 1687779 w 3638574"/>
                <a:gd name="connsiteY27-6548" fmla="*/ 4492350 h 4492350"/>
                <a:gd name="connsiteX0-6549" fmla="*/ 1687779 w 3638574"/>
                <a:gd name="connsiteY0-6550" fmla="*/ 4492350 h 4492350"/>
                <a:gd name="connsiteX1-6551" fmla="*/ 1740942 w 3638574"/>
                <a:gd name="connsiteY1-6552" fmla="*/ 3785190 h 4492350"/>
                <a:gd name="connsiteX2-6553" fmla="*/ 1239812 w 3638574"/>
                <a:gd name="connsiteY2-6554" fmla="*/ 3369121 h 4492350"/>
                <a:gd name="connsiteX3-6555" fmla="*/ 0 w 3638574"/>
                <a:gd name="connsiteY3-6556" fmla="*/ 2917145 h 4492350"/>
                <a:gd name="connsiteX4-6557" fmla="*/ 1087133 w 3638574"/>
                <a:gd name="connsiteY4-6558" fmla="*/ 3238920 h 4492350"/>
                <a:gd name="connsiteX5-6559" fmla="*/ 365518 w 3638574"/>
                <a:gd name="connsiteY5-6560" fmla="*/ 2420026 h 4492350"/>
                <a:gd name="connsiteX6-6561" fmla="*/ 1719677 w 3638574"/>
                <a:gd name="connsiteY6-6562" fmla="*/ 3519376 h 4492350"/>
                <a:gd name="connsiteX7-6563" fmla="*/ 1627995 w 3638574"/>
                <a:gd name="connsiteY7-6564" fmla="*/ 2400346 h 4492350"/>
                <a:gd name="connsiteX8-6565" fmla="*/ 4198 w 3638574"/>
                <a:gd name="connsiteY8-6566" fmla="*/ 742880 h 4492350"/>
                <a:gd name="connsiteX9-6567" fmla="*/ 932867 w 3638574"/>
                <a:gd name="connsiteY9-6568" fmla="*/ 1924493 h 4492350"/>
                <a:gd name="connsiteX10-6569" fmla="*/ 1037607 w 3638574"/>
                <a:gd name="connsiteY10-6570" fmla="*/ 857226 h 4492350"/>
                <a:gd name="connsiteX11-6571" fmla="*/ 1138710 w 3638574"/>
                <a:gd name="connsiteY11-6572" fmla="*/ 2026621 h 4492350"/>
                <a:gd name="connsiteX12-6573" fmla="*/ 1658679 w 3638574"/>
                <a:gd name="connsiteY12-6574" fmla="*/ 2194318 h 4492350"/>
                <a:gd name="connsiteX13-6575" fmla="*/ 1900430 w 3638574"/>
                <a:gd name="connsiteY13-6576" fmla="*/ 0 h 4492350"/>
                <a:gd name="connsiteX14-6577" fmla="*/ 1971873 w 3638574"/>
                <a:gd name="connsiteY14-6578" fmla="*/ 986216 h 4492350"/>
                <a:gd name="connsiteX15-6579" fmla="*/ 1826002 w 3638574"/>
                <a:gd name="connsiteY15-6580" fmla="*/ 2060385 h 4492350"/>
                <a:gd name="connsiteX16-6581" fmla="*/ 2001533 w 3638574"/>
                <a:gd name="connsiteY16-6582" fmla="*/ 3046321 h 4492350"/>
                <a:gd name="connsiteX17-6583" fmla="*/ 2591546 w 3638574"/>
                <a:gd name="connsiteY17-6584" fmla="*/ 2519916 h 4492350"/>
                <a:gd name="connsiteX18-6585" fmla="*/ 2857733 w 3638574"/>
                <a:gd name="connsiteY18-6586" fmla="*/ 1291762 h 4492350"/>
                <a:gd name="connsiteX19-6587" fmla="*/ 2750848 w 3638574"/>
                <a:gd name="connsiteY19-6588" fmla="*/ 2383091 h 4492350"/>
                <a:gd name="connsiteX20-6589" fmla="*/ 3638574 w 3638574"/>
                <a:gd name="connsiteY20-6590" fmla="*/ 1124252 h 4492350"/>
                <a:gd name="connsiteX21-6591" fmla="*/ 2166244 w 3638574"/>
                <a:gd name="connsiteY21-6592" fmla="*/ 3370521 h 4492350"/>
                <a:gd name="connsiteX22-6593" fmla="*/ 2113081 w 3638574"/>
                <a:gd name="connsiteY22-6594" fmla="*/ 3817088 h 4492350"/>
                <a:gd name="connsiteX23-6595" fmla="*/ 3261397 w 3638574"/>
                <a:gd name="connsiteY23-6596" fmla="*/ 3094074 h 4492350"/>
                <a:gd name="connsiteX24-6597" fmla="*/ 2138356 w 3638574"/>
                <a:gd name="connsiteY24-6598" fmla="*/ 4030951 h 4492350"/>
                <a:gd name="connsiteX25-6599" fmla="*/ 2176877 w 3638574"/>
                <a:gd name="connsiteY25-6600" fmla="*/ 4476307 h 4492350"/>
                <a:gd name="connsiteX26-6601" fmla="*/ 2162233 w 3638574"/>
                <a:gd name="connsiteY26-6602" fmla="*/ 4491415 h 4492350"/>
                <a:gd name="connsiteX27-6603" fmla="*/ 1687779 w 3638574"/>
                <a:gd name="connsiteY27-6604" fmla="*/ 4492350 h 4492350"/>
                <a:gd name="connsiteX0-6605" fmla="*/ 1687779 w 3638574"/>
                <a:gd name="connsiteY0-6606" fmla="*/ 4492350 h 4492350"/>
                <a:gd name="connsiteX1-6607" fmla="*/ 1740942 w 3638574"/>
                <a:gd name="connsiteY1-6608" fmla="*/ 3785190 h 4492350"/>
                <a:gd name="connsiteX2-6609" fmla="*/ 1239812 w 3638574"/>
                <a:gd name="connsiteY2-6610" fmla="*/ 3369121 h 4492350"/>
                <a:gd name="connsiteX3-6611" fmla="*/ 0 w 3638574"/>
                <a:gd name="connsiteY3-6612" fmla="*/ 2917145 h 4492350"/>
                <a:gd name="connsiteX4-6613" fmla="*/ 1087133 w 3638574"/>
                <a:gd name="connsiteY4-6614" fmla="*/ 3238920 h 4492350"/>
                <a:gd name="connsiteX5-6615" fmla="*/ 365518 w 3638574"/>
                <a:gd name="connsiteY5-6616" fmla="*/ 2420026 h 4492350"/>
                <a:gd name="connsiteX6-6617" fmla="*/ 1719677 w 3638574"/>
                <a:gd name="connsiteY6-6618" fmla="*/ 3519376 h 4492350"/>
                <a:gd name="connsiteX7-6619" fmla="*/ 1627995 w 3638574"/>
                <a:gd name="connsiteY7-6620" fmla="*/ 2400346 h 4492350"/>
                <a:gd name="connsiteX8-6621" fmla="*/ 4198 w 3638574"/>
                <a:gd name="connsiteY8-6622" fmla="*/ 742880 h 4492350"/>
                <a:gd name="connsiteX9-6623" fmla="*/ 932867 w 3638574"/>
                <a:gd name="connsiteY9-6624" fmla="*/ 1924493 h 4492350"/>
                <a:gd name="connsiteX10-6625" fmla="*/ 1037607 w 3638574"/>
                <a:gd name="connsiteY10-6626" fmla="*/ 857226 h 4492350"/>
                <a:gd name="connsiteX11-6627" fmla="*/ 1138710 w 3638574"/>
                <a:gd name="connsiteY11-6628" fmla="*/ 2026621 h 4492350"/>
                <a:gd name="connsiteX12-6629" fmla="*/ 1658679 w 3638574"/>
                <a:gd name="connsiteY12-6630" fmla="*/ 2194318 h 4492350"/>
                <a:gd name="connsiteX13-6631" fmla="*/ 1900430 w 3638574"/>
                <a:gd name="connsiteY13-6632" fmla="*/ 0 h 4492350"/>
                <a:gd name="connsiteX14-6633" fmla="*/ 1971873 w 3638574"/>
                <a:gd name="connsiteY14-6634" fmla="*/ 986216 h 4492350"/>
                <a:gd name="connsiteX15-6635" fmla="*/ 1826002 w 3638574"/>
                <a:gd name="connsiteY15-6636" fmla="*/ 2060385 h 4492350"/>
                <a:gd name="connsiteX16-6637" fmla="*/ 2001533 w 3638574"/>
                <a:gd name="connsiteY16-6638" fmla="*/ 3046321 h 4492350"/>
                <a:gd name="connsiteX17-6639" fmla="*/ 2591546 w 3638574"/>
                <a:gd name="connsiteY17-6640" fmla="*/ 2519916 h 4492350"/>
                <a:gd name="connsiteX18-6641" fmla="*/ 2857733 w 3638574"/>
                <a:gd name="connsiteY18-6642" fmla="*/ 1291762 h 4492350"/>
                <a:gd name="connsiteX19-6643" fmla="*/ 2750848 w 3638574"/>
                <a:gd name="connsiteY19-6644" fmla="*/ 2383091 h 4492350"/>
                <a:gd name="connsiteX20-6645" fmla="*/ 3638574 w 3638574"/>
                <a:gd name="connsiteY20-6646" fmla="*/ 1124252 h 4492350"/>
                <a:gd name="connsiteX21-6647" fmla="*/ 2166244 w 3638574"/>
                <a:gd name="connsiteY21-6648" fmla="*/ 3370521 h 4492350"/>
                <a:gd name="connsiteX22-6649" fmla="*/ 2113081 w 3638574"/>
                <a:gd name="connsiteY22-6650" fmla="*/ 3817088 h 4492350"/>
                <a:gd name="connsiteX23-6651" fmla="*/ 3261397 w 3638574"/>
                <a:gd name="connsiteY23-6652" fmla="*/ 3094074 h 4492350"/>
                <a:gd name="connsiteX24-6653" fmla="*/ 2138356 w 3638574"/>
                <a:gd name="connsiteY24-6654" fmla="*/ 4030951 h 4492350"/>
                <a:gd name="connsiteX25-6655" fmla="*/ 2176877 w 3638574"/>
                <a:gd name="connsiteY25-6656" fmla="*/ 4476307 h 4492350"/>
                <a:gd name="connsiteX26-6657" fmla="*/ 2162233 w 3638574"/>
                <a:gd name="connsiteY26-6658" fmla="*/ 4491415 h 4492350"/>
                <a:gd name="connsiteX27-6659" fmla="*/ 1687779 w 3638574"/>
                <a:gd name="connsiteY27-6660" fmla="*/ 4492350 h 4492350"/>
                <a:gd name="connsiteX0-6661" fmla="*/ 1687779 w 3638574"/>
                <a:gd name="connsiteY0-6662" fmla="*/ 4492350 h 4492350"/>
                <a:gd name="connsiteX1-6663" fmla="*/ 1740942 w 3638574"/>
                <a:gd name="connsiteY1-6664" fmla="*/ 3785190 h 4492350"/>
                <a:gd name="connsiteX2-6665" fmla="*/ 1239812 w 3638574"/>
                <a:gd name="connsiteY2-6666" fmla="*/ 3369121 h 4492350"/>
                <a:gd name="connsiteX3-6667" fmla="*/ 0 w 3638574"/>
                <a:gd name="connsiteY3-6668" fmla="*/ 2917145 h 4492350"/>
                <a:gd name="connsiteX4-6669" fmla="*/ 1087133 w 3638574"/>
                <a:gd name="connsiteY4-6670" fmla="*/ 3238920 h 4492350"/>
                <a:gd name="connsiteX5-6671" fmla="*/ 365518 w 3638574"/>
                <a:gd name="connsiteY5-6672" fmla="*/ 2420026 h 4492350"/>
                <a:gd name="connsiteX6-6673" fmla="*/ 1719677 w 3638574"/>
                <a:gd name="connsiteY6-6674" fmla="*/ 3519376 h 4492350"/>
                <a:gd name="connsiteX7-6675" fmla="*/ 1627995 w 3638574"/>
                <a:gd name="connsiteY7-6676" fmla="*/ 2400346 h 4492350"/>
                <a:gd name="connsiteX8-6677" fmla="*/ 4198 w 3638574"/>
                <a:gd name="connsiteY8-6678" fmla="*/ 742880 h 4492350"/>
                <a:gd name="connsiteX9-6679" fmla="*/ 932867 w 3638574"/>
                <a:gd name="connsiteY9-6680" fmla="*/ 1924493 h 4492350"/>
                <a:gd name="connsiteX10-6681" fmla="*/ 1037607 w 3638574"/>
                <a:gd name="connsiteY10-6682" fmla="*/ 857226 h 4492350"/>
                <a:gd name="connsiteX11-6683" fmla="*/ 1138710 w 3638574"/>
                <a:gd name="connsiteY11-6684" fmla="*/ 2026621 h 4492350"/>
                <a:gd name="connsiteX12-6685" fmla="*/ 1658679 w 3638574"/>
                <a:gd name="connsiteY12-6686" fmla="*/ 2194318 h 4492350"/>
                <a:gd name="connsiteX13-6687" fmla="*/ 1900430 w 3638574"/>
                <a:gd name="connsiteY13-6688" fmla="*/ 0 h 4492350"/>
                <a:gd name="connsiteX14-6689" fmla="*/ 1971873 w 3638574"/>
                <a:gd name="connsiteY14-6690" fmla="*/ 986216 h 4492350"/>
                <a:gd name="connsiteX15-6691" fmla="*/ 1826002 w 3638574"/>
                <a:gd name="connsiteY15-6692" fmla="*/ 2060385 h 4492350"/>
                <a:gd name="connsiteX16-6693" fmla="*/ 2001533 w 3638574"/>
                <a:gd name="connsiteY16-6694" fmla="*/ 3046321 h 4492350"/>
                <a:gd name="connsiteX17-6695" fmla="*/ 2591546 w 3638574"/>
                <a:gd name="connsiteY17-6696" fmla="*/ 2519916 h 4492350"/>
                <a:gd name="connsiteX18-6697" fmla="*/ 2857733 w 3638574"/>
                <a:gd name="connsiteY18-6698" fmla="*/ 1291762 h 4492350"/>
                <a:gd name="connsiteX19-6699" fmla="*/ 2750848 w 3638574"/>
                <a:gd name="connsiteY19-6700" fmla="*/ 2383091 h 4492350"/>
                <a:gd name="connsiteX20-6701" fmla="*/ 3638574 w 3638574"/>
                <a:gd name="connsiteY20-6702" fmla="*/ 1124252 h 4492350"/>
                <a:gd name="connsiteX21-6703" fmla="*/ 2166244 w 3638574"/>
                <a:gd name="connsiteY21-6704" fmla="*/ 3370521 h 4492350"/>
                <a:gd name="connsiteX22-6705" fmla="*/ 2113081 w 3638574"/>
                <a:gd name="connsiteY22-6706" fmla="*/ 3817088 h 4492350"/>
                <a:gd name="connsiteX23-6707" fmla="*/ 3261397 w 3638574"/>
                <a:gd name="connsiteY23-6708" fmla="*/ 3094074 h 4492350"/>
                <a:gd name="connsiteX24-6709" fmla="*/ 2138356 w 3638574"/>
                <a:gd name="connsiteY24-6710" fmla="*/ 4030951 h 4492350"/>
                <a:gd name="connsiteX25-6711" fmla="*/ 2176877 w 3638574"/>
                <a:gd name="connsiteY25-6712" fmla="*/ 4476307 h 4492350"/>
                <a:gd name="connsiteX26-6713" fmla="*/ 2162233 w 3638574"/>
                <a:gd name="connsiteY26-6714" fmla="*/ 4491415 h 4492350"/>
                <a:gd name="connsiteX27-6715" fmla="*/ 1687779 w 3638574"/>
                <a:gd name="connsiteY27-6716" fmla="*/ 4492350 h 4492350"/>
                <a:gd name="connsiteX0-6717" fmla="*/ 1687779 w 3638574"/>
                <a:gd name="connsiteY0-6718" fmla="*/ 4492350 h 4492350"/>
                <a:gd name="connsiteX1-6719" fmla="*/ 1740942 w 3638574"/>
                <a:gd name="connsiteY1-6720" fmla="*/ 3785190 h 4492350"/>
                <a:gd name="connsiteX2-6721" fmla="*/ 1239812 w 3638574"/>
                <a:gd name="connsiteY2-6722" fmla="*/ 3369121 h 4492350"/>
                <a:gd name="connsiteX3-6723" fmla="*/ 0 w 3638574"/>
                <a:gd name="connsiteY3-6724" fmla="*/ 2917145 h 4492350"/>
                <a:gd name="connsiteX4-6725" fmla="*/ 1087133 w 3638574"/>
                <a:gd name="connsiteY4-6726" fmla="*/ 3238920 h 4492350"/>
                <a:gd name="connsiteX5-6727" fmla="*/ 365518 w 3638574"/>
                <a:gd name="connsiteY5-6728" fmla="*/ 2420026 h 4492350"/>
                <a:gd name="connsiteX6-6729" fmla="*/ 1719677 w 3638574"/>
                <a:gd name="connsiteY6-6730" fmla="*/ 3519376 h 4492350"/>
                <a:gd name="connsiteX7-6731" fmla="*/ 1627995 w 3638574"/>
                <a:gd name="connsiteY7-6732" fmla="*/ 2400346 h 4492350"/>
                <a:gd name="connsiteX8-6733" fmla="*/ 4198 w 3638574"/>
                <a:gd name="connsiteY8-6734" fmla="*/ 742880 h 4492350"/>
                <a:gd name="connsiteX9-6735" fmla="*/ 932867 w 3638574"/>
                <a:gd name="connsiteY9-6736" fmla="*/ 1924493 h 4492350"/>
                <a:gd name="connsiteX10-6737" fmla="*/ 1037607 w 3638574"/>
                <a:gd name="connsiteY10-6738" fmla="*/ 857226 h 4492350"/>
                <a:gd name="connsiteX11-6739" fmla="*/ 1138710 w 3638574"/>
                <a:gd name="connsiteY11-6740" fmla="*/ 2026621 h 4492350"/>
                <a:gd name="connsiteX12-6741" fmla="*/ 1658679 w 3638574"/>
                <a:gd name="connsiteY12-6742" fmla="*/ 2194318 h 4492350"/>
                <a:gd name="connsiteX13-6743" fmla="*/ 1900430 w 3638574"/>
                <a:gd name="connsiteY13-6744" fmla="*/ 0 h 4492350"/>
                <a:gd name="connsiteX14-6745" fmla="*/ 1971873 w 3638574"/>
                <a:gd name="connsiteY14-6746" fmla="*/ 986216 h 4492350"/>
                <a:gd name="connsiteX15-6747" fmla="*/ 1826002 w 3638574"/>
                <a:gd name="connsiteY15-6748" fmla="*/ 2060385 h 4492350"/>
                <a:gd name="connsiteX16-6749" fmla="*/ 2001533 w 3638574"/>
                <a:gd name="connsiteY16-6750" fmla="*/ 3046321 h 4492350"/>
                <a:gd name="connsiteX17-6751" fmla="*/ 2591546 w 3638574"/>
                <a:gd name="connsiteY17-6752" fmla="*/ 2519916 h 4492350"/>
                <a:gd name="connsiteX18-6753" fmla="*/ 2857733 w 3638574"/>
                <a:gd name="connsiteY18-6754" fmla="*/ 1291762 h 4492350"/>
                <a:gd name="connsiteX19-6755" fmla="*/ 2750848 w 3638574"/>
                <a:gd name="connsiteY19-6756" fmla="*/ 2383091 h 4492350"/>
                <a:gd name="connsiteX20-6757" fmla="*/ 3638574 w 3638574"/>
                <a:gd name="connsiteY20-6758" fmla="*/ 1124252 h 4492350"/>
                <a:gd name="connsiteX21-6759" fmla="*/ 2166244 w 3638574"/>
                <a:gd name="connsiteY21-6760" fmla="*/ 3370521 h 4492350"/>
                <a:gd name="connsiteX22-6761" fmla="*/ 2113081 w 3638574"/>
                <a:gd name="connsiteY22-6762" fmla="*/ 3817088 h 4492350"/>
                <a:gd name="connsiteX23-6763" fmla="*/ 3261397 w 3638574"/>
                <a:gd name="connsiteY23-6764" fmla="*/ 3094074 h 4492350"/>
                <a:gd name="connsiteX24-6765" fmla="*/ 2138356 w 3638574"/>
                <a:gd name="connsiteY24-6766" fmla="*/ 4030951 h 4492350"/>
                <a:gd name="connsiteX25-6767" fmla="*/ 2176877 w 3638574"/>
                <a:gd name="connsiteY25-6768" fmla="*/ 4476307 h 4492350"/>
                <a:gd name="connsiteX26-6769" fmla="*/ 2162233 w 3638574"/>
                <a:gd name="connsiteY26-6770" fmla="*/ 4491415 h 4492350"/>
                <a:gd name="connsiteX27-6771" fmla="*/ 1687779 w 3638574"/>
                <a:gd name="connsiteY27-6772" fmla="*/ 4492350 h 4492350"/>
                <a:gd name="connsiteX0-6773" fmla="*/ 1687779 w 3638574"/>
                <a:gd name="connsiteY0-6774" fmla="*/ 4492350 h 4492350"/>
                <a:gd name="connsiteX1-6775" fmla="*/ 1740942 w 3638574"/>
                <a:gd name="connsiteY1-6776" fmla="*/ 3785190 h 4492350"/>
                <a:gd name="connsiteX2-6777" fmla="*/ 1239812 w 3638574"/>
                <a:gd name="connsiteY2-6778" fmla="*/ 3369121 h 4492350"/>
                <a:gd name="connsiteX3-6779" fmla="*/ 0 w 3638574"/>
                <a:gd name="connsiteY3-6780" fmla="*/ 2917145 h 4492350"/>
                <a:gd name="connsiteX4-6781" fmla="*/ 1087133 w 3638574"/>
                <a:gd name="connsiteY4-6782" fmla="*/ 3238920 h 4492350"/>
                <a:gd name="connsiteX5-6783" fmla="*/ 389581 w 3638574"/>
                <a:gd name="connsiteY5-6784" fmla="*/ 2412005 h 4492350"/>
                <a:gd name="connsiteX6-6785" fmla="*/ 1719677 w 3638574"/>
                <a:gd name="connsiteY6-6786" fmla="*/ 3519376 h 4492350"/>
                <a:gd name="connsiteX7-6787" fmla="*/ 1627995 w 3638574"/>
                <a:gd name="connsiteY7-6788" fmla="*/ 2400346 h 4492350"/>
                <a:gd name="connsiteX8-6789" fmla="*/ 4198 w 3638574"/>
                <a:gd name="connsiteY8-6790" fmla="*/ 742880 h 4492350"/>
                <a:gd name="connsiteX9-6791" fmla="*/ 932867 w 3638574"/>
                <a:gd name="connsiteY9-6792" fmla="*/ 1924493 h 4492350"/>
                <a:gd name="connsiteX10-6793" fmla="*/ 1037607 w 3638574"/>
                <a:gd name="connsiteY10-6794" fmla="*/ 857226 h 4492350"/>
                <a:gd name="connsiteX11-6795" fmla="*/ 1138710 w 3638574"/>
                <a:gd name="connsiteY11-6796" fmla="*/ 2026621 h 4492350"/>
                <a:gd name="connsiteX12-6797" fmla="*/ 1658679 w 3638574"/>
                <a:gd name="connsiteY12-6798" fmla="*/ 2194318 h 4492350"/>
                <a:gd name="connsiteX13-6799" fmla="*/ 1900430 w 3638574"/>
                <a:gd name="connsiteY13-6800" fmla="*/ 0 h 4492350"/>
                <a:gd name="connsiteX14-6801" fmla="*/ 1971873 w 3638574"/>
                <a:gd name="connsiteY14-6802" fmla="*/ 986216 h 4492350"/>
                <a:gd name="connsiteX15-6803" fmla="*/ 1826002 w 3638574"/>
                <a:gd name="connsiteY15-6804" fmla="*/ 2060385 h 4492350"/>
                <a:gd name="connsiteX16-6805" fmla="*/ 2001533 w 3638574"/>
                <a:gd name="connsiteY16-6806" fmla="*/ 3046321 h 4492350"/>
                <a:gd name="connsiteX17-6807" fmla="*/ 2591546 w 3638574"/>
                <a:gd name="connsiteY17-6808" fmla="*/ 2519916 h 4492350"/>
                <a:gd name="connsiteX18-6809" fmla="*/ 2857733 w 3638574"/>
                <a:gd name="connsiteY18-6810" fmla="*/ 1291762 h 4492350"/>
                <a:gd name="connsiteX19-6811" fmla="*/ 2750848 w 3638574"/>
                <a:gd name="connsiteY19-6812" fmla="*/ 2383091 h 4492350"/>
                <a:gd name="connsiteX20-6813" fmla="*/ 3638574 w 3638574"/>
                <a:gd name="connsiteY20-6814" fmla="*/ 1124252 h 4492350"/>
                <a:gd name="connsiteX21-6815" fmla="*/ 2166244 w 3638574"/>
                <a:gd name="connsiteY21-6816" fmla="*/ 3370521 h 4492350"/>
                <a:gd name="connsiteX22-6817" fmla="*/ 2113081 w 3638574"/>
                <a:gd name="connsiteY22-6818" fmla="*/ 3817088 h 4492350"/>
                <a:gd name="connsiteX23-6819" fmla="*/ 3261397 w 3638574"/>
                <a:gd name="connsiteY23-6820" fmla="*/ 3094074 h 4492350"/>
                <a:gd name="connsiteX24-6821" fmla="*/ 2138356 w 3638574"/>
                <a:gd name="connsiteY24-6822" fmla="*/ 4030951 h 4492350"/>
                <a:gd name="connsiteX25-6823" fmla="*/ 2176877 w 3638574"/>
                <a:gd name="connsiteY25-6824" fmla="*/ 4476307 h 4492350"/>
                <a:gd name="connsiteX26-6825" fmla="*/ 2162233 w 3638574"/>
                <a:gd name="connsiteY26-6826" fmla="*/ 4491415 h 4492350"/>
                <a:gd name="connsiteX27-6827" fmla="*/ 1687779 w 3638574"/>
                <a:gd name="connsiteY27-6828" fmla="*/ 4492350 h 4492350"/>
                <a:gd name="connsiteX0-6829" fmla="*/ 1687779 w 3638574"/>
                <a:gd name="connsiteY0-6830" fmla="*/ 4492350 h 4492350"/>
                <a:gd name="connsiteX1-6831" fmla="*/ 1740942 w 3638574"/>
                <a:gd name="connsiteY1-6832" fmla="*/ 3785190 h 4492350"/>
                <a:gd name="connsiteX2-6833" fmla="*/ 1239812 w 3638574"/>
                <a:gd name="connsiteY2-6834" fmla="*/ 3369121 h 4492350"/>
                <a:gd name="connsiteX3-6835" fmla="*/ 0 w 3638574"/>
                <a:gd name="connsiteY3-6836" fmla="*/ 2917145 h 4492350"/>
                <a:gd name="connsiteX4-6837" fmla="*/ 1087133 w 3638574"/>
                <a:gd name="connsiteY4-6838" fmla="*/ 3238920 h 4492350"/>
                <a:gd name="connsiteX5-6839" fmla="*/ 389581 w 3638574"/>
                <a:gd name="connsiteY5-6840" fmla="*/ 2412005 h 4492350"/>
                <a:gd name="connsiteX6-6841" fmla="*/ 1719677 w 3638574"/>
                <a:gd name="connsiteY6-6842" fmla="*/ 3519376 h 4492350"/>
                <a:gd name="connsiteX7-6843" fmla="*/ 1627995 w 3638574"/>
                <a:gd name="connsiteY7-6844" fmla="*/ 2400346 h 4492350"/>
                <a:gd name="connsiteX8-6845" fmla="*/ 4198 w 3638574"/>
                <a:gd name="connsiteY8-6846" fmla="*/ 742880 h 4492350"/>
                <a:gd name="connsiteX9-6847" fmla="*/ 932867 w 3638574"/>
                <a:gd name="connsiteY9-6848" fmla="*/ 1924493 h 4492350"/>
                <a:gd name="connsiteX10-6849" fmla="*/ 1037607 w 3638574"/>
                <a:gd name="connsiteY10-6850" fmla="*/ 857226 h 4492350"/>
                <a:gd name="connsiteX11-6851" fmla="*/ 1138710 w 3638574"/>
                <a:gd name="connsiteY11-6852" fmla="*/ 2026621 h 4492350"/>
                <a:gd name="connsiteX12-6853" fmla="*/ 1658679 w 3638574"/>
                <a:gd name="connsiteY12-6854" fmla="*/ 2194318 h 4492350"/>
                <a:gd name="connsiteX13-6855" fmla="*/ 1900430 w 3638574"/>
                <a:gd name="connsiteY13-6856" fmla="*/ 0 h 4492350"/>
                <a:gd name="connsiteX14-6857" fmla="*/ 1971873 w 3638574"/>
                <a:gd name="connsiteY14-6858" fmla="*/ 986216 h 4492350"/>
                <a:gd name="connsiteX15-6859" fmla="*/ 1826002 w 3638574"/>
                <a:gd name="connsiteY15-6860" fmla="*/ 2060385 h 4492350"/>
                <a:gd name="connsiteX16-6861" fmla="*/ 2001533 w 3638574"/>
                <a:gd name="connsiteY16-6862" fmla="*/ 3046321 h 4492350"/>
                <a:gd name="connsiteX17-6863" fmla="*/ 2591546 w 3638574"/>
                <a:gd name="connsiteY17-6864" fmla="*/ 2519916 h 4492350"/>
                <a:gd name="connsiteX18-6865" fmla="*/ 2857733 w 3638574"/>
                <a:gd name="connsiteY18-6866" fmla="*/ 1291762 h 4492350"/>
                <a:gd name="connsiteX19-6867" fmla="*/ 2750848 w 3638574"/>
                <a:gd name="connsiteY19-6868" fmla="*/ 2383091 h 4492350"/>
                <a:gd name="connsiteX20-6869" fmla="*/ 3638574 w 3638574"/>
                <a:gd name="connsiteY20-6870" fmla="*/ 1124252 h 4492350"/>
                <a:gd name="connsiteX21-6871" fmla="*/ 2166244 w 3638574"/>
                <a:gd name="connsiteY21-6872" fmla="*/ 3370521 h 4492350"/>
                <a:gd name="connsiteX22-6873" fmla="*/ 2113081 w 3638574"/>
                <a:gd name="connsiteY22-6874" fmla="*/ 3817088 h 4492350"/>
                <a:gd name="connsiteX23-6875" fmla="*/ 3261397 w 3638574"/>
                <a:gd name="connsiteY23-6876" fmla="*/ 3094074 h 4492350"/>
                <a:gd name="connsiteX24-6877" fmla="*/ 2138356 w 3638574"/>
                <a:gd name="connsiteY24-6878" fmla="*/ 4030951 h 4492350"/>
                <a:gd name="connsiteX25-6879" fmla="*/ 2176877 w 3638574"/>
                <a:gd name="connsiteY25-6880" fmla="*/ 4476307 h 4492350"/>
                <a:gd name="connsiteX26-6881" fmla="*/ 2162233 w 3638574"/>
                <a:gd name="connsiteY26-6882" fmla="*/ 4491415 h 4492350"/>
                <a:gd name="connsiteX27-6883" fmla="*/ 1687779 w 3638574"/>
                <a:gd name="connsiteY27-6884" fmla="*/ 4492350 h 4492350"/>
                <a:gd name="connsiteX0-6885" fmla="*/ 1687779 w 3638574"/>
                <a:gd name="connsiteY0-6886" fmla="*/ 4492350 h 4492350"/>
                <a:gd name="connsiteX1-6887" fmla="*/ 1740942 w 3638574"/>
                <a:gd name="connsiteY1-6888" fmla="*/ 3785190 h 4492350"/>
                <a:gd name="connsiteX2-6889" fmla="*/ 1239812 w 3638574"/>
                <a:gd name="connsiteY2-6890" fmla="*/ 3369121 h 4492350"/>
                <a:gd name="connsiteX3-6891" fmla="*/ 0 w 3638574"/>
                <a:gd name="connsiteY3-6892" fmla="*/ 2917145 h 4492350"/>
                <a:gd name="connsiteX4-6893" fmla="*/ 1087133 w 3638574"/>
                <a:gd name="connsiteY4-6894" fmla="*/ 3238920 h 4492350"/>
                <a:gd name="connsiteX5-6895" fmla="*/ 389581 w 3638574"/>
                <a:gd name="connsiteY5-6896" fmla="*/ 2412005 h 4492350"/>
                <a:gd name="connsiteX6-6897" fmla="*/ 1719677 w 3638574"/>
                <a:gd name="connsiteY6-6898" fmla="*/ 3519376 h 4492350"/>
                <a:gd name="connsiteX7-6899" fmla="*/ 1627995 w 3638574"/>
                <a:gd name="connsiteY7-6900" fmla="*/ 2400346 h 4492350"/>
                <a:gd name="connsiteX8-6901" fmla="*/ 4198 w 3638574"/>
                <a:gd name="connsiteY8-6902" fmla="*/ 742880 h 4492350"/>
                <a:gd name="connsiteX9-6903" fmla="*/ 932867 w 3638574"/>
                <a:gd name="connsiteY9-6904" fmla="*/ 1924493 h 4492350"/>
                <a:gd name="connsiteX10-6905" fmla="*/ 1037607 w 3638574"/>
                <a:gd name="connsiteY10-6906" fmla="*/ 857226 h 4492350"/>
                <a:gd name="connsiteX11-6907" fmla="*/ 1138710 w 3638574"/>
                <a:gd name="connsiteY11-6908" fmla="*/ 2026621 h 4492350"/>
                <a:gd name="connsiteX12-6909" fmla="*/ 1658679 w 3638574"/>
                <a:gd name="connsiteY12-6910" fmla="*/ 2194318 h 4492350"/>
                <a:gd name="connsiteX13-6911" fmla="*/ 1900430 w 3638574"/>
                <a:gd name="connsiteY13-6912" fmla="*/ 0 h 4492350"/>
                <a:gd name="connsiteX14-6913" fmla="*/ 1971873 w 3638574"/>
                <a:gd name="connsiteY14-6914" fmla="*/ 986216 h 4492350"/>
                <a:gd name="connsiteX15-6915" fmla="*/ 1826002 w 3638574"/>
                <a:gd name="connsiteY15-6916" fmla="*/ 2060385 h 4492350"/>
                <a:gd name="connsiteX16-6917" fmla="*/ 2001533 w 3638574"/>
                <a:gd name="connsiteY16-6918" fmla="*/ 3046321 h 4492350"/>
                <a:gd name="connsiteX17-6919" fmla="*/ 2591546 w 3638574"/>
                <a:gd name="connsiteY17-6920" fmla="*/ 2519916 h 4492350"/>
                <a:gd name="connsiteX18-6921" fmla="*/ 2857733 w 3638574"/>
                <a:gd name="connsiteY18-6922" fmla="*/ 1291762 h 4492350"/>
                <a:gd name="connsiteX19-6923" fmla="*/ 2750848 w 3638574"/>
                <a:gd name="connsiteY19-6924" fmla="*/ 2383091 h 4492350"/>
                <a:gd name="connsiteX20-6925" fmla="*/ 3638574 w 3638574"/>
                <a:gd name="connsiteY20-6926" fmla="*/ 1124252 h 4492350"/>
                <a:gd name="connsiteX21-6927" fmla="*/ 2166244 w 3638574"/>
                <a:gd name="connsiteY21-6928" fmla="*/ 3370521 h 4492350"/>
                <a:gd name="connsiteX22-6929" fmla="*/ 2113081 w 3638574"/>
                <a:gd name="connsiteY22-6930" fmla="*/ 3817088 h 4492350"/>
                <a:gd name="connsiteX23-6931" fmla="*/ 3261397 w 3638574"/>
                <a:gd name="connsiteY23-6932" fmla="*/ 3094074 h 4492350"/>
                <a:gd name="connsiteX24-6933" fmla="*/ 2138356 w 3638574"/>
                <a:gd name="connsiteY24-6934" fmla="*/ 4030951 h 4492350"/>
                <a:gd name="connsiteX25-6935" fmla="*/ 2176877 w 3638574"/>
                <a:gd name="connsiteY25-6936" fmla="*/ 4476307 h 4492350"/>
                <a:gd name="connsiteX26-6937" fmla="*/ 2162233 w 3638574"/>
                <a:gd name="connsiteY26-6938" fmla="*/ 4491415 h 4492350"/>
                <a:gd name="connsiteX27-6939" fmla="*/ 1687779 w 3638574"/>
                <a:gd name="connsiteY27-6940" fmla="*/ 4492350 h 4492350"/>
                <a:gd name="connsiteX0-6941" fmla="*/ 1687779 w 3638574"/>
                <a:gd name="connsiteY0-6942" fmla="*/ 4492350 h 4492350"/>
                <a:gd name="connsiteX1-6943" fmla="*/ 1740942 w 3638574"/>
                <a:gd name="connsiteY1-6944" fmla="*/ 3785190 h 4492350"/>
                <a:gd name="connsiteX2-6945" fmla="*/ 1239812 w 3638574"/>
                <a:gd name="connsiteY2-6946" fmla="*/ 3369121 h 4492350"/>
                <a:gd name="connsiteX3-6947" fmla="*/ 0 w 3638574"/>
                <a:gd name="connsiteY3-6948" fmla="*/ 2917145 h 4492350"/>
                <a:gd name="connsiteX4-6949" fmla="*/ 1087133 w 3638574"/>
                <a:gd name="connsiteY4-6950" fmla="*/ 3238920 h 4492350"/>
                <a:gd name="connsiteX5-6951" fmla="*/ 389581 w 3638574"/>
                <a:gd name="connsiteY5-6952" fmla="*/ 2412005 h 4492350"/>
                <a:gd name="connsiteX6-6953" fmla="*/ 1719677 w 3638574"/>
                <a:gd name="connsiteY6-6954" fmla="*/ 3519376 h 4492350"/>
                <a:gd name="connsiteX7-6955" fmla="*/ 1627995 w 3638574"/>
                <a:gd name="connsiteY7-6956" fmla="*/ 2400346 h 4492350"/>
                <a:gd name="connsiteX8-6957" fmla="*/ 4198 w 3638574"/>
                <a:gd name="connsiteY8-6958" fmla="*/ 742880 h 4492350"/>
                <a:gd name="connsiteX9-6959" fmla="*/ 932867 w 3638574"/>
                <a:gd name="connsiteY9-6960" fmla="*/ 1924493 h 4492350"/>
                <a:gd name="connsiteX10-6961" fmla="*/ 1037607 w 3638574"/>
                <a:gd name="connsiteY10-6962" fmla="*/ 857226 h 4492350"/>
                <a:gd name="connsiteX11-6963" fmla="*/ 1138710 w 3638574"/>
                <a:gd name="connsiteY11-6964" fmla="*/ 2026621 h 4492350"/>
                <a:gd name="connsiteX12-6965" fmla="*/ 1658679 w 3638574"/>
                <a:gd name="connsiteY12-6966" fmla="*/ 2194318 h 4492350"/>
                <a:gd name="connsiteX13-6967" fmla="*/ 1900430 w 3638574"/>
                <a:gd name="connsiteY13-6968" fmla="*/ 0 h 4492350"/>
                <a:gd name="connsiteX14-6969" fmla="*/ 1971873 w 3638574"/>
                <a:gd name="connsiteY14-6970" fmla="*/ 986216 h 4492350"/>
                <a:gd name="connsiteX15-6971" fmla="*/ 1826002 w 3638574"/>
                <a:gd name="connsiteY15-6972" fmla="*/ 2060385 h 4492350"/>
                <a:gd name="connsiteX16-6973" fmla="*/ 2001533 w 3638574"/>
                <a:gd name="connsiteY16-6974" fmla="*/ 3046321 h 4492350"/>
                <a:gd name="connsiteX17-6975" fmla="*/ 2591546 w 3638574"/>
                <a:gd name="connsiteY17-6976" fmla="*/ 2519916 h 4492350"/>
                <a:gd name="connsiteX18-6977" fmla="*/ 2857733 w 3638574"/>
                <a:gd name="connsiteY18-6978" fmla="*/ 1291762 h 4492350"/>
                <a:gd name="connsiteX19-6979" fmla="*/ 2750848 w 3638574"/>
                <a:gd name="connsiteY19-6980" fmla="*/ 2383091 h 4492350"/>
                <a:gd name="connsiteX20-6981" fmla="*/ 3638574 w 3638574"/>
                <a:gd name="connsiteY20-6982" fmla="*/ 1124252 h 4492350"/>
                <a:gd name="connsiteX21-6983" fmla="*/ 2166244 w 3638574"/>
                <a:gd name="connsiteY21-6984" fmla="*/ 3370521 h 4492350"/>
                <a:gd name="connsiteX22-6985" fmla="*/ 2113081 w 3638574"/>
                <a:gd name="connsiteY22-6986" fmla="*/ 3817088 h 4492350"/>
                <a:gd name="connsiteX23-6987" fmla="*/ 3261397 w 3638574"/>
                <a:gd name="connsiteY23-6988" fmla="*/ 3094074 h 4492350"/>
                <a:gd name="connsiteX24-6989" fmla="*/ 2138356 w 3638574"/>
                <a:gd name="connsiteY24-6990" fmla="*/ 4030951 h 4492350"/>
                <a:gd name="connsiteX25-6991" fmla="*/ 2176877 w 3638574"/>
                <a:gd name="connsiteY25-6992" fmla="*/ 4476307 h 4492350"/>
                <a:gd name="connsiteX26-6993" fmla="*/ 2162233 w 3638574"/>
                <a:gd name="connsiteY26-6994" fmla="*/ 4491415 h 4492350"/>
                <a:gd name="connsiteX27-6995" fmla="*/ 1687779 w 3638574"/>
                <a:gd name="connsiteY27-6996" fmla="*/ 4492350 h 4492350"/>
                <a:gd name="connsiteX0-6997" fmla="*/ 1687779 w 3638574"/>
                <a:gd name="connsiteY0-6998" fmla="*/ 4492350 h 4492350"/>
                <a:gd name="connsiteX1-6999" fmla="*/ 1740942 w 3638574"/>
                <a:gd name="connsiteY1-7000" fmla="*/ 3785190 h 4492350"/>
                <a:gd name="connsiteX2-7001" fmla="*/ 1239812 w 3638574"/>
                <a:gd name="connsiteY2-7002" fmla="*/ 3369121 h 4492350"/>
                <a:gd name="connsiteX3-7003" fmla="*/ 0 w 3638574"/>
                <a:gd name="connsiteY3-7004" fmla="*/ 2917145 h 4492350"/>
                <a:gd name="connsiteX4-7005" fmla="*/ 1087133 w 3638574"/>
                <a:gd name="connsiteY4-7006" fmla="*/ 3238920 h 4492350"/>
                <a:gd name="connsiteX5-7007" fmla="*/ 389581 w 3638574"/>
                <a:gd name="connsiteY5-7008" fmla="*/ 2412005 h 4492350"/>
                <a:gd name="connsiteX6-7009" fmla="*/ 1719677 w 3638574"/>
                <a:gd name="connsiteY6-7010" fmla="*/ 3519376 h 4492350"/>
                <a:gd name="connsiteX7-7011" fmla="*/ 1627995 w 3638574"/>
                <a:gd name="connsiteY7-7012" fmla="*/ 2400346 h 4492350"/>
                <a:gd name="connsiteX8-7013" fmla="*/ 4198 w 3638574"/>
                <a:gd name="connsiteY8-7014" fmla="*/ 742880 h 4492350"/>
                <a:gd name="connsiteX9-7015" fmla="*/ 932867 w 3638574"/>
                <a:gd name="connsiteY9-7016" fmla="*/ 1924493 h 4492350"/>
                <a:gd name="connsiteX10-7017" fmla="*/ 1037607 w 3638574"/>
                <a:gd name="connsiteY10-7018" fmla="*/ 857226 h 4492350"/>
                <a:gd name="connsiteX11-7019" fmla="*/ 1138710 w 3638574"/>
                <a:gd name="connsiteY11-7020" fmla="*/ 2026621 h 4492350"/>
                <a:gd name="connsiteX12-7021" fmla="*/ 1658679 w 3638574"/>
                <a:gd name="connsiteY12-7022" fmla="*/ 2194318 h 4492350"/>
                <a:gd name="connsiteX13-7023" fmla="*/ 1900430 w 3638574"/>
                <a:gd name="connsiteY13-7024" fmla="*/ 0 h 4492350"/>
                <a:gd name="connsiteX14-7025" fmla="*/ 1971873 w 3638574"/>
                <a:gd name="connsiteY14-7026" fmla="*/ 986216 h 4492350"/>
                <a:gd name="connsiteX15-7027" fmla="*/ 1826002 w 3638574"/>
                <a:gd name="connsiteY15-7028" fmla="*/ 2060385 h 4492350"/>
                <a:gd name="connsiteX16-7029" fmla="*/ 2001533 w 3638574"/>
                <a:gd name="connsiteY16-7030" fmla="*/ 3046321 h 4492350"/>
                <a:gd name="connsiteX17-7031" fmla="*/ 2591546 w 3638574"/>
                <a:gd name="connsiteY17-7032" fmla="*/ 2519916 h 4492350"/>
                <a:gd name="connsiteX18-7033" fmla="*/ 2857733 w 3638574"/>
                <a:gd name="connsiteY18-7034" fmla="*/ 1291762 h 4492350"/>
                <a:gd name="connsiteX19-7035" fmla="*/ 2750848 w 3638574"/>
                <a:gd name="connsiteY19-7036" fmla="*/ 2383091 h 4492350"/>
                <a:gd name="connsiteX20-7037" fmla="*/ 3638574 w 3638574"/>
                <a:gd name="connsiteY20-7038" fmla="*/ 1124252 h 4492350"/>
                <a:gd name="connsiteX21-7039" fmla="*/ 2166244 w 3638574"/>
                <a:gd name="connsiteY21-7040" fmla="*/ 3370521 h 4492350"/>
                <a:gd name="connsiteX22-7041" fmla="*/ 2113081 w 3638574"/>
                <a:gd name="connsiteY22-7042" fmla="*/ 3817088 h 4492350"/>
                <a:gd name="connsiteX23-7043" fmla="*/ 3261397 w 3638574"/>
                <a:gd name="connsiteY23-7044" fmla="*/ 3094074 h 4492350"/>
                <a:gd name="connsiteX24-7045" fmla="*/ 2138356 w 3638574"/>
                <a:gd name="connsiteY24-7046" fmla="*/ 4030951 h 4492350"/>
                <a:gd name="connsiteX25-7047" fmla="*/ 2176877 w 3638574"/>
                <a:gd name="connsiteY25-7048" fmla="*/ 4476307 h 4492350"/>
                <a:gd name="connsiteX26-7049" fmla="*/ 2162233 w 3638574"/>
                <a:gd name="connsiteY26-7050" fmla="*/ 4491415 h 4492350"/>
                <a:gd name="connsiteX27-7051" fmla="*/ 1687779 w 3638574"/>
                <a:gd name="connsiteY27-7052" fmla="*/ 4492350 h 4492350"/>
                <a:gd name="connsiteX0-7053" fmla="*/ 1687779 w 3638574"/>
                <a:gd name="connsiteY0-7054" fmla="*/ 4492350 h 4492350"/>
                <a:gd name="connsiteX1-7055" fmla="*/ 1740942 w 3638574"/>
                <a:gd name="connsiteY1-7056" fmla="*/ 3785190 h 4492350"/>
                <a:gd name="connsiteX2-7057" fmla="*/ 1239812 w 3638574"/>
                <a:gd name="connsiteY2-7058" fmla="*/ 3369121 h 4492350"/>
                <a:gd name="connsiteX3-7059" fmla="*/ 0 w 3638574"/>
                <a:gd name="connsiteY3-7060" fmla="*/ 2917145 h 4492350"/>
                <a:gd name="connsiteX4-7061" fmla="*/ 1087133 w 3638574"/>
                <a:gd name="connsiteY4-7062" fmla="*/ 3238920 h 4492350"/>
                <a:gd name="connsiteX5-7063" fmla="*/ 389581 w 3638574"/>
                <a:gd name="connsiteY5-7064" fmla="*/ 2412005 h 4492350"/>
                <a:gd name="connsiteX6-7065" fmla="*/ 1719677 w 3638574"/>
                <a:gd name="connsiteY6-7066" fmla="*/ 3519376 h 4492350"/>
                <a:gd name="connsiteX7-7067" fmla="*/ 1627995 w 3638574"/>
                <a:gd name="connsiteY7-7068" fmla="*/ 2400346 h 4492350"/>
                <a:gd name="connsiteX8-7069" fmla="*/ 4198 w 3638574"/>
                <a:gd name="connsiteY8-7070" fmla="*/ 742880 h 4492350"/>
                <a:gd name="connsiteX9-7071" fmla="*/ 932867 w 3638574"/>
                <a:gd name="connsiteY9-7072" fmla="*/ 1924493 h 4492350"/>
                <a:gd name="connsiteX10-7073" fmla="*/ 1037607 w 3638574"/>
                <a:gd name="connsiteY10-7074" fmla="*/ 857226 h 4492350"/>
                <a:gd name="connsiteX11-7075" fmla="*/ 1138710 w 3638574"/>
                <a:gd name="connsiteY11-7076" fmla="*/ 2026621 h 4492350"/>
                <a:gd name="connsiteX12-7077" fmla="*/ 1658679 w 3638574"/>
                <a:gd name="connsiteY12-7078" fmla="*/ 2194318 h 4492350"/>
                <a:gd name="connsiteX13-7079" fmla="*/ 1900430 w 3638574"/>
                <a:gd name="connsiteY13-7080" fmla="*/ 0 h 4492350"/>
                <a:gd name="connsiteX14-7081" fmla="*/ 1971873 w 3638574"/>
                <a:gd name="connsiteY14-7082" fmla="*/ 986216 h 4492350"/>
                <a:gd name="connsiteX15-7083" fmla="*/ 1826002 w 3638574"/>
                <a:gd name="connsiteY15-7084" fmla="*/ 2060385 h 4492350"/>
                <a:gd name="connsiteX16-7085" fmla="*/ 2001533 w 3638574"/>
                <a:gd name="connsiteY16-7086" fmla="*/ 3046321 h 4492350"/>
                <a:gd name="connsiteX17-7087" fmla="*/ 2591546 w 3638574"/>
                <a:gd name="connsiteY17-7088" fmla="*/ 2519916 h 4492350"/>
                <a:gd name="connsiteX18-7089" fmla="*/ 2857733 w 3638574"/>
                <a:gd name="connsiteY18-7090" fmla="*/ 1291762 h 4492350"/>
                <a:gd name="connsiteX19-7091" fmla="*/ 2750848 w 3638574"/>
                <a:gd name="connsiteY19-7092" fmla="*/ 2383091 h 4492350"/>
                <a:gd name="connsiteX20-7093" fmla="*/ 3638574 w 3638574"/>
                <a:gd name="connsiteY20-7094" fmla="*/ 1124252 h 4492350"/>
                <a:gd name="connsiteX21-7095" fmla="*/ 2166244 w 3638574"/>
                <a:gd name="connsiteY21-7096" fmla="*/ 3370521 h 4492350"/>
                <a:gd name="connsiteX22-7097" fmla="*/ 2113081 w 3638574"/>
                <a:gd name="connsiteY22-7098" fmla="*/ 3817088 h 4492350"/>
                <a:gd name="connsiteX23-7099" fmla="*/ 3261397 w 3638574"/>
                <a:gd name="connsiteY23-7100" fmla="*/ 3094074 h 4492350"/>
                <a:gd name="connsiteX24-7101" fmla="*/ 2138356 w 3638574"/>
                <a:gd name="connsiteY24-7102" fmla="*/ 4030951 h 4492350"/>
                <a:gd name="connsiteX25-7103" fmla="*/ 2176877 w 3638574"/>
                <a:gd name="connsiteY25-7104" fmla="*/ 4476307 h 4492350"/>
                <a:gd name="connsiteX26-7105" fmla="*/ 2162233 w 3638574"/>
                <a:gd name="connsiteY26-7106" fmla="*/ 4491415 h 4492350"/>
                <a:gd name="connsiteX27-7107" fmla="*/ 1687779 w 3638574"/>
                <a:gd name="connsiteY27-7108" fmla="*/ 4492350 h 4492350"/>
                <a:gd name="connsiteX0-7109" fmla="*/ 1687779 w 3638574"/>
                <a:gd name="connsiteY0-7110" fmla="*/ 4492350 h 4492350"/>
                <a:gd name="connsiteX1-7111" fmla="*/ 1740942 w 3638574"/>
                <a:gd name="connsiteY1-7112" fmla="*/ 3785190 h 4492350"/>
                <a:gd name="connsiteX2-7113" fmla="*/ 1239812 w 3638574"/>
                <a:gd name="connsiteY2-7114" fmla="*/ 3369121 h 4492350"/>
                <a:gd name="connsiteX3-7115" fmla="*/ 0 w 3638574"/>
                <a:gd name="connsiteY3-7116" fmla="*/ 2917145 h 4492350"/>
                <a:gd name="connsiteX4-7117" fmla="*/ 1087133 w 3638574"/>
                <a:gd name="connsiteY4-7118" fmla="*/ 3238920 h 4492350"/>
                <a:gd name="connsiteX5-7119" fmla="*/ 389581 w 3638574"/>
                <a:gd name="connsiteY5-7120" fmla="*/ 2412005 h 4492350"/>
                <a:gd name="connsiteX6-7121" fmla="*/ 1719677 w 3638574"/>
                <a:gd name="connsiteY6-7122" fmla="*/ 3519376 h 4492350"/>
                <a:gd name="connsiteX7-7123" fmla="*/ 1627995 w 3638574"/>
                <a:gd name="connsiteY7-7124" fmla="*/ 2400346 h 4492350"/>
                <a:gd name="connsiteX8-7125" fmla="*/ 4198 w 3638574"/>
                <a:gd name="connsiteY8-7126" fmla="*/ 742880 h 4492350"/>
                <a:gd name="connsiteX9-7127" fmla="*/ 932867 w 3638574"/>
                <a:gd name="connsiteY9-7128" fmla="*/ 1924493 h 4492350"/>
                <a:gd name="connsiteX10-7129" fmla="*/ 1037607 w 3638574"/>
                <a:gd name="connsiteY10-7130" fmla="*/ 857226 h 4492350"/>
                <a:gd name="connsiteX11-7131" fmla="*/ 1138710 w 3638574"/>
                <a:gd name="connsiteY11-7132" fmla="*/ 2026621 h 4492350"/>
                <a:gd name="connsiteX12-7133" fmla="*/ 1646038 w 3638574"/>
                <a:gd name="connsiteY12-7134" fmla="*/ 2198532 h 4492350"/>
                <a:gd name="connsiteX13-7135" fmla="*/ 1900430 w 3638574"/>
                <a:gd name="connsiteY13-7136" fmla="*/ 0 h 4492350"/>
                <a:gd name="connsiteX14-7137" fmla="*/ 1971873 w 3638574"/>
                <a:gd name="connsiteY14-7138" fmla="*/ 986216 h 4492350"/>
                <a:gd name="connsiteX15-7139" fmla="*/ 1826002 w 3638574"/>
                <a:gd name="connsiteY15-7140" fmla="*/ 2060385 h 4492350"/>
                <a:gd name="connsiteX16-7141" fmla="*/ 2001533 w 3638574"/>
                <a:gd name="connsiteY16-7142" fmla="*/ 3046321 h 4492350"/>
                <a:gd name="connsiteX17-7143" fmla="*/ 2591546 w 3638574"/>
                <a:gd name="connsiteY17-7144" fmla="*/ 2519916 h 4492350"/>
                <a:gd name="connsiteX18-7145" fmla="*/ 2857733 w 3638574"/>
                <a:gd name="connsiteY18-7146" fmla="*/ 1291762 h 4492350"/>
                <a:gd name="connsiteX19-7147" fmla="*/ 2750848 w 3638574"/>
                <a:gd name="connsiteY19-7148" fmla="*/ 2383091 h 4492350"/>
                <a:gd name="connsiteX20-7149" fmla="*/ 3638574 w 3638574"/>
                <a:gd name="connsiteY20-7150" fmla="*/ 1124252 h 4492350"/>
                <a:gd name="connsiteX21-7151" fmla="*/ 2166244 w 3638574"/>
                <a:gd name="connsiteY21-7152" fmla="*/ 3370521 h 4492350"/>
                <a:gd name="connsiteX22-7153" fmla="*/ 2113081 w 3638574"/>
                <a:gd name="connsiteY22-7154" fmla="*/ 3817088 h 4492350"/>
                <a:gd name="connsiteX23-7155" fmla="*/ 3261397 w 3638574"/>
                <a:gd name="connsiteY23-7156" fmla="*/ 3094074 h 4492350"/>
                <a:gd name="connsiteX24-7157" fmla="*/ 2138356 w 3638574"/>
                <a:gd name="connsiteY24-7158" fmla="*/ 4030951 h 4492350"/>
                <a:gd name="connsiteX25-7159" fmla="*/ 2176877 w 3638574"/>
                <a:gd name="connsiteY25-7160" fmla="*/ 4476307 h 4492350"/>
                <a:gd name="connsiteX26-7161" fmla="*/ 2162233 w 3638574"/>
                <a:gd name="connsiteY26-7162" fmla="*/ 4491415 h 4492350"/>
                <a:gd name="connsiteX27-7163" fmla="*/ 1687779 w 3638574"/>
                <a:gd name="connsiteY27-7164" fmla="*/ 4492350 h 4492350"/>
                <a:gd name="connsiteX0-7165" fmla="*/ 1687779 w 3638574"/>
                <a:gd name="connsiteY0-7166" fmla="*/ 4492350 h 4492350"/>
                <a:gd name="connsiteX1-7167" fmla="*/ 1719873 w 3638574"/>
                <a:gd name="connsiteY1-7168" fmla="*/ 3785190 h 4492350"/>
                <a:gd name="connsiteX2-7169" fmla="*/ 1239812 w 3638574"/>
                <a:gd name="connsiteY2-7170" fmla="*/ 3369121 h 4492350"/>
                <a:gd name="connsiteX3-7171" fmla="*/ 0 w 3638574"/>
                <a:gd name="connsiteY3-7172" fmla="*/ 2917145 h 4492350"/>
                <a:gd name="connsiteX4-7173" fmla="*/ 1087133 w 3638574"/>
                <a:gd name="connsiteY4-7174" fmla="*/ 3238920 h 4492350"/>
                <a:gd name="connsiteX5-7175" fmla="*/ 389581 w 3638574"/>
                <a:gd name="connsiteY5-7176" fmla="*/ 2412005 h 4492350"/>
                <a:gd name="connsiteX6-7177" fmla="*/ 1719677 w 3638574"/>
                <a:gd name="connsiteY6-7178" fmla="*/ 3519376 h 4492350"/>
                <a:gd name="connsiteX7-7179" fmla="*/ 1627995 w 3638574"/>
                <a:gd name="connsiteY7-7180" fmla="*/ 2400346 h 4492350"/>
                <a:gd name="connsiteX8-7181" fmla="*/ 4198 w 3638574"/>
                <a:gd name="connsiteY8-7182" fmla="*/ 742880 h 4492350"/>
                <a:gd name="connsiteX9-7183" fmla="*/ 932867 w 3638574"/>
                <a:gd name="connsiteY9-7184" fmla="*/ 1924493 h 4492350"/>
                <a:gd name="connsiteX10-7185" fmla="*/ 1037607 w 3638574"/>
                <a:gd name="connsiteY10-7186" fmla="*/ 857226 h 4492350"/>
                <a:gd name="connsiteX11-7187" fmla="*/ 1138710 w 3638574"/>
                <a:gd name="connsiteY11-7188" fmla="*/ 2026621 h 4492350"/>
                <a:gd name="connsiteX12-7189" fmla="*/ 1646038 w 3638574"/>
                <a:gd name="connsiteY12-7190" fmla="*/ 2198532 h 4492350"/>
                <a:gd name="connsiteX13-7191" fmla="*/ 1900430 w 3638574"/>
                <a:gd name="connsiteY13-7192" fmla="*/ 0 h 4492350"/>
                <a:gd name="connsiteX14-7193" fmla="*/ 1971873 w 3638574"/>
                <a:gd name="connsiteY14-7194" fmla="*/ 986216 h 4492350"/>
                <a:gd name="connsiteX15-7195" fmla="*/ 1826002 w 3638574"/>
                <a:gd name="connsiteY15-7196" fmla="*/ 2060385 h 4492350"/>
                <a:gd name="connsiteX16-7197" fmla="*/ 2001533 w 3638574"/>
                <a:gd name="connsiteY16-7198" fmla="*/ 3046321 h 4492350"/>
                <a:gd name="connsiteX17-7199" fmla="*/ 2591546 w 3638574"/>
                <a:gd name="connsiteY17-7200" fmla="*/ 2519916 h 4492350"/>
                <a:gd name="connsiteX18-7201" fmla="*/ 2857733 w 3638574"/>
                <a:gd name="connsiteY18-7202" fmla="*/ 1291762 h 4492350"/>
                <a:gd name="connsiteX19-7203" fmla="*/ 2750848 w 3638574"/>
                <a:gd name="connsiteY19-7204" fmla="*/ 2383091 h 4492350"/>
                <a:gd name="connsiteX20-7205" fmla="*/ 3638574 w 3638574"/>
                <a:gd name="connsiteY20-7206" fmla="*/ 1124252 h 4492350"/>
                <a:gd name="connsiteX21-7207" fmla="*/ 2166244 w 3638574"/>
                <a:gd name="connsiteY21-7208" fmla="*/ 3370521 h 4492350"/>
                <a:gd name="connsiteX22-7209" fmla="*/ 2113081 w 3638574"/>
                <a:gd name="connsiteY22-7210" fmla="*/ 3817088 h 4492350"/>
                <a:gd name="connsiteX23-7211" fmla="*/ 3261397 w 3638574"/>
                <a:gd name="connsiteY23-7212" fmla="*/ 3094074 h 4492350"/>
                <a:gd name="connsiteX24-7213" fmla="*/ 2138356 w 3638574"/>
                <a:gd name="connsiteY24-7214" fmla="*/ 4030951 h 4492350"/>
                <a:gd name="connsiteX25-7215" fmla="*/ 2176877 w 3638574"/>
                <a:gd name="connsiteY25-7216" fmla="*/ 4476307 h 4492350"/>
                <a:gd name="connsiteX26-7217" fmla="*/ 2162233 w 3638574"/>
                <a:gd name="connsiteY26-7218" fmla="*/ 4491415 h 4492350"/>
                <a:gd name="connsiteX27-7219" fmla="*/ 1687779 w 3638574"/>
                <a:gd name="connsiteY27-7220" fmla="*/ 4492350 h 4492350"/>
                <a:gd name="connsiteX0-7221" fmla="*/ 1687779 w 3638574"/>
                <a:gd name="connsiteY0-7222" fmla="*/ 4492350 h 4492350"/>
                <a:gd name="connsiteX1-7223" fmla="*/ 1703018 w 3638574"/>
                <a:gd name="connsiteY1-7224" fmla="*/ 3785190 h 4492350"/>
                <a:gd name="connsiteX2-7225" fmla="*/ 1239812 w 3638574"/>
                <a:gd name="connsiteY2-7226" fmla="*/ 3369121 h 4492350"/>
                <a:gd name="connsiteX3-7227" fmla="*/ 0 w 3638574"/>
                <a:gd name="connsiteY3-7228" fmla="*/ 2917145 h 4492350"/>
                <a:gd name="connsiteX4-7229" fmla="*/ 1087133 w 3638574"/>
                <a:gd name="connsiteY4-7230" fmla="*/ 3238920 h 4492350"/>
                <a:gd name="connsiteX5-7231" fmla="*/ 389581 w 3638574"/>
                <a:gd name="connsiteY5-7232" fmla="*/ 2412005 h 4492350"/>
                <a:gd name="connsiteX6-7233" fmla="*/ 1719677 w 3638574"/>
                <a:gd name="connsiteY6-7234" fmla="*/ 3519376 h 4492350"/>
                <a:gd name="connsiteX7-7235" fmla="*/ 1627995 w 3638574"/>
                <a:gd name="connsiteY7-7236" fmla="*/ 2400346 h 4492350"/>
                <a:gd name="connsiteX8-7237" fmla="*/ 4198 w 3638574"/>
                <a:gd name="connsiteY8-7238" fmla="*/ 742880 h 4492350"/>
                <a:gd name="connsiteX9-7239" fmla="*/ 932867 w 3638574"/>
                <a:gd name="connsiteY9-7240" fmla="*/ 1924493 h 4492350"/>
                <a:gd name="connsiteX10-7241" fmla="*/ 1037607 w 3638574"/>
                <a:gd name="connsiteY10-7242" fmla="*/ 857226 h 4492350"/>
                <a:gd name="connsiteX11-7243" fmla="*/ 1138710 w 3638574"/>
                <a:gd name="connsiteY11-7244" fmla="*/ 2026621 h 4492350"/>
                <a:gd name="connsiteX12-7245" fmla="*/ 1646038 w 3638574"/>
                <a:gd name="connsiteY12-7246" fmla="*/ 2198532 h 4492350"/>
                <a:gd name="connsiteX13-7247" fmla="*/ 1900430 w 3638574"/>
                <a:gd name="connsiteY13-7248" fmla="*/ 0 h 4492350"/>
                <a:gd name="connsiteX14-7249" fmla="*/ 1971873 w 3638574"/>
                <a:gd name="connsiteY14-7250" fmla="*/ 986216 h 4492350"/>
                <a:gd name="connsiteX15-7251" fmla="*/ 1826002 w 3638574"/>
                <a:gd name="connsiteY15-7252" fmla="*/ 2060385 h 4492350"/>
                <a:gd name="connsiteX16-7253" fmla="*/ 2001533 w 3638574"/>
                <a:gd name="connsiteY16-7254" fmla="*/ 3046321 h 4492350"/>
                <a:gd name="connsiteX17-7255" fmla="*/ 2591546 w 3638574"/>
                <a:gd name="connsiteY17-7256" fmla="*/ 2519916 h 4492350"/>
                <a:gd name="connsiteX18-7257" fmla="*/ 2857733 w 3638574"/>
                <a:gd name="connsiteY18-7258" fmla="*/ 1291762 h 4492350"/>
                <a:gd name="connsiteX19-7259" fmla="*/ 2750848 w 3638574"/>
                <a:gd name="connsiteY19-7260" fmla="*/ 2383091 h 4492350"/>
                <a:gd name="connsiteX20-7261" fmla="*/ 3638574 w 3638574"/>
                <a:gd name="connsiteY20-7262" fmla="*/ 1124252 h 4492350"/>
                <a:gd name="connsiteX21-7263" fmla="*/ 2166244 w 3638574"/>
                <a:gd name="connsiteY21-7264" fmla="*/ 3370521 h 4492350"/>
                <a:gd name="connsiteX22-7265" fmla="*/ 2113081 w 3638574"/>
                <a:gd name="connsiteY22-7266" fmla="*/ 3817088 h 4492350"/>
                <a:gd name="connsiteX23-7267" fmla="*/ 3261397 w 3638574"/>
                <a:gd name="connsiteY23-7268" fmla="*/ 3094074 h 4492350"/>
                <a:gd name="connsiteX24-7269" fmla="*/ 2138356 w 3638574"/>
                <a:gd name="connsiteY24-7270" fmla="*/ 4030951 h 4492350"/>
                <a:gd name="connsiteX25-7271" fmla="*/ 2176877 w 3638574"/>
                <a:gd name="connsiteY25-7272" fmla="*/ 4476307 h 4492350"/>
                <a:gd name="connsiteX26-7273" fmla="*/ 2162233 w 3638574"/>
                <a:gd name="connsiteY26-7274" fmla="*/ 4491415 h 4492350"/>
                <a:gd name="connsiteX27-7275" fmla="*/ 1687779 w 3638574"/>
                <a:gd name="connsiteY27-7276" fmla="*/ 4492350 h 4492350"/>
                <a:gd name="connsiteX0-7277" fmla="*/ 1687779 w 3638574"/>
                <a:gd name="connsiteY0-7278" fmla="*/ 4492350 h 4492350"/>
                <a:gd name="connsiteX1-7279" fmla="*/ 1703018 w 3638574"/>
                <a:gd name="connsiteY1-7280" fmla="*/ 3785190 h 4492350"/>
                <a:gd name="connsiteX2-7281" fmla="*/ 1239812 w 3638574"/>
                <a:gd name="connsiteY2-7282" fmla="*/ 3369121 h 4492350"/>
                <a:gd name="connsiteX3-7283" fmla="*/ 0 w 3638574"/>
                <a:gd name="connsiteY3-7284" fmla="*/ 2917145 h 4492350"/>
                <a:gd name="connsiteX4-7285" fmla="*/ 1087133 w 3638574"/>
                <a:gd name="connsiteY4-7286" fmla="*/ 3238920 h 4492350"/>
                <a:gd name="connsiteX5-7287" fmla="*/ 389581 w 3638574"/>
                <a:gd name="connsiteY5-7288" fmla="*/ 2412005 h 4492350"/>
                <a:gd name="connsiteX6-7289" fmla="*/ 1719677 w 3638574"/>
                <a:gd name="connsiteY6-7290" fmla="*/ 3519376 h 4492350"/>
                <a:gd name="connsiteX7-7291" fmla="*/ 1627995 w 3638574"/>
                <a:gd name="connsiteY7-7292" fmla="*/ 2400346 h 4492350"/>
                <a:gd name="connsiteX8-7293" fmla="*/ 4198 w 3638574"/>
                <a:gd name="connsiteY8-7294" fmla="*/ 742880 h 4492350"/>
                <a:gd name="connsiteX9-7295" fmla="*/ 932867 w 3638574"/>
                <a:gd name="connsiteY9-7296" fmla="*/ 1924493 h 4492350"/>
                <a:gd name="connsiteX10-7297" fmla="*/ 1037607 w 3638574"/>
                <a:gd name="connsiteY10-7298" fmla="*/ 857226 h 4492350"/>
                <a:gd name="connsiteX11-7299" fmla="*/ 1138710 w 3638574"/>
                <a:gd name="connsiteY11-7300" fmla="*/ 2026621 h 4492350"/>
                <a:gd name="connsiteX12-7301" fmla="*/ 1646038 w 3638574"/>
                <a:gd name="connsiteY12-7302" fmla="*/ 2198532 h 4492350"/>
                <a:gd name="connsiteX13-7303" fmla="*/ 1900430 w 3638574"/>
                <a:gd name="connsiteY13-7304" fmla="*/ 0 h 4492350"/>
                <a:gd name="connsiteX14-7305" fmla="*/ 1971873 w 3638574"/>
                <a:gd name="connsiteY14-7306" fmla="*/ 986216 h 4492350"/>
                <a:gd name="connsiteX15-7307" fmla="*/ 1826002 w 3638574"/>
                <a:gd name="connsiteY15-7308" fmla="*/ 2060385 h 4492350"/>
                <a:gd name="connsiteX16-7309" fmla="*/ 2001533 w 3638574"/>
                <a:gd name="connsiteY16-7310" fmla="*/ 3046321 h 4492350"/>
                <a:gd name="connsiteX17-7311" fmla="*/ 2591546 w 3638574"/>
                <a:gd name="connsiteY17-7312" fmla="*/ 2519916 h 4492350"/>
                <a:gd name="connsiteX18-7313" fmla="*/ 2857733 w 3638574"/>
                <a:gd name="connsiteY18-7314" fmla="*/ 1291762 h 4492350"/>
                <a:gd name="connsiteX19-7315" fmla="*/ 2750848 w 3638574"/>
                <a:gd name="connsiteY19-7316" fmla="*/ 2383091 h 4492350"/>
                <a:gd name="connsiteX20-7317" fmla="*/ 3638574 w 3638574"/>
                <a:gd name="connsiteY20-7318" fmla="*/ 1124252 h 4492350"/>
                <a:gd name="connsiteX21-7319" fmla="*/ 2166244 w 3638574"/>
                <a:gd name="connsiteY21-7320" fmla="*/ 3370521 h 4492350"/>
                <a:gd name="connsiteX22-7321" fmla="*/ 2121509 w 3638574"/>
                <a:gd name="connsiteY22-7322" fmla="*/ 3808660 h 4492350"/>
                <a:gd name="connsiteX23-7323" fmla="*/ 3261397 w 3638574"/>
                <a:gd name="connsiteY23-7324" fmla="*/ 3094074 h 4492350"/>
                <a:gd name="connsiteX24-7325" fmla="*/ 2138356 w 3638574"/>
                <a:gd name="connsiteY24-7326" fmla="*/ 4030951 h 4492350"/>
                <a:gd name="connsiteX25-7327" fmla="*/ 2176877 w 3638574"/>
                <a:gd name="connsiteY25-7328" fmla="*/ 4476307 h 4492350"/>
                <a:gd name="connsiteX26-7329" fmla="*/ 2162233 w 3638574"/>
                <a:gd name="connsiteY26-7330" fmla="*/ 4491415 h 4492350"/>
                <a:gd name="connsiteX27-7331" fmla="*/ 1687779 w 3638574"/>
                <a:gd name="connsiteY27-7332" fmla="*/ 4492350 h 449235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163" y="connsiteY27-164"/>
                </a:cxn>
              </a:cxnLst>
              <a:rect l="l" t="t" r="r" b="b"/>
              <a:pathLst>
                <a:path w="3638574" h="4492350">
                  <a:moveTo>
                    <a:pt x="1687779" y="4492350"/>
                  </a:moveTo>
                  <a:cubicBezTo>
                    <a:pt x="1649353" y="4280693"/>
                    <a:pt x="1685297" y="4020910"/>
                    <a:pt x="1703018" y="3785190"/>
                  </a:cubicBezTo>
                  <a:lnTo>
                    <a:pt x="1239812" y="3369121"/>
                  </a:lnTo>
                  <a:cubicBezTo>
                    <a:pt x="710236" y="3436368"/>
                    <a:pt x="325039" y="3138656"/>
                    <a:pt x="0" y="2917145"/>
                  </a:cubicBezTo>
                  <a:cubicBezTo>
                    <a:pt x="370399" y="3119320"/>
                    <a:pt x="1037576" y="3333525"/>
                    <a:pt x="1087133" y="3238920"/>
                  </a:cubicBezTo>
                  <a:cubicBezTo>
                    <a:pt x="945521" y="3141082"/>
                    <a:pt x="539214" y="2730422"/>
                    <a:pt x="389581" y="2412005"/>
                  </a:cubicBezTo>
                  <a:cubicBezTo>
                    <a:pt x="859682" y="2946896"/>
                    <a:pt x="1430048" y="3277253"/>
                    <a:pt x="1719677" y="3519376"/>
                  </a:cubicBezTo>
                  <a:cubicBezTo>
                    <a:pt x="1735906" y="3304113"/>
                    <a:pt x="1659893" y="2776030"/>
                    <a:pt x="1627995" y="2400346"/>
                  </a:cubicBezTo>
                  <a:cubicBezTo>
                    <a:pt x="725782" y="2160678"/>
                    <a:pt x="172484" y="1536000"/>
                    <a:pt x="4198" y="742880"/>
                  </a:cubicBezTo>
                  <a:cubicBezTo>
                    <a:pt x="248250" y="1210277"/>
                    <a:pt x="456205" y="1649601"/>
                    <a:pt x="932867" y="1924493"/>
                  </a:cubicBezTo>
                  <a:cubicBezTo>
                    <a:pt x="1158949" y="1666327"/>
                    <a:pt x="1108304" y="1211645"/>
                    <a:pt x="1037607" y="857226"/>
                  </a:cubicBezTo>
                  <a:cubicBezTo>
                    <a:pt x="1222371" y="1153446"/>
                    <a:pt x="1266767" y="1586023"/>
                    <a:pt x="1138710" y="2026621"/>
                  </a:cubicBezTo>
                  <a:cubicBezTo>
                    <a:pt x="1250538" y="2109256"/>
                    <a:pt x="1570304" y="2252254"/>
                    <a:pt x="1646038" y="2198532"/>
                  </a:cubicBezTo>
                  <a:cubicBezTo>
                    <a:pt x="1690527" y="1476450"/>
                    <a:pt x="1904067" y="874481"/>
                    <a:pt x="1900430" y="0"/>
                  </a:cubicBezTo>
                  <a:cubicBezTo>
                    <a:pt x="1976693" y="192349"/>
                    <a:pt x="2015482" y="645373"/>
                    <a:pt x="1971873" y="986216"/>
                  </a:cubicBezTo>
                  <a:cubicBezTo>
                    <a:pt x="1947436" y="1177213"/>
                    <a:pt x="1846749" y="1657958"/>
                    <a:pt x="1826002" y="2060385"/>
                  </a:cubicBezTo>
                  <a:cubicBezTo>
                    <a:pt x="1811014" y="2351099"/>
                    <a:pt x="1951043" y="3007770"/>
                    <a:pt x="2001533" y="3046321"/>
                  </a:cubicBezTo>
                  <a:cubicBezTo>
                    <a:pt x="2041794" y="3055338"/>
                    <a:pt x="2575349" y="2567047"/>
                    <a:pt x="2591546" y="2519916"/>
                  </a:cubicBezTo>
                  <a:cubicBezTo>
                    <a:pt x="2482423" y="2107858"/>
                    <a:pt x="2569814" y="1503293"/>
                    <a:pt x="2857733" y="1291762"/>
                  </a:cubicBezTo>
                  <a:cubicBezTo>
                    <a:pt x="2648315" y="1639496"/>
                    <a:pt x="2663487" y="2195777"/>
                    <a:pt x="2750848" y="2383091"/>
                  </a:cubicBezTo>
                  <a:cubicBezTo>
                    <a:pt x="3066810" y="2282983"/>
                    <a:pt x="3503085" y="1513118"/>
                    <a:pt x="3638574" y="1124252"/>
                  </a:cubicBezTo>
                  <a:cubicBezTo>
                    <a:pt x="3492704" y="2254009"/>
                    <a:pt x="2460505" y="2814271"/>
                    <a:pt x="2166244" y="3370521"/>
                  </a:cubicBezTo>
                  <a:cubicBezTo>
                    <a:pt x="2148523" y="3519377"/>
                    <a:pt x="2147251" y="3667825"/>
                    <a:pt x="2121509" y="3808660"/>
                  </a:cubicBezTo>
                  <a:cubicBezTo>
                    <a:pt x="2452144" y="3808286"/>
                    <a:pt x="3159362" y="3298984"/>
                    <a:pt x="3261397" y="3094074"/>
                  </a:cubicBezTo>
                  <a:cubicBezTo>
                    <a:pt x="3262702" y="3429094"/>
                    <a:pt x="2493987" y="3820258"/>
                    <a:pt x="2138356" y="4030951"/>
                  </a:cubicBezTo>
                  <a:cubicBezTo>
                    <a:pt x="2116438" y="4040371"/>
                    <a:pt x="2182753" y="4334539"/>
                    <a:pt x="2176877" y="4476307"/>
                  </a:cubicBezTo>
                  <a:cubicBezTo>
                    <a:pt x="2170659" y="4477332"/>
                    <a:pt x="2168451" y="4490390"/>
                    <a:pt x="2162233" y="4491415"/>
                  </a:cubicBezTo>
                  <a:lnTo>
                    <a:pt x="1687779" y="4492350"/>
                  </a:lnTo>
                  <a:close/>
                </a:path>
              </a:pathLst>
            </a:custGeom>
            <a:solidFill>
              <a:schemeClr val="tx1">
                <a:lumMod val="50000"/>
                <a:lumOff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组合 6"/>
            <p:cNvGrpSpPr/>
            <p:nvPr/>
          </p:nvGrpSpPr>
          <p:grpSpPr>
            <a:xfrm>
              <a:off x="3086367" y="3240781"/>
              <a:ext cx="548548" cy="387899"/>
              <a:chOff x="3190897" y="2994982"/>
              <a:chExt cx="548548" cy="387899"/>
            </a:xfrm>
          </p:grpSpPr>
          <p:sp>
            <p:nvSpPr>
              <p:cNvPr id="29" name="椭圆 28"/>
              <p:cNvSpPr>
                <a:spLocks noChangeAspect="1"/>
              </p:cNvSpPr>
              <p:nvPr/>
            </p:nvSpPr>
            <p:spPr>
              <a:xfrm>
                <a:off x="3226456" y="2994982"/>
                <a:ext cx="387900" cy="387899"/>
              </a:xfrm>
              <a:prstGeom prst="ellipse">
                <a:avLst/>
              </a:prstGeom>
              <a:solidFill>
                <a:srgbClr val="80008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30" name="TextBox 29"/>
              <p:cNvSpPr txBox="1"/>
              <p:nvPr/>
            </p:nvSpPr>
            <p:spPr>
              <a:xfrm>
                <a:off x="3190897" y="3052947"/>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8" name="组合 7"/>
            <p:cNvGrpSpPr/>
            <p:nvPr/>
          </p:nvGrpSpPr>
          <p:grpSpPr>
            <a:xfrm>
              <a:off x="1694185" y="1856222"/>
              <a:ext cx="548548" cy="387899"/>
              <a:chOff x="3181944" y="2994982"/>
              <a:chExt cx="548548" cy="387899"/>
            </a:xfrm>
          </p:grpSpPr>
          <p:sp>
            <p:nvSpPr>
              <p:cNvPr id="27" name="椭圆 26"/>
              <p:cNvSpPr>
                <a:spLocks noChangeAspect="1"/>
              </p:cNvSpPr>
              <p:nvPr/>
            </p:nvSpPr>
            <p:spPr>
              <a:xfrm>
                <a:off x="3226456" y="2994982"/>
                <a:ext cx="387900" cy="387899"/>
              </a:xfrm>
              <a:prstGeom prst="ellipse">
                <a:avLst/>
              </a:prstGeom>
              <a:solidFill>
                <a:srgbClr val="80008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28" name="TextBox 27"/>
              <p:cNvSpPr txBox="1"/>
              <p:nvPr/>
            </p:nvSpPr>
            <p:spPr>
              <a:xfrm>
                <a:off x="3181944" y="3052947"/>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9" name="组合 8"/>
            <p:cNvGrpSpPr/>
            <p:nvPr/>
          </p:nvGrpSpPr>
          <p:grpSpPr>
            <a:xfrm>
              <a:off x="2818950" y="2163999"/>
              <a:ext cx="548548" cy="387899"/>
              <a:chOff x="3190897" y="2994982"/>
              <a:chExt cx="548548" cy="387899"/>
            </a:xfrm>
          </p:grpSpPr>
          <p:sp>
            <p:nvSpPr>
              <p:cNvPr id="25" name="椭圆 24"/>
              <p:cNvSpPr>
                <a:spLocks noChangeAspect="1"/>
              </p:cNvSpPr>
              <p:nvPr/>
            </p:nvSpPr>
            <p:spPr>
              <a:xfrm>
                <a:off x="3226456" y="2994982"/>
                <a:ext cx="387900" cy="387899"/>
              </a:xfrm>
              <a:prstGeom prst="ellipse">
                <a:avLst/>
              </a:prstGeom>
              <a:solidFill>
                <a:srgbClr val="FF0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26" name="TextBox 25"/>
              <p:cNvSpPr txBox="1"/>
              <p:nvPr/>
            </p:nvSpPr>
            <p:spPr>
              <a:xfrm>
                <a:off x="3190897" y="3043995"/>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10" name="组合 9"/>
            <p:cNvGrpSpPr/>
            <p:nvPr/>
          </p:nvGrpSpPr>
          <p:grpSpPr>
            <a:xfrm>
              <a:off x="2246955" y="1160801"/>
              <a:ext cx="548548" cy="387899"/>
              <a:chOff x="3197351" y="2994982"/>
              <a:chExt cx="548548" cy="387899"/>
            </a:xfrm>
          </p:grpSpPr>
          <p:sp>
            <p:nvSpPr>
              <p:cNvPr id="23" name="椭圆 22"/>
              <p:cNvSpPr>
                <a:spLocks noChangeAspect="1"/>
              </p:cNvSpPr>
              <p:nvPr/>
            </p:nvSpPr>
            <p:spPr>
              <a:xfrm>
                <a:off x="3226456" y="2994982"/>
                <a:ext cx="387900" cy="387899"/>
              </a:xfrm>
              <a:prstGeom prst="ellipse">
                <a:avLst/>
              </a:prstGeom>
              <a:solidFill>
                <a:srgbClr val="CC009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24" name="TextBox 23"/>
              <p:cNvSpPr txBox="1"/>
              <p:nvPr/>
            </p:nvSpPr>
            <p:spPr>
              <a:xfrm>
                <a:off x="3197351" y="3057199"/>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11" name="组合 10"/>
            <p:cNvGrpSpPr/>
            <p:nvPr/>
          </p:nvGrpSpPr>
          <p:grpSpPr>
            <a:xfrm>
              <a:off x="3384847" y="2010112"/>
              <a:ext cx="548548" cy="387899"/>
              <a:chOff x="3190897" y="2994982"/>
              <a:chExt cx="548548" cy="387899"/>
            </a:xfrm>
          </p:grpSpPr>
          <p:sp>
            <p:nvSpPr>
              <p:cNvPr id="21" name="椭圆 20"/>
              <p:cNvSpPr>
                <a:spLocks noChangeAspect="1"/>
              </p:cNvSpPr>
              <p:nvPr/>
            </p:nvSpPr>
            <p:spPr>
              <a:xfrm>
                <a:off x="3226456" y="2994982"/>
                <a:ext cx="387900" cy="387899"/>
              </a:xfrm>
              <a:prstGeom prst="ellipse">
                <a:avLst/>
              </a:prstGeom>
              <a:solidFill>
                <a:srgbClr val="80008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22" name="TextBox 21"/>
              <p:cNvSpPr txBox="1"/>
              <p:nvPr/>
            </p:nvSpPr>
            <p:spPr>
              <a:xfrm>
                <a:off x="3190897" y="3043995"/>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12" name="组合 11"/>
            <p:cNvGrpSpPr/>
            <p:nvPr/>
          </p:nvGrpSpPr>
          <p:grpSpPr>
            <a:xfrm>
              <a:off x="1236896" y="2841092"/>
              <a:ext cx="548548" cy="387899"/>
              <a:chOff x="3181944" y="2994982"/>
              <a:chExt cx="548548" cy="387899"/>
            </a:xfrm>
          </p:grpSpPr>
          <p:sp>
            <p:nvSpPr>
              <p:cNvPr id="19" name="椭圆 18"/>
              <p:cNvSpPr>
                <a:spLocks noChangeAspect="1"/>
              </p:cNvSpPr>
              <p:nvPr/>
            </p:nvSpPr>
            <p:spPr>
              <a:xfrm>
                <a:off x="3226456" y="2994982"/>
                <a:ext cx="387900" cy="387899"/>
              </a:xfrm>
              <a:prstGeom prst="ellipse">
                <a:avLst/>
              </a:prstGeom>
              <a:solidFill>
                <a:srgbClr val="FF0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20" name="TextBox 19"/>
              <p:cNvSpPr txBox="1"/>
              <p:nvPr/>
            </p:nvSpPr>
            <p:spPr>
              <a:xfrm>
                <a:off x="3181944" y="3052947"/>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13" name="组合 12"/>
            <p:cNvGrpSpPr/>
            <p:nvPr/>
          </p:nvGrpSpPr>
          <p:grpSpPr>
            <a:xfrm>
              <a:off x="984256" y="1766119"/>
              <a:ext cx="548548" cy="387899"/>
              <a:chOff x="3190897" y="2994982"/>
              <a:chExt cx="548548" cy="387899"/>
            </a:xfrm>
          </p:grpSpPr>
          <p:sp>
            <p:nvSpPr>
              <p:cNvPr id="17" name="椭圆 16"/>
              <p:cNvSpPr>
                <a:spLocks noChangeAspect="1"/>
              </p:cNvSpPr>
              <p:nvPr/>
            </p:nvSpPr>
            <p:spPr>
              <a:xfrm>
                <a:off x="3226456" y="2994982"/>
                <a:ext cx="387900" cy="387899"/>
              </a:xfrm>
              <a:prstGeom prst="ellipse">
                <a:avLst/>
              </a:prstGeom>
              <a:solidFill>
                <a:srgbClr val="CC009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18" name="TextBox 17"/>
              <p:cNvSpPr txBox="1"/>
              <p:nvPr/>
            </p:nvSpPr>
            <p:spPr>
              <a:xfrm>
                <a:off x="3190897" y="3052947"/>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14" name="组合 13"/>
            <p:cNvGrpSpPr/>
            <p:nvPr/>
          </p:nvGrpSpPr>
          <p:grpSpPr>
            <a:xfrm>
              <a:off x="984256" y="3231306"/>
              <a:ext cx="548548" cy="387899"/>
              <a:chOff x="3190897" y="2994982"/>
              <a:chExt cx="548548" cy="387899"/>
            </a:xfrm>
          </p:grpSpPr>
          <p:sp>
            <p:nvSpPr>
              <p:cNvPr id="15" name="椭圆 14"/>
              <p:cNvSpPr>
                <a:spLocks noChangeAspect="1"/>
              </p:cNvSpPr>
              <p:nvPr/>
            </p:nvSpPr>
            <p:spPr>
              <a:xfrm>
                <a:off x="3226456" y="2994982"/>
                <a:ext cx="387900" cy="387899"/>
              </a:xfrm>
              <a:prstGeom prst="ellipse">
                <a:avLst/>
              </a:prstGeom>
              <a:solidFill>
                <a:srgbClr val="99009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16" name="TextBox 15"/>
              <p:cNvSpPr txBox="1"/>
              <p:nvPr/>
            </p:nvSpPr>
            <p:spPr>
              <a:xfrm>
                <a:off x="3190897" y="3052947"/>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pic>
        <p:nvPicPr>
          <p:cNvPr id="2"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0527" t="19203" r="11894" b="58771"/>
          <a:stretch>
            <a:fillRect/>
          </a:stretch>
        </p:blipFill>
        <p:spPr bwMode="auto">
          <a:xfrm>
            <a:off x="-495967" y="4781957"/>
            <a:ext cx="5498593" cy="443012"/>
          </a:xfrm>
          <a:prstGeom prst="triangle">
            <a:avLst/>
          </a:prstGeom>
          <a:noFill/>
          <a:extLst>
            <a:ext uri="{909E8E84-426E-40DD-AFC4-6F175D3DCCD1}">
              <a14:hiddenFill xmlns:a14="http://schemas.microsoft.com/office/drawing/2010/main">
                <a:solidFill>
                  <a:srgbClr val="FFFFFF"/>
                </a:solidFill>
              </a14:hiddenFill>
            </a:ext>
          </a:extLst>
        </p:spPr>
      </p:pic>
      <p:pic>
        <p:nvPicPr>
          <p:cNvPr id="4"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527" t="19203" r="11894" b="58771"/>
          <a:stretch>
            <a:fillRect/>
          </a:stretch>
        </p:blipFill>
        <p:spPr bwMode="auto">
          <a:xfrm>
            <a:off x="2483768" y="4503258"/>
            <a:ext cx="6660232" cy="639957"/>
          </a:xfrm>
          <a:prstGeom prst="triangle">
            <a:avLst/>
          </a:prstGeom>
          <a:noFill/>
          <a:extLst>
            <a:ext uri="{909E8E84-426E-40DD-AFC4-6F175D3DCCD1}">
              <a14:hiddenFill xmlns:a14="http://schemas.microsoft.com/office/drawing/2010/main">
                <a:solidFill>
                  <a:srgbClr val="FFFFFF"/>
                </a:solidFill>
              </a14:hiddenFill>
            </a:ext>
          </a:extLst>
        </p:spPr>
      </p:pic>
      <p:sp>
        <p:nvSpPr>
          <p:cNvPr id="31" name="矩形 30"/>
          <p:cNvSpPr/>
          <p:nvPr/>
        </p:nvSpPr>
        <p:spPr>
          <a:xfrm>
            <a:off x="5030191" y="1605947"/>
            <a:ext cx="3237993" cy="240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altLang="zh-CN" sz="1600" dirty="0">
                <a:solidFill>
                  <a:schemeClr val="tx1">
                    <a:lumMod val="65000"/>
                    <a:lumOff val="35000"/>
                  </a:schemeClr>
                </a:solidFill>
              </a:rPr>
              <a:t>You can click here to enter your text. You can click here to enter your text. You can click here to enter your text. You can click here to enter your text. You can click here to enter your text. You can click here to enter your text.   </a:t>
            </a:r>
            <a:endParaRPr lang="zh-CN" altLang="en-US" sz="1600" dirty="0">
              <a:solidFill>
                <a:schemeClr val="tx1">
                  <a:lumMod val="65000"/>
                  <a:lumOff val="35000"/>
                </a:schemeClr>
              </a:solidFill>
            </a:endParaRPr>
          </a:p>
        </p:txBody>
      </p:sp>
      <p:sp>
        <p:nvSpPr>
          <p:cNvPr id="32" name="矩形 31"/>
          <p:cNvSpPr/>
          <p:nvPr/>
        </p:nvSpPr>
        <p:spPr>
          <a:xfrm>
            <a:off x="5030191" y="1262295"/>
            <a:ext cx="3203848" cy="369332"/>
          </a:xfrm>
          <a:prstGeom prst="rect">
            <a:avLst/>
          </a:prstGeom>
          <a:solidFill>
            <a:schemeClr val="tx1">
              <a:lumMod val="65000"/>
              <a:lumOff val="35000"/>
            </a:schemeClr>
          </a:solidFill>
        </p:spPr>
        <p:txBody>
          <a:bodyPr wrap="square">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zh-CN" b="1" dirty="0">
                <a:solidFill>
                  <a:schemeClr val="bg1"/>
                </a:solidFill>
              </a:rPr>
              <a:t>Enter  Your  Title</a:t>
            </a:r>
            <a:endParaRPr lang="zh-CN" altLang="en-US" b="1" dirty="0">
              <a:solidFill>
                <a:schemeClr val="bg1"/>
              </a:solidFill>
            </a:endParaRPr>
          </a:p>
        </p:txBody>
      </p:sp>
      <p:sp>
        <p:nvSpPr>
          <p:cNvPr id="33" name="TextBox 32"/>
          <p:cNvSpPr txBox="1"/>
          <p:nvPr/>
        </p:nvSpPr>
        <p:spPr>
          <a:xfrm>
            <a:off x="683568" y="123478"/>
            <a:ext cx="268535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en-US" altLang="zh-CN" dirty="0"/>
              <a:t>ADD YOUR TEXT</a:t>
            </a:r>
            <a:endParaRPr lang="zh-CN" altLang="en-US" dirty="0"/>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anim calcmode="lin" valueType="num">
                                      <p:cBhvr>
                                        <p:cTn id="13" dur="1000" fill="hold"/>
                                        <p:tgtEl>
                                          <p:spTgt spid="2"/>
                                        </p:tgtEl>
                                        <p:attrNameLst>
                                          <p:attrName>ppt_x</p:attrName>
                                        </p:attrNameLst>
                                      </p:cBhvr>
                                      <p:tavLst>
                                        <p:tav tm="0">
                                          <p:val>
                                            <p:strVal val="#ppt_x"/>
                                          </p:val>
                                        </p:tav>
                                        <p:tav tm="100000">
                                          <p:val>
                                            <p:strVal val="#ppt_x"/>
                                          </p:val>
                                        </p:tav>
                                      </p:tavLst>
                                    </p:anim>
                                    <p:anim calcmode="lin" valueType="num">
                                      <p:cBhvr>
                                        <p:cTn id="14" dur="1000" fill="hold"/>
                                        <p:tgtEl>
                                          <p:spTgt spid="2"/>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22" presetClass="entr" presetSubtype="4"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ipe(down)">
                                      <p:cBhvr>
                                        <p:cTn id="18" dur="500"/>
                                        <p:tgtEl>
                                          <p:spTgt spid="5"/>
                                        </p:tgtEl>
                                      </p:cBhvr>
                                    </p:animEffect>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32"/>
                                        </p:tgtEl>
                                        <p:attrNameLst>
                                          <p:attrName>style.visibility</p:attrName>
                                        </p:attrNameLst>
                                      </p:cBhvr>
                                      <p:to>
                                        <p:strVal val="visible"/>
                                      </p:to>
                                    </p:set>
                                    <p:anim calcmode="lin" valueType="num">
                                      <p:cBhvr additive="base">
                                        <p:cTn id="22" dur="500" fill="hold"/>
                                        <p:tgtEl>
                                          <p:spTgt spid="32"/>
                                        </p:tgtEl>
                                        <p:attrNameLst>
                                          <p:attrName>ppt_x</p:attrName>
                                        </p:attrNameLst>
                                      </p:cBhvr>
                                      <p:tavLst>
                                        <p:tav tm="0">
                                          <p:val>
                                            <p:strVal val="0-#ppt_w/2"/>
                                          </p:val>
                                        </p:tav>
                                        <p:tav tm="100000">
                                          <p:val>
                                            <p:strVal val="#ppt_x"/>
                                          </p:val>
                                        </p:tav>
                                      </p:tavLst>
                                    </p:anim>
                                    <p:anim calcmode="lin" valueType="num">
                                      <p:cBhvr additive="base">
                                        <p:cTn id="23" dur="500" fill="hold"/>
                                        <p:tgtEl>
                                          <p:spTgt spid="32"/>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D:\0--吉亚云\睿泰集团员工培养计划-解决方案部-JYY\其他\PPT素材\插图\商务人物\bld112475.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0780" t="3570" r="15361"/>
          <a:stretch>
            <a:fillRect/>
          </a:stretch>
        </p:blipFill>
        <p:spPr bwMode="auto">
          <a:xfrm>
            <a:off x="1" y="2790"/>
            <a:ext cx="5387008" cy="4681396"/>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5387009" y="2789"/>
            <a:ext cx="3752124" cy="1560466"/>
          </a:xfrm>
          <a:prstGeom prst="rect">
            <a:avLst/>
          </a:prstGeom>
          <a:solidFill>
            <a:srgbClr val="800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schemeClr val="bg1"/>
                </a:solidFill>
                <a:latin typeface="微软雅黑" panose="020B0503020204020204" pitchFamily="34" charset="-122"/>
                <a:ea typeface="微软雅黑" panose="020B0503020204020204" pitchFamily="34" charset="-122"/>
              </a:rPr>
              <a:t>Your Text</a:t>
            </a:r>
          </a:p>
          <a:p>
            <a:endParaRPr lang="en-US" altLang="zh-CN" sz="1600" b="1" dirty="0">
              <a:solidFill>
                <a:schemeClr val="bg1"/>
              </a:solidFill>
              <a:latin typeface="微软雅黑" panose="020B0503020204020204" pitchFamily="34" charset="-122"/>
              <a:ea typeface="微软雅黑" panose="020B0503020204020204" pitchFamily="34" charset="-122"/>
            </a:endParaRPr>
          </a:p>
          <a:p>
            <a:r>
              <a:rPr lang="en-US" altLang="zh-CN" sz="1200" dirty="0">
                <a:solidFill>
                  <a:schemeClr val="bg1"/>
                </a:solidFill>
              </a:rPr>
              <a:t>You</a:t>
            </a:r>
            <a:r>
              <a:rPr lang="zh-CN" altLang="en-US" sz="1200" dirty="0">
                <a:solidFill>
                  <a:schemeClr val="bg1"/>
                </a:solidFill>
              </a:rPr>
              <a:t> </a:t>
            </a:r>
            <a:r>
              <a:rPr lang="en-US" altLang="zh-CN" sz="1200" dirty="0">
                <a:solidFill>
                  <a:schemeClr val="bg1"/>
                </a:solidFill>
              </a:rPr>
              <a:t>can click here to enter your text. Click here to enter your text. You</a:t>
            </a:r>
            <a:r>
              <a:rPr lang="zh-CN" altLang="en-US" sz="1200" dirty="0">
                <a:solidFill>
                  <a:schemeClr val="bg1"/>
                </a:solidFill>
              </a:rPr>
              <a:t> </a:t>
            </a:r>
            <a:r>
              <a:rPr lang="en-US" altLang="zh-CN" sz="1200" dirty="0">
                <a:solidFill>
                  <a:schemeClr val="bg1"/>
                </a:solidFill>
              </a:rPr>
              <a:t>can click here to enter your text. Click here to enter your text. You</a:t>
            </a:r>
            <a:r>
              <a:rPr lang="zh-CN" altLang="en-US" sz="1200" dirty="0">
                <a:solidFill>
                  <a:schemeClr val="bg1"/>
                </a:solidFill>
              </a:rPr>
              <a:t> </a:t>
            </a:r>
            <a:r>
              <a:rPr lang="en-US" altLang="zh-CN" sz="1200" dirty="0">
                <a:solidFill>
                  <a:schemeClr val="bg1"/>
                </a:solidFill>
              </a:rPr>
              <a:t>can click here to enter your text. Click here to enter your text</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4" name="矩形 3"/>
          <p:cNvSpPr/>
          <p:nvPr/>
        </p:nvSpPr>
        <p:spPr>
          <a:xfrm>
            <a:off x="5387009" y="1563255"/>
            <a:ext cx="3752124" cy="1560466"/>
          </a:xfrm>
          <a:prstGeom prst="rect">
            <a:avLst/>
          </a:prstGeom>
          <a:solidFill>
            <a:srgbClr val="8000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schemeClr val="bg1"/>
                </a:solidFill>
                <a:latin typeface="微软雅黑" panose="020B0503020204020204" pitchFamily="34" charset="-122"/>
                <a:ea typeface="微软雅黑" panose="020B0503020204020204" pitchFamily="34" charset="-122"/>
              </a:rPr>
              <a:t>Your Text</a:t>
            </a:r>
          </a:p>
          <a:p>
            <a:endParaRPr lang="en-US" altLang="zh-CN" sz="1600" b="1" dirty="0">
              <a:solidFill>
                <a:schemeClr val="bg1"/>
              </a:solidFill>
              <a:latin typeface="微软雅黑" panose="020B0503020204020204" pitchFamily="34" charset="-122"/>
              <a:ea typeface="微软雅黑" panose="020B0503020204020204" pitchFamily="34" charset="-122"/>
            </a:endParaRPr>
          </a:p>
          <a:p>
            <a:r>
              <a:rPr lang="en-US" altLang="zh-CN" sz="1200" dirty="0">
                <a:solidFill>
                  <a:schemeClr val="bg1"/>
                </a:solidFill>
              </a:rPr>
              <a:t>You</a:t>
            </a:r>
            <a:r>
              <a:rPr lang="zh-CN" altLang="en-US" sz="1200" dirty="0">
                <a:solidFill>
                  <a:schemeClr val="bg1"/>
                </a:solidFill>
              </a:rPr>
              <a:t> </a:t>
            </a:r>
            <a:r>
              <a:rPr lang="en-US" altLang="zh-CN" sz="1200" dirty="0">
                <a:solidFill>
                  <a:schemeClr val="bg1"/>
                </a:solidFill>
              </a:rPr>
              <a:t>can click here to enter your text. Click here to enter your text. You</a:t>
            </a:r>
            <a:r>
              <a:rPr lang="zh-CN" altLang="en-US" sz="1200" dirty="0">
                <a:solidFill>
                  <a:schemeClr val="bg1"/>
                </a:solidFill>
              </a:rPr>
              <a:t> </a:t>
            </a:r>
            <a:r>
              <a:rPr lang="en-US" altLang="zh-CN" sz="1200" dirty="0">
                <a:solidFill>
                  <a:schemeClr val="bg1"/>
                </a:solidFill>
              </a:rPr>
              <a:t>can click here to enter your text. Click here to enter your text. You</a:t>
            </a:r>
            <a:r>
              <a:rPr lang="zh-CN" altLang="en-US" sz="1200" dirty="0">
                <a:solidFill>
                  <a:schemeClr val="bg1"/>
                </a:solidFill>
              </a:rPr>
              <a:t> </a:t>
            </a:r>
            <a:r>
              <a:rPr lang="en-US" altLang="zh-CN" sz="1200" dirty="0">
                <a:solidFill>
                  <a:schemeClr val="bg1"/>
                </a:solidFill>
              </a:rPr>
              <a:t>can click here to enter your text. Click here to enter your text</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5" name="矩形 4"/>
          <p:cNvSpPr/>
          <p:nvPr/>
        </p:nvSpPr>
        <p:spPr>
          <a:xfrm>
            <a:off x="5387009" y="3123720"/>
            <a:ext cx="3752124" cy="1560466"/>
          </a:xfrm>
          <a:prstGeom prst="rect">
            <a:avLst/>
          </a:prstGeom>
          <a:solidFill>
            <a:srgbClr val="990099">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schemeClr val="bg1"/>
                </a:solidFill>
                <a:latin typeface="微软雅黑" panose="020B0503020204020204" pitchFamily="34" charset="-122"/>
                <a:ea typeface="微软雅黑" panose="020B0503020204020204" pitchFamily="34" charset="-122"/>
              </a:rPr>
              <a:t>Your Text</a:t>
            </a:r>
          </a:p>
          <a:p>
            <a:endParaRPr lang="en-US" altLang="zh-CN" sz="1600" b="1" dirty="0">
              <a:solidFill>
                <a:schemeClr val="bg1"/>
              </a:solidFill>
              <a:latin typeface="微软雅黑" panose="020B0503020204020204" pitchFamily="34" charset="-122"/>
              <a:ea typeface="微软雅黑" panose="020B0503020204020204" pitchFamily="34" charset="-122"/>
            </a:endParaRPr>
          </a:p>
          <a:p>
            <a:r>
              <a:rPr lang="en-US" altLang="zh-CN" sz="1200" dirty="0">
                <a:solidFill>
                  <a:schemeClr val="bg1"/>
                </a:solidFill>
              </a:rPr>
              <a:t>You</a:t>
            </a:r>
            <a:r>
              <a:rPr lang="zh-CN" altLang="en-US" sz="1200" dirty="0">
                <a:solidFill>
                  <a:schemeClr val="bg1"/>
                </a:solidFill>
              </a:rPr>
              <a:t> </a:t>
            </a:r>
            <a:r>
              <a:rPr lang="en-US" altLang="zh-CN" sz="1200" dirty="0">
                <a:solidFill>
                  <a:schemeClr val="bg1"/>
                </a:solidFill>
              </a:rPr>
              <a:t>can click here to enter your text. Click here to enter your text. You</a:t>
            </a:r>
            <a:r>
              <a:rPr lang="zh-CN" altLang="en-US" sz="1200" dirty="0">
                <a:solidFill>
                  <a:schemeClr val="bg1"/>
                </a:solidFill>
              </a:rPr>
              <a:t> </a:t>
            </a:r>
            <a:r>
              <a:rPr lang="en-US" altLang="zh-CN" sz="1200" dirty="0">
                <a:solidFill>
                  <a:schemeClr val="bg1"/>
                </a:solidFill>
              </a:rPr>
              <a:t>can click here to enter your text. Click here to enter your text. You</a:t>
            </a:r>
            <a:r>
              <a:rPr lang="zh-CN" altLang="en-US" sz="1200" dirty="0">
                <a:solidFill>
                  <a:schemeClr val="bg1"/>
                </a:solidFill>
              </a:rPr>
              <a:t> </a:t>
            </a:r>
            <a:r>
              <a:rPr lang="en-US" altLang="zh-CN" sz="1200" dirty="0">
                <a:solidFill>
                  <a:schemeClr val="bg1"/>
                </a:solidFill>
              </a:rPr>
              <a:t>can click here to enter your text. Click here to enter your text</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7" name="TextBox 6"/>
          <p:cNvSpPr txBox="1"/>
          <p:nvPr/>
        </p:nvSpPr>
        <p:spPr>
          <a:xfrm>
            <a:off x="1051337" y="1970892"/>
            <a:ext cx="2685350" cy="461665"/>
          </a:xfrm>
          <a:prstGeom prst="rect">
            <a:avLst/>
          </a:prstGeom>
          <a:noFill/>
        </p:spPr>
        <p:txBody>
          <a:bodyPr wrap="square" rtlCol="0">
            <a:spAutoFit/>
          </a:bodyPr>
          <a:lstStyle/>
          <a:p>
            <a:r>
              <a:rPr lang="en-US" altLang="zh-CN" sz="2400" b="1" dirty="0">
                <a:solidFill>
                  <a:srgbClr val="FF0066"/>
                </a:solidFill>
                <a:latin typeface="Adobe Gothic Std B" pitchFamily="34" charset="-128"/>
                <a:ea typeface="Adobe Gothic Std B" pitchFamily="34" charset="-128"/>
              </a:rPr>
              <a:t>ADD YOUR TEXT</a:t>
            </a:r>
            <a:endParaRPr lang="zh-CN" altLang="en-US" sz="2400" b="1" dirty="0">
              <a:solidFill>
                <a:srgbClr val="FF0066"/>
              </a:solidFill>
              <a:latin typeface="Adobe Gothic Std B" pitchFamily="34" charset="-128"/>
            </a:endParaRPr>
          </a:p>
        </p:txBody>
      </p:sp>
      <p:sp>
        <p:nvSpPr>
          <p:cNvPr id="8" name="矩形 7"/>
          <p:cNvSpPr/>
          <p:nvPr/>
        </p:nvSpPr>
        <p:spPr>
          <a:xfrm>
            <a:off x="-1" y="4684186"/>
            <a:ext cx="9139133" cy="459314"/>
          </a:xfrm>
          <a:prstGeom prst="rect">
            <a:avLst/>
          </a:prstGeom>
          <a:solidFill>
            <a:srgbClr val="0000C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1600" b="1" dirty="0">
                <a:solidFill>
                  <a:schemeClr val="bg1"/>
                </a:solidFill>
              </a:rPr>
              <a:t>You</a:t>
            </a:r>
            <a:r>
              <a:rPr lang="zh-CN" altLang="en-US" sz="1600" b="1" dirty="0">
                <a:solidFill>
                  <a:schemeClr val="bg1"/>
                </a:solidFill>
              </a:rPr>
              <a:t> </a:t>
            </a:r>
            <a:r>
              <a:rPr lang="en-US" altLang="zh-CN" sz="1600" b="1" dirty="0">
                <a:solidFill>
                  <a:schemeClr val="bg1"/>
                </a:solidFill>
              </a:rPr>
              <a:t>can click here to enter your text. Click here to enter your text. </a:t>
            </a:r>
            <a:endParaRPr lang="zh-CN" altLang="en-US" sz="1600" b="1"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p14:dur="900">
        <p14:warp dir="in"/>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流程图: 数据 5"/>
          <p:cNvSpPr/>
          <p:nvPr/>
        </p:nvSpPr>
        <p:spPr>
          <a:xfrm>
            <a:off x="930581" y="1391785"/>
            <a:ext cx="2030283" cy="1096716"/>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1" fmla="*/ 0 w 13871"/>
              <a:gd name="connsiteY0-2" fmla="*/ 10000 h 10000"/>
              <a:gd name="connsiteX1-3" fmla="*/ 2000 w 13871"/>
              <a:gd name="connsiteY1-4" fmla="*/ 0 h 10000"/>
              <a:gd name="connsiteX2-5" fmla="*/ 13871 w 13871"/>
              <a:gd name="connsiteY2-6" fmla="*/ 2910 h 10000"/>
              <a:gd name="connsiteX3-7" fmla="*/ 8000 w 13871"/>
              <a:gd name="connsiteY3-8" fmla="*/ 10000 h 10000"/>
              <a:gd name="connsiteX4-9" fmla="*/ 0 w 13871"/>
              <a:gd name="connsiteY4-10" fmla="*/ 10000 h 10000"/>
              <a:gd name="connsiteX0-11" fmla="*/ 0 w 13871"/>
              <a:gd name="connsiteY0-12" fmla="*/ 8360 h 8360"/>
              <a:gd name="connsiteX1-13" fmla="*/ 11153 w 13871"/>
              <a:gd name="connsiteY1-14" fmla="*/ 0 h 8360"/>
              <a:gd name="connsiteX2-15" fmla="*/ 13871 w 13871"/>
              <a:gd name="connsiteY2-16" fmla="*/ 1270 h 8360"/>
              <a:gd name="connsiteX3-17" fmla="*/ 8000 w 13871"/>
              <a:gd name="connsiteY3-18" fmla="*/ 8360 h 8360"/>
              <a:gd name="connsiteX4-19" fmla="*/ 0 w 13871"/>
              <a:gd name="connsiteY4-20" fmla="*/ 8360 h 8360"/>
              <a:gd name="connsiteX0-21" fmla="*/ 0 w 16221"/>
              <a:gd name="connsiteY0-22" fmla="*/ 5063 h 10000"/>
              <a:gd name="connsiteX1-23" fmla="*/ 14262 w 16221"/>
              <a:gd name="connsiteY1-24" fmla="*/ 0 h 10000"/>
              <a:gd name="connsiteX2-25" fmla="*/ 16221 w 16221"/>
              <a:gd name="connsiteY2-26" fmla="*/ 1519 h 10000"/>
              <a:gd name="connsiteX3-27" fmla="*/ 11988 w 16221"/>
              <a:gd name="connsiteY3-28" fmla="*/ 10000 h 10000"/>
              <a:gd name="connsiteX4-29" fmla="*/ 0 w 16221"/>
              <a:gd name="connsiteY4-30" fmla="*/ 5063 h 10000"/>
              <a:gd name="connsiteX0-31" fmla="*/ 0 w 16221"/>
              <a:gd name="connsiteY0-32" fmla="*/ 7246 h 12183"/>
              <a:gd name="connsiteX1-33" fmla="*/ 10250 w 16221"/>
              <a:gd name="connsiteY1-34" fmla="*/ 0 h 12183"/>
              <a:gd name="connsiteX2-35" fmla="*/ 16221 w 16221"/>
              <a:gd name="connsiteY2-36" fmla="*/ 3702 h 12183"/>
              <a:gd name="connsiteX3-37" fmla="*/ 11988 w 16221"/>
              <a:gd name="connsiteY3-38" fmla="*/ 12183 h 12183"/>
              <a:gd name="connsiteX4-39" fmla="*/ 0 w 16221"/>
              <a:gd name="connsiteY4-40" fmla="*/ 7246 h 12183"/>
              <a:gd name="connsiteX0-41" fmla="*/ 0 w 16221"/>
              <a:gd name="connsiteY0-42" fmla="*/ 7246 h 13132"/>
              <a:gd name="connsiteX1-43" fmla="*/ 10250 w 16221"/>
              <a:gd name="connsiteY1-44" fmla="*/ 0 h 13132"/>
              <a:gd name="connsiteX2-45" fmla="*/ 16221 w 16221"/>
              <a:gd name="connsiteY2-46" fmla="*/ 3702 h 13132"/>
              <a:gd name="connsiteX3-47" fmla="*/ 3412 w 16221"/>
              <a:gd name="connsiteY3-48" fmla="*/ 13132 h 13132"/>
              <a:gd name="connsiteX4-49" fmla="*/ 0 w 16221"/>
              <a:gd name="connsiteY4-50" fmla="*/ 7246 h 13132"/>
              <a:gd name="connsiteX0-51" fmla="*/ 0 w 16279"/>
              <a:gd name="connsiteY0-52" fmla="*/ 7246 h 13132"/>
              <a:gd name="connsiteX1-53" fmla="*/ 10250 w 16279"/>
              <a:gd name="connsiteY1-54" fmla="*/ 0 h 13132"/>
              <a:gd name="connsiteX2-55" fmla="*/ 16279 w 16279"/>
              <a:gd name="connsiteY2-56" fmla="*/ 3765 h 13132"/>
              <a:gd name="connsiteX3-57" fmla="*/ 3412 w 16279"/>
              <a:gd name="connsiteY3-58" fmla="*/ 13132 h 13132"/>
              <a:gd name="connsiteX4-59" fmla="*/ 0 w 16279"/>
              <a:gd name="connsiteY4-60" fmla="*/ 7246 h 13132"/>
              <a:gd name="connsiteX0-61" fmla="*/ 0 w 16301"/>
              <a:gd name="connsiteY0-62" fmla="*/ 7246 h 13132"/>
              <a:gd name="connsiteX1-63" fmla="*/ 10250 w 16301"/>
              <a:gd name="connsiteY1-64" fmla="*/ 0 h 13132"/>
              <a:gd name="connsiteX2-65" fmla="*/ 16301 w 16301"/>
              <a:gd name="connsiteY2-66" fmla="*/ 3812 h 13132"/>
              <a:gd name="connsiteX3-67" fmla="*/ 3412 w 16301"/>
              <a:gd name="connsiteY3-68" fmla="*/ 13132 h 13132"/>
              <a:gd name="connsiteX4-69" fmla="*/ 0 w 16301"/>
              <a:gd name="connsiteY4-70" fmla="*/ 7246 h 13132"/>
              <a:gd name="connsiteX0-71" fmla="*/ 0 w 16366"/>
              <a:gd name="connsiteY0-72" fmla="*/ 7246 h 13132"/>
              <a:gd name="connsiteX1-73" fmla="*/ 10250 w 16366"/>
              <a:gd name="connsiteY1-74" fmla="*/ 0 h 13132"/>
              <a:gd name="connsiteX2-75" fmla="*/ 16366 w 16366"/>
              <a:gd name="connsiteY2-76" fmla="*/ 3836 h 13132"/>
              <a:gd name="connsiteX3-77" fmla="*/ 3412 w 16366"/>
              <a:gd name="connsiteY3-78" fmla="*/ 13132 h 13132"/>
              <a:gd name="connsiteX4-79" fmla="*/ 0 w 16366"/>
              <a:gd name="connsiteY4-80" fmla="*/ 7246 h 1313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6366" h="13132">
                <a:moveTo>
                  <a:pt x="0" y="7246"/>
                </a:moveTo>
                <a:lnTo>
                  <a:pt x="10250" y="0"/>
                </a:lnTo>
                <a:lnTo>
                  <a:pt x="16366" y="3836"/>
                </a:lnTo>
                <a:lnTo>
                  <a:pt x="3412" y="13132"/>
                </a:lnTo>
                <a:lnTo>
                  <a:pt x="0" y="7246"/>
                </a:lnTo>
                <a:close/>
              </a:path>
            </a:pathLst>
          </a:custGeom>
          <a:solidFill>
            <a:srgbClr val="80008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4" name="流程图: 数据 5"/>
          <p:cNvSpPr/>
          <p:nvPr/>
        </p:nvSpPr>
        <p:spPr>
          <a:xfrm>
            <a:off x="1735443" y="2278222"/>
            <a:ext cx="2030283" cy="10967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1" fmla="*/ 0 w 13871"/>
              <a:gd name="connsiteY0-2" fmla="*/ 10000 h 10000"/>
              <a:gd name="connsiteX1-3" fmla="*/ 2000 w 13871"/>
              <a:gd name="connsiteY1-4" fmla="*/ 0 h 10000"/>
              <a:gd name="connsiteX2-5" fmla="*/ 13871 w 13871"/>
              <a:gd name="connsiteY2-6" fmla="*/ 2910 h 10000"/>
              <a:gd name="connsiteX3-7" fmla="*/ 8000 w 13871"/>
              <a:gd name="connsiteY3-8" fmla="*/ 10000 h 10000"/>
              <a:gd name="connsiteX4-9" fmla="*/ 0 w 13871"/>
              <a:gd name="connsiteY4-10" fmla="*/ 10000 h 10000"/>
              <a:gd name="connsiteX0-11" fmla="*/ 0 w 13871"/>
              <a:gd name="connsiteY0-12" fmla="*/ 8360 h 8360"/>
              <a:gd name="connsiteX1-13" fmla="*/ 11153 w 13871"/>
              <a:gd name="connsiteY1-14" fmla="*/ 0 h 8360"/>
              <a:gd name="connsiteX2-15" fmla="*/ 13871 w 13871"/>
              <a:gd name="connsiteY2-16" fmla="*/ 1270 h 8360"/>
              <a:gd name="connsiteX3-17" fmla="*/ 8000 w 13871"/>
              <a:gd name="connsiteY3-18" fmla="*/ 8360 h 8360"/>
              <a:gd name="connsiteX4-19" fmla="*/ 0 w 13871"/>
              <a:gd name="connsiteY4-20" fmla="*/ 8360 h 8360"/>
              <a:gd name="connsiteX0-21" fmla="*/ 0 w 16221"/>
              <a:gd name="connsiteY0-22" fmla="*/ 5063 h 10000"/>
              <a:gd name="connsiteX1-23" fmla="*/ 14262 w 16221"/>
              <a:gd name="connsiteY1-24" fmla="*/ 0 h 10000"/>
              <a:gd name="connsiteX2-25" fmla="*/ 16221 w 16221"/>
              <a:gd name="connsiteY2-26" fmla="*/ 1519 h 10000"/>
              <a:gd name="connsiteX3-27" fmla="*/ 11988 w 16221"/>
              <a:gd name="connsiteY3-28" fmla="*/ 10000 h 10000"/>
              <a:gd name="connsiteX4-29" fmla="*/ 0 w 16221"/>
              <a:gd name="connsiteY4-30" fmla="*/ 5063 h 10000"/>
              <a:gd name="connsiteX0-31" fmla="*/ 0 w 16221"/>
              <a:gd name="connsiteY0-32" fmla="*/ 7246 h 12183"/>
              <a:gd name="connsiteX1-33" fmla="*/ 10250 w 16221"/>
              <a:gd name="connsiteY1-34" fmla="*/ 0 h 12183"/>
              <a:gd name="connsiteX2-35" fmla="*/ 16221 w 16221"/>
              <a:gd name="connsiteY2-36" fmla="*/ 3702 h 12183"/>
              <a:gd name="connsiteX3-37" fmla="*/ 11988 w 16221"/>
              <a:gd name="connsiteY3-38" fmla="*/ 12183 h 12183"/>
              <a:gd name="connsiteX4-39" fmla="*/ 0 w 16221"/>
              <a:gd name="connsiteY4-40" fmla="*/ 7246 h 12183"/>
              <a:gd name="connsiteX0-41" fmla="*/ 0 w 16221"/>
              <a:gd name="connsiteY0-42" fmla="*/ 7246 h 13132"/>
              <a:gd name="connsiteX1-43" fmla="*/ 10250 w 16221"/>
              <a:gd name="connsiteY1-44" fmla="*/ 0 h 13132"/>
              <a:gd name="connsiteX2-45" fmla="*/ 16221 w 16221"/>
              <a:gd name="connsiteY2-46" fmla="*/ 3702 h 13132"/>
              <a:gd name="connsiteX3-47" fmla="*/ 3412 w 16221"/>
              <a:gd name="connsiteY3-48" fmla="*/ 13132 h 13132"/>
              <a:gd name="connsiteX4-49" fmla="*/ 0 w 16221"/>
              <a:gd name="connsiteY4-50" fmla="*/ 7246 h 13132"/>
              <a:gd name="connsiteX0-51" fmla="*/ 0 w 16279"/>
              <a:gd name="connsiteY0-52" fmla="*/ 7246 h 13132"/>
              <a:gd name="connsiteX1-53" fmla="*/ 10250 w 16279"/>
              <a:gd name="connsiteY1-54" fmla="*/ 0 h 13132"/>
              <a:gd name="connsiteX2-55" fmla="*/ 16279 w 16279"/>
              <a:gd name="connsiteY2-56" fmla="*/ 3765 h 13132"/>
              <a:gd name="connsiteX3-57" fmla="*/ 3412 w 16279"/>
              <a:gd name="connsiteY3-58" fmla="*/ 13132 h 13132"/>
              <a:gd name="connsiteX4-59" fmla="*/ 0 w 16279"/>
              <a:gd name="connsiteY4-60" fmla="*/ 7246 h 13132"/>
              <a:gd name="connsiteX0-61" fmla="*/ 0 w 16301"/>
              <a:gd name="connsiteY0-62" fmla="*/ 7246 h 13132"/>
              <a:gd name="connsiteX1-63" fmla="*/ 10250 w 16301"/>
              <a:gd name="connsiteY1-64" fmla="*/ 0 h 13132"/>
              <a:gd name="connsiteX2-65" fmla="*/ 16301 w 16301"/>
              <a:gd name="connsiteY2-66" fmla="*/ 3812 h 13132"/>
              <a:gd name="connsiteX3-67" fmla="*/ 3412 w 16301"/>
              <a:gd name="connsiteY3-68" fmla="*/ 13132 h 13132"/>
              <a:gd name="connsiteX4-69" fmla="*/ 0 w 16301"/>
              <a:gd name="connsiteY4-70" fmla="*/ 7246 h 13132"/>
              <a:gd name="connsiteX0-71" fmla="*/ 0 w 16366"/>
              <a:gd name="connsiteY0-72" fmla="*/ 7246 h 13132"/>
              <a:gd name="connsiteX1-73" fmla="*/ 10250 w 16366"/>
              <a:gd name="connsiteY1-74" fmla="*/ 0 h 13132"/>
              <a:gd name="connsiteX2-75" fmla="*/ 16366 w 16366"/>
              <a:gd name="connsiteY2-76" fmla="*/ 3836 h 13132"/>
              <a:gd name="connsiteX3-77" fmla="*/ 3412 w 16366"/>
              <a:gd name="connsiteY3-78" fmla="*/ 13132 h 13132"/>
              <a:gd name="connsiteX4-79" fmla="*/ 0 w 16366"/>
              <a:gd name="connsiteY4-80" fmla="*/ 7246 h 1313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6366" h="13132">
                <a:moveTo>
                  <a:pt x="0" y="7246"/>
                </a:moveTo>
                <a:lnTo>
                  <a:pt x="10250" y="0"/>
                </a:lnTo>
                <a:lnTo>
                  <a:pt x="16366" y="3836"/>
                </a:lnTo>
                <a:lnTo>
                  <a:pt x="3412" y="13132"/>
                </a:lnTo>
                <a:lnTo>
                  <a:pt x="0" y="7246"/>
                </a:lnTo>
                <a:close/>
              </a:path>
            </a:pathLst>
          </a:custGeom>
          <a:solidFill>
            <a:srgbClr val="80008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5" name="流程图: 数据 5"/>
          <p:cNvSpPr/>
          <p:nvPr/>
        </p:nvSpPr>
        <p:spPr>
          <a:xfrm>
            <a:off x="2533054" y="3162845"/>
            <a:ext cx="2030283" cy="1098528"/>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1" fmla="*/ 0 w 13871"/>
              <a:gd name="connsiteY0-2" fmla="*/ 10000 h 10000"/>
              <a:gd name="connsiteX1-3" fmla="*/ 2000 w 13871"/>
              <a:gd name="connsiteY1-4" fmla="*/ 0 h 10000"/>
              <a:gd name="connsiteX2-5" fmla="*/ 13871 w 13871"/>
              <a:gd name="connsiteY2-6" fmla="*/ 2910 h 10000"/>
              <a:gd name="connsiteX3-7" fmla="*/ 8000 w 13871"/>
              <a:gd name="connsiteY3-8" fmla="*/ 10000 h 10000"/>
              <a:gd name="connsiteX4-9" fmla="*/ 0 w 13871"/>
              <a:gd name="connsiteY4-10" fmla="*/ 10000 h 10000"/>
              <a:gd name="connsiteX0-11" fmla="*/ 0 w 13871"/>
              <a:gd name="connsiteY0-12" fmla="*/ 8360 h 8360"/>
              <a:gd name="connsiteX1-13" fmla="*/ 11153 w 13871"/>
              <a:gd name="connsiteY1-14" fmla="*/ 0 h 8360"/>
              <a:gd name="connsiteX2-15" fmla="*/ 13871 w 13871"/>
              <a:gd name="connsiteY2-16" fmla="*/ 1270 h 8360"/>
              <a:gd name="connsiteX3-17" fmla="*/ 8000 w 13871"/>
              <a:gd name="connsiteY3-18" fmla="*/ 8360 h 8360"/>
              <a:gd name="connsiteX4-19" fmla="*/ 0 w 13871"/>
              <a:gd name="connsiteY4-20" fmla="*/ 8360 h 8360"/>
              <a:gd name="connsiteX0-21" fmla="*/ 0 w 16221"/>
              <a:gd name="connsiteY0-22" fmla="*/ 5063 h 10000"/>
              <a:gd name="connsiteX1-23" fmla="*/ 14262 w 16221"/>
              <a:gd name="connsiteY1-24" fmla="*/ 0 h 10000"/>
              <a:gd name="connsiteX2-25" fmla="*/ 16221 w 16221"/>
              <a:gd name="connsiteY2-26" fmla="*/ 1519 h 10000"/>
              <a:gd name="connsiteX3-27" fmla="*/ 11988 w 16221"/>
              <a:gd name="connsiteY3-28" fmla="*/ 10000 h 10000"/>
              <a:gd name="connsiteX4-29" fmla="*/ 0 w 16221"/>
              <a:gd name="connsiteY4-30" fmla="*/ 5063 h 10000"/>
              <a:gd name="connsiteX0-31" fmla="*/ 0 w 16221"/>
              <a:gd name="connsiteY0-32" fmla="*/ 7246 h 12183"/>
              <a:gd name="connsiteX1-33" fmla="*/ 10250 w 16221"/>
              <a:gd name="connsiteY1-34" fmla="*/ 0 h 12183"/>
              <a:gd name="connsiteX2-35" fmla="*/ 16221 w 16221"/>
              <a:gd name="connsiteY2-36" fmla="*/ 3702 h 12183"/>
              <a:gd name="connsiteX3-37" fmla="*/ 11988 w 16221"/>
              <a:gd name="connsiteY3-38" fmla="*/ 12183 h 12183"/>
              <a:gd name="connsiteX4-39" fmla="*/ 0 w 16221"/>
              <a:gd name="connsiteY4-40" fmla="*/ 7246 h 12183"/>
              <a:gd name="connsiteX0-41" fmla="*/ 0 w 16221"/>
              <a:gd name="connsiteY0-42" fmla="*/ 7246 h 13132"/>
              <a:gd name="connsiteX1-43" fmla="*/ 10250 w 16221"/>
              <a:gd name="connsiteY1-44" fmla="*/ 0 h 13132"/>
              <a:gd name="connsiteX2-45" fmla="*/ 16221 w 16221"/>
              <a:gd name="connsiteY2-46" fmla="*/ 3702 h 13132"/>
              <a:gd name="connsiteX3-47" fmla="*/ 3412 w 16221"/>
              <a:gd name="connsiteY3-48" fmla="*/ 13132 h 13132"/>
              <a:gd name="connsiteX4-49" fmla="*/ 0 w 16221"/>
              <a:gd name="connsiteY4-50" fmla="*/ 7246 h 13132"/>
              <a:gd name="connsiteX0-51" fmla="*/ 0 w 16279"/>
              <a:gd name="connsiteY0-52" fmla="*/ 7246 h 13132"/>
              <a:gd name="connsiteX1-53" fmla="*/ 10250 w 16279"/>
              <a:gd name="connsiteY1-54" fmla="*/ 0 h 13132"/>
              <a:gd name="connsiteX2-55" fmla="*/ 16279 w 16279"/>
              <a:gd name="connsiteY2-56" fmla="*/ 3765 h 13132"/>
              <a:gd name="connsiteX3-57" fmla="*/ 3412 w 16279"/>
              <a:gd name="connsiteY3-58" fmla="*/ 13132 h 13132"/>
              <a:gd name="connsiteX4-59" fmla="*/ 0 w 16279"/>
              <a:gd name="connsiteY4-60" fmla="*/ 7246 h 13132"/>
              <a:gd name="connsiteX0-61" fmla="*/ 0 w 16301"/>
              <a:gd name="connsiteY0-62" fmla="*/ 7246 h 13132"/>
              <a:gd name="connsiteX1-63" fmla="*/ 10250 w 16301"/>
              <a:gd name="connsiteY1-64" fmla="*/ 0 h 13132"/>
              <a:gd name="connsiteX2-65" fmla="*/ 16301 w 16301"/>
              <a:gd name="connsiteY2-66" fmla="*/ 3812 h 13132"/>
              <a:gd name="connsiteX3-67" fmla="*/ 3412 w 16301"/>
              <a:gd name="connsiteY3-68" fmla="*/ 13132 h 13132"/>
              <a:gd name="connsiteX4-69" fmla="*/ 0 w 16301"/>
              <a:gd name="connsiteY4-70" fmla="*/ 7246 h 13132"/>
              <a:gd name="connsiteX0-71" fmla="*/ 0 w 16366"/>
              <a:gd name="connsiteY0-72" fmla="*/ 7246 h 13132"/>
              <a:gd name="connsiteX1-73" fmla="*/ 10250 w 16366"/>
              <a:gd name="connsiteY1-74" fmla="*/ 0 h 13132"/>
              <a:gd name="connsiteX2-75" fmla="*/ 16366 w 16366"/>
              <a:gd name="connsiteY2-76" fmla="*/ 3836 h 13132"/>
              <a:gd name="connsiteX3-77" fmla="*/ 3412 w 16366"/>
              <a:gd name="connsiteY3-78" fmla="*/ 13132 h 13132"/>
              <a:gd name="connsiteX4-79" fmla="*/ 0 w 16366"/>
              <a:gd name="connsiteY4-80" fmla="*/ 7246 h 1313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6366" h="13132">
                <a:moveTo>
                  <a:pt x="0" y="7246"/>
                </a:moveTo>
                <a:lnTo>
                  <a:pt x="10250" y="0"/>
                </a:lnTo>
                <a:lnTo>
                  <a:pt x="16366" y="3836"/>
                </a:lnTo>
                <a:lnTo>
                  <a:pt x="3412" y="13132"/>
                </a:lnTo>
                <a:lnTo>
                  <a:pt x="0" y="7246"/>
                </a:lnTo>
                <a:close/>
              </a:path>
            </a:pathLst>
          </a:custGeom>
          <a:solidFill>
            <a:srgbClr val="80008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6" name="矩形 5"/>
          <p:cNvSpPr/>
          <p:nvPr/>
        </p:nvSpPr>
        <p:spPr>
          <a:xfrm flipH="1">
            <a:off x="2533054" y="3768304"/>
            <a:ext cx="2827894" cy="603646"/>
          </a:xfrm>
          <a:prstGeom prst="rect">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latin typeface="微软雅黑" panose="020B0503020204020204" pitchFamily="34" charset="-122"/>
              </a:rPr>
              <a:t>CONTENTS</a:t>
            </a:r>
            <a:endParaRPr lang="zh-CN" altLang="en-US" dirty="0">
              <a:latin typeface="微软雅黑" panose="020B0503020204020204" pitchFamily="34" charset="-122"/>
            </a:endParaRPr>
          </a:p>
        </p:txBody>
      </p:sp>
      <p:sp>
        <p:nvSpPr>
          <p:cNvPr id="7" name="矩形 6"/>
          <p:cNvSpPr/>
          <p:nvPr/>
        </p:nvSpPr>
        <p:spPr>
          <a:xfrm flipH="1">
            <a:off x="1735443" y="2883681"/>
            <a:ext cx="2827894" cy="601834"/>
          </a:xfrm>
          <a:prstGeom prst="rect">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latin typeface="微软雅黑" panose="020B0503020204020204" pitchFamily="34" charset="-122"/>
              </a:rPr>
              <a:t>CONTENTS</a:t>
            </a:r>
            <a:endParaRPr lang="zh-CN" altLang="en-US" dirty="0">
              <a:latin typeface="微软雅黑" panose="020B0503020204020204" pitchFamily="34" charset="-122"/>
            </a:endParaRPr>
          </a:p>
        </p:txBody>
      </p:sp>
      <p:sp>
        <p:nvSpPr>
          <p:cNvPr id="8" name="矩形 7"/>
          <p:cNvSpPr/>
          <p:nvPr/>
        </p:nvSpPr>
        <p:spPr>
          <a:xfrm flipH="1">
            <a:off x="937832" y="1997244"/>
            <a:ext cx="2827894" cy="603647"/>
          </a:xfrm>
          <a:prstGeom prst="rect">
            <a:avLst/>
          </a:prstGeom>
          <a:solidFill>
            <a:srgbClr val="9900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latin typeface="微软雅黑" panose="020B0503020204020204" pitchFamily="34" charset="-122"/>
              </a:rPr>
              <a:t>CONTENTS</a:t>
            </a:r>
            <a:endParaRPr lang="zh-CN" altLang="en-US" dirty="0">
              <a:latin typeface="微软雅黑" panose="020B0503020204020204" pitchFamily="34" charset="-122"/>
            </a:endParaRPr>
          </a:p>
        </p:txBody>
      </p:sp>
      <p:sp>
        <p:nvSpPr>
          <p:cNvPr id="9" name="矩形 8"/>
          <p:cNvSpPr/>
          <p:nvPr/>
        </p:nvSpPr>
        <p:spPr>
          <a:xfrm flipH="1">
            <a:off x="132970" y="1110809"/>
            <a:ext cx="2827894" cy="603646"/>
          </a:xfrm>
          <a:prstGeom prst="rect">
            <a:avLst/>
          </a:prstGeom>
          <a:solidFill>
            <a:srgbClr val="80008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dirty="0">
                <a:latin typeface="微软雅黑" panose="020B0503020204020204" pitchFamily="34" charset="-122"/>
              </a:rPr>
              <a:t>CONTENTS</a:t>
            </a:r>
            <a:endParaRPr lang="zh-CN" altLang="en-US" dirty="0">
              <a:latin typeface="微软雅黑" panose="020B0503020204020204" pitchFamily="34" charset="-122"/>
            </a:endParaRPr>
          </a:p>
        </p:txBody>
      </p:sp>
      <p:sp>
        <p:nvSpPr>
          <p:cNvPr id="10" name="文本框 12"/>
          <p:cNvSpPr txBox="1"/>
          <p:nvPr/>
        </p:nvSpPr>
        <p:spPr>
          <a:xfrm>
            <a:off x="2975366" y="1212323"/>
            <a:ext cx="3741521" cy="338554"/>
          </a:xfrm>
          <a:prstGeom prst="rect">
            <a:avLst/>
          </a:prstGeom>
          <a:noFill/>
        </p:spPr>
        <p:txBody>
          <a:bodyPr>
            <a:spAutoFit/>
          </a:bodyPr>
          <a:lstStyle/>
          <a:p>
            <a:pPr eaLnBrk="1" fontAlgn="auto" hangingPunct="1">
              <a:spcBef>
                <a:spcPts val="0"/>
              </a:spcBef>
              <a:spcAft>
                <a:spcPts val="0"/>
              </a:spcAft>
              <a:defRPr/>
            </a:pPr>
            <a:endPar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1" name="文本框 13"/>
          <p:cNvSpPr txBox="1"/>
          <p:nvPr/>
        </p:nvSpPr>
        <p:spPr>
          <a:xfrm>
            <a:off x="3758475" y="2102384"/>
            <a:ext cx="3741521" cy="338554"/>
          </a:xfrm>
          <a:prstGeom prst="rect">
            <a:avLst/>
          </a:prstGeom>
          <a:noFill/>
        </p:spPr>
        <p:txBody>
          <a:bodyPr>
            <a:spAutoFit/>
          </a:bodyPr>
          <a:lstStyle/>
          <a:p>
            <a:pPr eaLnBrk="1" fontAlgn="auto" hangingPunct="1">
              <a:spcBef>
                <a:spcPts val="0"/>
              </a:spcBef>
              <a:spcAft>
                <a:spcPts val="0"/>
              </a:spcAft>
              <a:defRPr/>
            </a:pPr>
            <a:endPar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2" name="文本框 14"/>
          <p:cNvSpPr txBox="1"/>
          <p:nvPr/>
        </p:nvSpPr>
        <p:spPr>
          <a:xfrm>
            <a:off x="4585090" y="2992446"/>
            <a:ext cx="3741521" cy="338554"/>
          </a:xfrm>
          <a:prstGeom prst="rect">
            <a:avLst/>
          </a:prstGeom>
          <a:noFill/>
        </p:spPr>
        <p:txBody>
          <a:bodyPr>
            <a:spAutoFit/>
          </a:bodyPr>
          <a:lstStyle/>
          <a:p>
            <a:pPr eaLnBrk="1" fontAlgn="auto" hangingPunct="1">
              <a:spcBef>
                <a:spcPts val="0"/>
              </a:spcBef>
              <a:spcAft>
                <a:spcPts val="0"/>
              </a:spcAft>
              <a:defRPr/>
            </a:pPr>
            <a:endPar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3" name="文本框 15"/>
          <p:cNvSpPr txBox="1"/>
          <p:nvPr/>
        </p:nvSpPr>
        <p:spPr>
          <a:xfrm>
            <a:off x="5368199" y="3868005"/>
            <a:ext cx="3741521" cy="338554"/>
          </a:xfrm>
          <a:prstGeom prst="rect">
            <a:avLst/>
          </a:prstGeom>
          <a:noFill/>
        </p:spPr>
        <p:txBody>
          <a:bodyPr>
            <a:spAutoFit/>
          </a:bodyPr>
          <a:lstStyle/>
          <a:p>
            <a:pPr eaLnBrk="1" fontAlgn="auto" hangingPunct="1">
              <a:spcBef>
                <a:spcPts val="0"/>
              </a:spcBef>
              <a:spcAft>
                <a:spcPts val="0"/>
              </a:spcAft>
              <a:defRPr/>
            </a:pPr>
            <a:endPar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4" name="矩形 13"/>
          <p:cNvSpPr/>
          <p:nvPr/>
        </p:nvSpPr>
        <p:spPr>
          <a:xfrm>
            <a:off x="3441207" y="1159844"/>
            <a:ext cx="3587239" cy="738664"/>
          </a:xfrm>
          <a:prstGeom prst="rect">
            <a:avLst/>
          </a:prstGeom>
        </p:spPr>
        <p:txBody>
          <a:bodyPr wrap="square">
            <a:spAutoFit/>
          </a:bodyPr>
          <a:lstStyle/>
          <a:p>
            <a:r>
              <a:rPr lang="en-US" altLang="zh-CN" sz="1400" dirty="0">
                <a:solidFill>
                  <a:schemeClr val="tx2"/>
                </a:solidFill>
                <a:latin typeface="Arial" panose="020B0604020202020204" pitchFamily="34" charset="0"/>
              </a:rPr>
              <a:t>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 Click here to enter your text. 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a:t>
            </a:r>
            <a:endParaRPr lang="zh-CN" altLang="en-US" sz="1400" dirty="0">
              <a:solidFill>
                <a:schemeClr val="tx2"/>
              </a:solidFill>
              <a:latin typeface="Arial" panose="020B0604020202020204" pitchFamily="34" charset="0"/>
            </a:endParaRPr>
          </a:p>
        </p:txBody>
      </p:sp>
      <p:sp>
        <p:nvSpPr>
          <p:cNvPr id="15" name="矩形 14"/>
          <p:cNvSpPr/>
          <p:nvPr/>
        </p:nvSpPr>
        <p:spPr>
          <a:xfrm>
            <a:off x="4013149" y="2063962"/>
            <a:ext cx="3486848" cy="738664"/>
          </a:xfrm>
          <a:prstGeom prst="rect">
            <a:avLst/>
          </a:prstGeom>
        </p:spPr>
        <p:txBody>
          <a:bodyPr wrap="square">
            <a:spAutoFit/>
          </a:bodyPr>
          <a:lstStyle/>
          <a:p>
            <a:r>
              <a:rPr lang="en-US" altLang="zh-CN" sz="1400" dirty="0">
                <a:solidFill>
                  <a:schemeClr val="tx2"/>
                </a:solidFill>
                <a:latin typeface="Arial" panose="020B0604020202020204" pitchFamily="34" charset="0"/>
              </a:rPr>
              <a:t>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 Click here to enter your text. 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a:t>
            </a:r>
            <a:endParaRPr lang="zh-CN" altLang="en-US" sz="1400" dirty="0">
              <a:solidFill>
                <a:schemeClr val="tx2"/>
              </a:solidFill>
              <a:latin typeface="Arial" panose="020B0604020202020204" pitchFamily="34" charset="0"/>
            </a:endParaRPr>
          </a:p>
        </p:txBody>
      </p:sp>
      <p:sp>
        <p:nvSpPr>
          <p:cNvPr id="16" name="矩形 15"/>
          <p:cNvSpPr/>
          <p:nvPr/>
        </p:nvSpPr>
        <p:spPr>
          <a:xfrm>
            <a:off x="4949337" y="2916133"/>
            <a:ext cx="3698048" cy="738664"/>
          </a:xfrm>
          <a:prstGeom prst="rect">
            <a:avLst/>
          </a:prstGeom>
        </p:spPr>
        <p:txBody>
          <a:bodyPr wrap="square">
            <a:spAutoFit/>
          </a:bodyPr>
          <a:lstStyle/>
          <a:p>
            <a:r>
              <a:rPr lang="en-US" altLang="zh-CN" sz="1400" dirty="0">
                <a:solidFill>
                  <a:schemeClr val="tx2"/>
                </a:solidFill>
                <a:latin typeface="Arial" panose="020B0604020202020204" pitchFamily="34" charset="0"/>
              </a:rPr>
              <a:t>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 Click here to enter your text. 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a:t>
            </a:r>
            <a:endParaRPr lang="zh-CN" altLang="en-US" sz="1400" dirty="0">
              <a:solidFill>
                <a:schemeClr val="tx2"/>
              </a:solidFill>
              <a:latin typeface="Arial" panose="020B0604020202020204" pitchFamily="34" charset="0"/>
            </a:endParaRPr>
          </a:p>
        </p:txBody>
      </p:sp>
      <p:sp>
        <p:nvSpPr>
          <p:cNvPr id="17" name="矩形 16"/>
          <p:cNvSpPr/>
          <p:nvPr/>
        </p:nvSpPr>
        <p:spPr>
          <a:xfrm>
            <a:off x="5643666" y="3837227"/>
            <a:ext cx="3466054" cy="738664"/>
          </a:xfrm>
          <a:prstGeom prst="rect">
            <a:avLst/>
          </a:prstGeom>
        </p:spPr>
        <p:txBody>
          <a:bodyPr wrap="square">
            <a:spAutoFit/>
          </a:bodyPr>
          <a:lstStyle/>
          <a:p>
            <a:r>
              <a:rPr lang="en-US" altLang="zh-CN" sz="1400" dirty="0">
                <a:solidFill>
                  <a:schemeClr val="tx2"/>
                </a:solidFill>
                <a:latin typeface="Arial" panose="020B0604020202020204" pitchFamily="34" charset="0"/>
              </a:rPr>
              <a:t>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 Click here to enter your text. 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a:t>
            </a:r>
            <a:endParaRPr lang="zh-CN" altLang="en-US" sz="1400" dirty="0">
              <a:solidFill>
                <a:schemeClr val="tx2"/>
              </a:solidFill>
              <a:latin typeface="Arial" panose="020B0604020202020204" pitchFamily="34" charset="0"/>
            </a:endParaRPr>
          </a:p>
        </p:txBody>
      </p:sp>
      <p:grpSp>
        <p:nvGrpSpPr>
          <p:cNvPr id="21" name="组合 20"/>
          <p:cNvGrpSpPr/>
          <p:nvPr/>
        </p:nvGrpSpPr>
        <p:grpSpPr>
          <a:xfrm>
            <a:off x="-427107" y="2964008"/>
            <a:ext cx="1012700" cy="2068851"/>
            <a:chOff x="-457336" y="1453415"/>
            <a:chExt cx="1012700" cy="2068851"/>
          </a:xfrm>
        </p:grpSpPr>
        <p:pic>
          <p:nvPicPr>
            <p:cNvPr id="18"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6766" t="19203" r="18133" b="48780"/>
            <a:stretch>
              <a:fillRect/>
            </a:stretch>
          </p:blipFill>
          <p:spPr bwMode="auto">
            <a:xfrm rot="13437075">
              <a:off x="-457336" y="1453415"/>
              <a:ext cx="839027" cy="839027"/>
            </a:xfrm>
            <a:prstGeom prst="rtTriangle">
              <a:avLst/>
            </a:prstGeom>
            <a:noFill/>
            <a:extLst>
              <a:ext uri="{909E8E84-426E-40DD-AFC4-6F175D3DCCD1}">
                <a14:hiddenFill xmlns:a14="http://schemas.microsoft.com/office/drawing/2010/main">
                  <a:solidFill>
                    <a:srgbClr val="FFFFFF"/>
                  </a:solidFill>
                </a14:hiddenFill>
              </a:ext>
            </a:extLst>
          </p:spPr>
        </p:pic>
        <p:pic>
          <p:nvPicPr>
            <p:cNvPr id="19"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6766" t="19203" r="18133" b="48780"/>
            <a:stretch>
              <a:fillRect/>
            </a:stretch>
          </p:blipFill>
          <p:spPr bwMode="auto">
            <a:xfrm rot="8162925" flipV="1">
              <a:off x="-457336" y="2683239"/>
              <a:ext cx="839027" cy="839027"/>
            </a:xfrm>
            <a:prstGeom prst="rtTriangle">
              <a:avLst/>
            </a:prstGeom>
            <a:noFill/>
            <a:extLst>
              <a:ext uri="{909E8E84-426E-40DD-AFC4-6F175D3DCCD1}">
                <a14:hiddenFill xmlns:a14="http://schemas.microsoft.com/office/drawing/2010/main">
                  <a:solidFill>
                    <a:srgbClr val="FFFFFF"/>
                  </a:solidFill>
                </a14:hiddenFill>
              </a:ext>
            </a:extLst>
          </p:spPr>
        </p:pic>
        <p:sp>
          <p:nvSpPr>
            <p:cNvPr id="20" name="等腰三角形 19"/>
            <p:cNvSpPr/>
            <p:nvPr/>
          </p:nvSpPr>
          <p:spPr>
            <a:xfrm rot="16200000">
              <a:off x="-236875" y="2226332"/>
              <a:ext cx="1058488" cy="525991"/>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2" name="组合 21"/>
          <p:cNvGrpSpPr/>
          <p:nvPr/>
        </p:nvGrpSpPr>
        <p:grpSpPr>
          <a:xfrm flipH="1">
            <a:off x="8784157" y="-211526"/>
            <a:ext cx="651125" cy="1330187"/>
            <a:chOff x="-457336" y="1453415"/>
            <a:chExt cx="1012700" cy="2068851"/>
          </a:xfrm>
        </p:grpSpPr>
        <p:pic>
          <p:nvPicPr>
            <p:cNvPr id="23"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6766" t="19203" r="18133" b="48780"/>
            <a:stretch>
              <a:fillRect/>
            </a:stretch>
          </p:blipFill>
          <p:spPr bwMode="auto">
            <a:xfrm rot="13437075">
              <a:off x="-457336" y="1453415"/>
              <a:ext cx="839027" cy="839027"/>
            </a:xfrm>
            <a:prstGeom prst="rtTriangle">
              <a:avLst/>
            </a:prstGeom>
            <a:noFill/>
            <a:extLst>
              <a:ext uri="{909E8E84-426E-40DD-AFC4-6F175D3DCCD1}">
                <a14:hiddenFill xmlns:a14="http://schemas.microsoft.com/office/drawing/2010/main">
                  <a:solidFill>
                    <a:srgbClr val="FFFFFF"/>
                  </a:solidFill>
                </a14:hiddenFill>
              </a:ext>
            </a:extLst>
          </p:spPr>
        </p:pic>
        <p:pic>
          <p:nvPicPr>
            <p:cNvPr id="24"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6766" t="19203" r="18133" b="48780"/>
            <a:stretch>
              <a:fillRect/>
            </a:stretch>
          </p:blipFill>
          <p:spPr bwMode="auto">
            <a:xfrm rot="8162925" flipV="1">
              <a:off x="-457336" y="2683239"/>
              <a:ext cx="839027" cy="839027"/>
            </a:xfrm>
            <a:prstGeom prst="rtTriangle">
              <a:avLst/>
            </a:prstGeom>
            <a:noFill/>
            <a:extLst>
              <a:ext uri="{909E8E84-426E-40DD-AFC4-6F175D3DCCD1}">
                <a14:hiddenFill xmlns:a14="http://schemas.microsoft.com/office/drawing/2010/main">
                  <a:solidFill>
                    <a:srgbClr val="FFFFFF"/>
                  </a:solidFill>
                </a14:hiddenFill>
              </a:ext>
            </a:extLst>
          </p:spPr>
        </p:pic>
        <p:sp>
          <p:nvSpPr>
            <p:cNvPr id="25" name="等腰三角形 24"/>
            <p:cNvSpPr/>
            <p:nvPr/>
          </p:nvSpPr>
          <p:spPr>
            <a:xfrm rot="16200000">
              <a:off x="-236875" y="2226332"/>
              <a:ext cx="1058488" cy="525991"/>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6" name="TextBox 25"/>
          <p:cNvSpPr txBox="1"/>
          <p:nvPr/>
        </p:nvSpPr>
        <p:spPr>
          <a:xfrm>
            <a:off x="683568" y="123478"/>
            <a:ext cx="268535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en-US" altLang="zh-CN" dirty="0"/>
              <a:t>ADD YOUR TEXT</a:t>
            </a:r>
            <a:endParaRPr lang="zh-CN" altLang="en-US" dirty="0"/>
          </a:p>
        </p:txBody>
      </p:sp>
    </p:spTree>
  </p:cSld>
  <p:clrMapOvr>
    <a:masterClrMapping/>
  </p:clrMapOvr>
  <p:transition spd="slow">
    <p:randomBar dir="vert"/>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349319" y="1891561"/>
            <a:ext cx="6188246" cy="2041370"/>
            <a:chOff x="2057400" y="2822575"/>
            <a:chExt cx="5360988" cy="1768475"/>
          </a:xfrm>
        </p:grpSpPr>
        <p:sp>
          <p:nvSpPr>
            <p:cNvPr id="3" name="Freeform 17"/>
            <p:cNvSpPr/>
            <p:nvPr/>
          </p:nvSpPr>
          <p:spPr bwMode="auto">
            <a:xfrm>
              <a:off x="4392613" y="3005138"/>
              <a:ext cx="1427162" cy="1404937"/>
            </a:xfrm>
            <a:custGeom>
              <a:avLst/>
              <a:gdLst>
                <a:gd name="T0" fmla="*/ 145 w 145"/>
                <a:gd name="T1" fmla="*/ 74 h 143"/>
                <a:gd name="T2" fmla="*/ 133 w 145"/>
                <a:gd name="T3" fmla="*/ 88 h 143"/>
                <a:gd name="T4" fmla="*/ 8 w 145"/>
                <a:gd name="T5" fmla="*/ 143 h 143"/>
                <a:gd name="T6" fmla="*/ 2 w 145"/>
                <a:gd name="T7" fmla="*/ 141 h 143"/>
                <a:gd name="T8" fmla="*/ 0 w 145"/>
                <a:gd name="T9" fmla="*/ 135 h 143"/>
                <a:gd name="T10" fmla="*/ 6 w 145"/>
                <a:gd name="T11" fmla="*/ 108 h 143"/>
                <a:gd name="T12" fmla="*/ 50 w 145"/>
                <a:gd name="T13" fmla="*/ 73 h 143"/>
                <a:gd name="T14" fmla="*/ 21 w 145"/>
                <a:gd name="T15" fmla="*/ 44 h 143"/>
                <a:gd name="T16" fmla="*/ 29 w 145"/>
                <a:gd name="T17" fmla="*/ 8 h 143"/>
                <a:gd name="T18" fmla="*/ 36 w 145"/>
                <a:gd name="T19" fmla="*/ 1 h 143"/>
                <a:gd name="T20" fmla="*/ 44 w 145"/>
                <a:gd name="T21" fmla="*/ 3 h 143"/>
                <a:gd name="T22" fmla="*/ 138 w 145"/>
                <a:gd name="T23" fmla="*/ 61 h 143"/>
                <a:gd name="T24" fmla="*/ 145 w 145"/>
                <a:gd name="T25" fmla="*/ 7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5" h="143">
                  <a:moveTo>
                    <a:pt x="145" y="74"/>
                  </a:moveTo>
                  <a:cubicBezTo>
                    <a:pt x="145" y="82"/>
                    <a:pt x="133" y="88"/>
                    <a:pt x="133" y="88"/>
                  </a:cubicBezTo>
                  <a:cubicBezTo>
                    <a:pt x="8" y="143"/>
                    <a:pt x="8" y="143"/>
                    <a:pt x="8" y="143"/>
                  </a:cubicBezTo>
                  <a:cubicBezTo>
                    <a:pt x="8" y="143"/>
                    <a:pt x="4" y="143"/>
                    <a:pt x="2" y="141"/>
                  </a:cubicBezTo>
                  <a:cubicBezTo>
                    <a:pt x="0" y="139"/>
                    <a:pt x="0" y="135"/>
                    <a:pt x="0" y="135"/>
                  </a:cubicBezTo>
                  <a:cubicBezTo>
                    <a:pt x="6" y="108"/>
                    <a:pt x="6" y="108"/>
                    <a:pt x="6" y="108"/>
                  </a:cubicBezTo>
                  <a:cubicBezTo>
                    <a:pt x="6" y="108"/>
                    <a:pt x="50" y="92"/>
                    <a:pt x="50" y="73"/>
                  </a:cubicBezTo>
                  <a:cubicBezTo>
                    <a:pt x="49" y="57"/>
                    <a:pt x="21" y="44"/>
                    <a:pt x="21" y="44"/>
                  </a:cubicBezTo>
                  <a:cubicBezTo>
                    <a:pt x="29" y="8"/>
                    <a:pt x="29" y="8"/>
                    <a:pt x="29" y="8"/>
                  </a:cubicBezTo>
                  <a:cubicBezTo>
                    <a:pt x="29" y="8"/>
                    <a:pt x="31" y="3"/>
                    <a:pt x="36" y="1"/>
                  </a:cubicBezTo>
                  <a:cubicBezTo>
                    <a:pt x="40" y="0"/>
                    <a:pt x="44" y="3"/>
                    <a:pt x="44" y="3"/>
                  </a:cubicBezTo>
                  <a:cubicBezTo>
                    <a:pt x="138" y="61"/>
                    <a:pt x="138" y="61"/>
                    <a:pt x="138" y="61"/>
                  </a:cubicBezTo>
                  <a:cubicBezTo>
                    <a:pt x="138" y="61"/>
                    <a:pt x="145" y="65"/>
                    <a:pt x="145" y="74"/>
                  </a:cubicBezTo>
                  <a:close/>
                </a:path>
              </a:pathLst>
            </a:custGeom>
            <a:solidFill>
              <a:srgbClr val="990099"/>
            </a:solidFill>
            <a:ln w="3175" cap="flat" cmpd="sng" algn="ctr">
              <a:noFill/>
              <a:prstDash val="solid"/>
            </a:ln>
            <a:effectLst>
              <a:outerShdw blurRad="50800" dist="25400" dir="2700000" algn="tl" rotWithShape="0">
                <a:prstClr val="black">
                  <a:alpha val="15000"/>
                </a:prstClr>
              </a:outerShdw>
            </a:effectLst>
          </p:spPr>
          <p:txBody>
            <a:bodyPr lIns="432000" anchor="ctr"/>
            <a:lstStyle/>
            <a:p>
              <a:pPr algn="ctr" eaLnBrk="1" fontAlgn="auto" hangingPunct="1">
                <a:spcBef>
                  <a:spcPts val="0"/>
                </a:spcBef>
                <a:spcAft>
                  <a:spcPts val="0"/>
                </a:spcAft>
                <a:defRPr/>
              </a:pPr>
              <a:r>
                <a:rPr lang="en-US" altLang="zh-CN" sz="2400" kern="0" dirty="0">
                  <a:solidFill>
                    <a:srgbClr val="FFFFFF"/>
                  </a:solidFill>
                  <a:latin typeface="+mn-lt"/>
                  <a:ea typeface="+mn-ea"/>
                </a:rPr>
                <a:t>03</a:t>
              </a:r>
              <a:endParaRPr lang="zh-CN" altLang="en-US" sz="2400" kern="0" dirty="0">
                <a:solidFill>
                  <a:srgbClr val="FFFFFF"/>
                </a:solidFill>
                <a:latin typeface="+mn-lt"/>
                <a:ea typeface="+mn-ea"/>
              </a:endParaRPr>
            </a:p>
          </p:txBody>
        </p:sp>
        <p:sp>
          <p:nvSpPr>
            <p:cNvPr id="4" name="Freeform 18"/>
            <p:cNvSpPr/>
            <p:nvPr/>
          </p:nvSpPr>
          <p:spPr bwMode="auto">
            <a:xfrm>
              <a:off x="3090863" y="3097213"/>
              <a:ext cx="1247775" cy="1219200"/>
            </a:xfrm>
            <a:custGeom>
              <a:avLst/>
              <a:gdLst>
                <a:gd name="T0" fmla="*/ 127 w 127"/>
                <a:gd name="T1" fmla="*/ 64 h 124"/>
                <a:gd name="T2" fmla="*/ 117 w 127"/>
                <a:gd name="T3" fmla="*/ 76 h 124"/>
                <a:gd name="T4" fmla="*/ 8 w 127"/>
                <a:gd name="T5" fmla="*/ 124 h 124"/>
                <a:gd name="T6" fmla="*/ 2 w 127"/>
                <a:gd name="T7" fmla="*/ 123 h 124"/>
                <a:gd name="T8" fmla="*/ 1 w 127"/>
                <a:gd name="T9" fmla="*/ 118 h 124"/>
                <a:gd name="T10" fmla="*/ 6 w 127"/>
                <a:gd name="T11" fmla="*/ 94 h 124"/>
                <a:gd name="T12" fmla="*/ 39 w 127"/>
                <a:gd name="T13" fmla="*/ 62 h 124"/>
                <a:gd name="T14" fmla="*/ 19 w 127"/>
                <a:gd name="T15" fmla="*/ 38 h 124"/>
                <a:gd name="T16" fmla="*/ 26 w 127"/>
                <a:gd name="T17" fmla="*/ 6 h 124"/>
                <a:gd name="T18" fmla="*/ 32 w 127"/>
                <a:gd name="T19" fmla="*/ 1 h 124"/>
                <a:gd name="T20" fmla="*/ 39 w 127"/>
                <a:gd name="T21" fmla="*/ 2 h 124"/>
                <a:gd name="T22" fmla="*/ 121 w 127"/>
                <a:gd name="T23" fmla="*/ 52 h 124"/>
                <a:gd name="T24" fmla="*/ 127 w 127"/>
                <a:gd name="T25" fmla="*/ 6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24">
                  <a:moveTo>
                    <a:pt x="127" y="64"/>
                  </a:moveTo>
                  <a:cubicBezTo>
                    <a:pt x="127" y="71"/>
                    <a:pt x="117" y="76"/>
                    <a:pt x="117" y="76"/>
                  </a:cubicBezTo>
                  <a:cubicBezTo>
                    <a:pt x="8" y="124"/>
                    <a:pt x="8" y="124"/>
                    <a:pt x="8" y="124"/>
                  </a:cubicBezTo>
                  <a:cubicBezTo>
                    <a:pt x="8" y="124"/>
                    <a:pt x="4" y="124"/>
                    <a:pt x="2" y="123"/>
                  </a:cubicBezTo>
                  <a:cubicBezTo>
                    <a:pt x="0" y="121"/>
                    <a:pt x="1" y="118"/>
                    <a:pt x="1" y="118"/>
                  </a:cubicBezTo>
                  <a:cubicBezTo>
                    <a:pt x="6" y="94"/>
                    <a:pt x="6" y="94"/>
                    <a:pt x="6" y="94"/>
                  </a:cubicBezTo>
                  <a:cubicBezTo>
                    <a:pt x="6" y="94"/>
                    <a:pt x="39" y="81"/>
                    <a:pt x="39" y="62"/>
                  </a:cubicBezTo>
                  <a:cubicBezTo>
                    <a:pt x="40" y="48"/>
                    <a:pt x="19" y="38"/>
                    <a:pt x="19" y="38"/>
                  </a:cubicBezTo>
                  <a:cubicBezTo>
                    <a:pt x="26" y="6"/>
                    <a:pt x="26" y="6"/>
                    <a:pt x="26" y="6"/>
                  </a:cubicBezTo>
                  <a:cubicBezTo>
                    <a:pt x="26" y="6"/>
                    <a:pt x="28" y="2"/>
                    <a:pt x="32" y="1"/>
                  </a:cubicBezTo>
                  <a:cubicBezTo>
                    <a:pt x="36" y="0"/>
                    <a:pt x="39" y="2"/>
                    <a:pt x="39" y="2"/>
                  </a:cubicBezTo>
                  <a:cubicBezTo>
                    <a:pt x="121" y="52"/>
                    <a:pt x="121" y="52"/>
                    <a:pt x="121" y="52"/>
                  </a:cubicBezTo>
                  <a:cubicBezTo>
                    <a:pt x="121" y="52"/>
                    <a:pt x="127" y="57"/>
                    <a:pt x="127" y="64"/>
                  </a:cubicBezTo>
                  <a:close/>
                </a:path>
              </a:pathLst>
            </a:custGeom>
            <a:solidFill>
              <a:srgbClr val="CC0099"/>
            </a:solidFill>
            <a:ln w="3175" cap="flat" cmpd="sng" algn="ctr">
              <a:noFill/>
              <a:prstDash val="solid"/>
            </a:ln>
            <a:effectLst>
              <a:outerShdw blurRad="50800" dist="25400" dir="2700000" algn="tl" rotWithShape="0">
                <a:prstClr val="black">
                  <a:alpha val="15000"/>
                </a:prstClr>
              </a:outerShdw>
            </a:effectLst>
          </p:spPr>
          <p:txBody>
            <a:bodyPr lIns="288000" anchor="ctr"/>
            <a:lstStyle/>
            <a:p>
              <a:pPr algn="ctr" eaLnBrk="1" fontAlgn="auto" hangingPunct="1">
                <a:spcBef>
                  <a:spcPts val="0"/>
                </a:spcBef>
                <a:spcAft>
                  <a:spcPts val="0"/>
                </a:spcAft>
                <a:defRPr/>
              </a:pPr>
              <a:r>
                <a:rPr lang="en-US" altLang="zh-CN" sz="2400" kern="0" dirty="0">
                  <a:solidFill>
                    <a:srgbClr val="FFFFFF"/>
                  </a:solidFill>
                  <a:latin typeface="+mn-lt"/>
                  <a:ea typeface="+mn-ea"/>
                </a:rPr>
                <a:t>02</a:t>
              </a:r>
              <a:endParaRPr lang="zh-CN" altLang="en-US" sz="2400" kern="0" dirty="0">
                <a:solidFill>
                  <a:srgbClr val="FFFFFF"/>
                </a:solidFill>
                <a:latin typeface="+mn-lt"/>
                <a:ea typeface="+mn-ea"/>
              </a:endParaRPr>
            </a:p>
          </p:txBody>
        </p:sp>
        <p:sp>
          <p:nvSpPr>
            <p:cNvPr id="5" name="Freeform 19"/>
            <p:cNvSpPr/>
            <p:nvPr/>
          </p:nvSpPr>
          <p:spPr bwMode="auto">
            <a:xfrm>
              <a:off x="2057400" y="3205163"/>
              <a:ext cx="990600" cy="1003300"/>
            </a:xfrm>
            <a:custGeom>
              <a:avLst/>
              <a:gdLst>
                <a:gd name="T0" fmla="*/ 15 w 101"/>
                <a:gd name="T1" fmla="*/ 31 h 102"/>
                <a:gd name="T2" fmla="*/ 21 w 101"/>
                <a:gd name="T3" fmla="*/ 5 h 102"/>
                <a:gd name="T4" fmla="*/ 26 w 101"/>
                <a:gd name="T5" fmla="*/ 1 h 102"/>
                <a:gd name="T6" fmla="*/ 32 w 101"/>
                <a:gd name="T7" fmla="*/ 2 h 102"/>
                <a:gd name="T8" fmla="*/ 95 w 101"/>
                <a:gd name="T9" fmla="*/ 41 h 102"/>
                <a:gd name="T10" fmla="*/ 101 w 101"/>
                <a:gd name="T11" fmla="*/ 51 h 102"/>
                <a:gd name="T12" fmla="*/ 94 w 101"/>
                <a:gd name="T13" fmla="*/ 63 h 102"/>
                <a:gd name="T14" fmla="*/ 6 w 101"/>
                <a:gd name="T15" fmla="*/ 102 h 102"/>
                <a:gd name="T16" fmla="*/ 2 w 101"/>
                <a:gd name="T17" fmla="*/ 101 h 102"/>
                <a:gd name="T18" fmla="*/ 0 w 101"/>
                <a:gd name="T19" fmla="*/ 97 h 102"/>
                <a:gd name="T20" fmla="*/ 5 w 101"/>
                <a:gd name="T21" fmla="*/ 77 h 102"/>
                <a:gd name="T22" fmla="*/ 15 w 101"/>
                <a:gd name="T23" fmla="*/ 3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2">
                  <a:moveTo>
                    <a:pt x="15" y="31"/>
                  </a:moveTo>
                  <a:cubicBezTo>
                    <a:pt x="21" y="5"/>
                    <a:pt x="21" y="5"/>
                    <a:pt x="21" y="5"/>
                  </a:cubicBezTo>
                  <a:cubicBezTo>
                    <a:pt x="21" y="5"/>
                    <a:pt x="22" y="2"/>
                    <a:pt x="26" y="1"/>
                  </a:cubicBezTo>
                  <a:cubicBezTo>
                    <a:pt x="29" y="0"/>
                    <a:pt x="32" y="2"/>
                    <a:pt x="32" y="2"/>
                  </a:cubicBezTo>
                  <a:cubicBezTo>
                    <a:pt x="95" y="41"/>
                    <a:pt x="95" y="41"/>
                    <a:pt x="95" y="41"/>
                  </a:cubicBezTo>
                  <a:cubicBezTo>
                    <a:pt x="95" y="41"/>
                    <a:pt x="101" y="46"/>
                    <a:pt x="101" y="51"/>
                  </a:cubicBezTo>
                  <a:cubicBezTo>
                    <a:pt x="101" y="60"/>
                    <a:pt x="94" y="63"/>
                    <a:pt x="94" y="63"/>
                  </a:cubicBezTo>
                  <a:cubicBezTo>
                    <a:pt x="6" y="102"/>
                    <a:pt x="6" y="102"/>
                    <a:pt x="6" y="102"/>
                  </a:cubicBezTo>
                  <a:cubicBezTo>
                    <a:pt x="6" y="102"/>
                    <a:pt x="3" y="102"/>
                    <a:pt x="2" y="101"/>
                  </a:cubicBezTo>
                  <a:cubicBezTo>
                    <a:pt x="0" y="99"/>
                    <a:pt x="0" y="97"/>
                    <a:pt x="0" y="97"/>
                  </a:cubicBezTo>
                  <a:cubicBezTo>
                    <a:pt x="5" y="77"/>
                    <a:pt x="5" y="77"/>
                    <a:pt x="5" y="77"/>
                  </a:cubicBezTo>
                  <a:lnTo>
                    <a:pt x="15" y="31"/>
                  </a:lnTo>
                  <a:close/>
                </a:path>
              </a:pathLst>
            </a:custGeom>
            <a:solidFill>
              <a:srgbClr val="FF0066"/>
            </a:solidFill>
            <a:ln w="3175" cap="flat" cmpd="sng" algn="ctr">
              <a:noFill/>
              <a:prstDash val="solid"/>
            </a:ln>
            <a:effectLst>
              <a:outerShdw blurRad="50800" dist="25400" dir="2700000" algn="tl" rotWithShape="0">
                <a:prstClr val="black">
                  <a:alpha val="15000"/>
                </a:prstClr>
              </a:outerShdw>
            </a:effectLst>
          </p:spPr>
          <p:txBody>
            <a:bodyPr anchor="ctr"/>
            <a:lstStyle/>
            <a:p>
              <a:pPr algn="ctr" eaLnBrk="1" fontAlgn="auto" hangingPunct="1">
                <a:spcBef>
                  <a:spcPts val="0"/>
                </a:spcBef>
                <a:spcAft>
                  <a:spcPts val="0"/>
                </a:spcAft>
                <a:defRPr/>
              </a:pPr>
              <a:r>
                <a:rPr lang="en-US" altLang="zh-CN" sz="2400" kern="0" dirty="0">
                  <a:solidFill>
                    <a:srgbClr val="FFFFFF"/>
                  </a:solidFill>
                  <a:latin typeface="+mn-lt"/>
                  <a:ea typeface="+mn-ea"/>
                </a:rPr>
                <a:t>01</a:t>
              </a:r>
              <a:endParaRPr lang="zh-CN" altLang="en-US" sz="2400" kern="0" dirty="0">
                <a:solidFill>
                  <a:srgbClr val="FFFFFF"/>
                </a:solidFill>
                <a:latin typeface="+mn-lt"/>
                <a:ea typeface="+mn-ea"/>
              </a:endParaRPr>
            </a:p>
          </p:txBody>
        </p:sp>
        <p:sp>
          <p:nvSpPr>
            <p:cNvPr id="6" name="Freeform 17"/>
            <p:cNvSpPr/>
            <p:nvPr/>
          </p:nvSpPr>
          <p:spPr bwMode="auto">
            <a:xfrm>
              <a:off x="5621338" y="2822575"/>
              <a:ext cx="1797050" cy="1768475"/>
            </a:xfrm>
            <a:custGeom>
              <a:avLst/>
              <a:gdLst>
                <a:gd name="T0" fmla="*/ 145 w 145"/>
                <a:gd name="T1" fmla="*/ 74 h 143"/>
                <a:gd name="T2" fmla="*/ 133 w 145"/>
                <a:gd name="T3" fmla="*/ 88 h 143"/>
                <a:gd name="T4" fmla="*/ 8 w 145"/>
                <a:gd name="T5" fmla="*/ 143 h 143"/>
                <a:gd name="T6" fmla="*/ 2 w 145"/>
                <a:gd name="T7" fmla="*/ 141 h 143"/>
                <a:gd name="T8" fmla="*/ 0 w 145"/>
                <a:gd name="T9" fmla="*/ 135 h 143"/>
                <a:gd name="T10" fmla="*/ 6 w 145"/>
                <a:gd name="T11" fmla="*/ 108 h 143"/>
                <a:gd name="T12" fmla="*/ 50 w 145"/>
                <a:gd name="T13" fmla="*/ 73 h 143"/>
                <a:gd name="T14" fmla="*/ 21 w 145"/>
                <a:gd name="T15" fmla="*/ 44 h 143"/>
                <a:gd name="T16" fmla="*/ 29 w 145"/>
                <a:gd name="T17" fmla="*/ 8 h 143"/>
                <a:gd name="T18" fmla="*/ 36 w 145"/>
                <a:gd name="T19" fmla="*/ 1 h 143"/>
                <a:gd name="T20" fmla="*/ 44 w 145"/>
                <a:gd name="T21" fmla="*/ 3 h 143"/>
                <a:gd name="T22" fmla="*/ 138 w 145"/>
                <a:gd name="T23" fmla="*/ 61 h 143"/>
                <a:gd name="T24" fmla="*/ 145 w 145"/>
                <a:gd name="T25" fmla="*/ 7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5" h="143">
                  <a:moveTo>
                    <a:pt x="145" y="74"/>
                  </a:moveTo>
                  <a:cubicBezTo>
                    <a:pt x="145" y="82"/>
                    <a:pt x="133" y="88"/>
                    <a:pt x="133" y="88"/>
                  </a:cubicBezTo>
                  <a:cubicBezTo>
                    <a:pt x="8" y="143"/>
                    <a:pt x="8" y="143"/>
                    <a:pt x="8" y="143"/>
                  </a:cubicBezTo>
                  <a:cubicBezTo>
                    <a:pt x="8" y="143"/>
                    <a:pt x="4" y="143"/>
                    <a:pt x="2" y="141"/>
                  </a:cubicBezTo>
                  <a:cubicBezTo>
                    <a:pt x="0" y="139"/>
                    <a:pt x="0" y="135"/>
                    <a:pt x="0" y="135"/>
                  </a:cubicBezTo>
                  <a:cubicBezTo>
                    <a:pt x="6" y="108"/>
                    <a:pt x="6" y="108"/>
                    <a:pt x="6" y="108"/>
                  </a:cubicBezTo>
                  <a:cubicBezTo>
                    <a:pt x="6" y="108"/>
                    <a:pt x="50" y="92"/>
                    <a:pt x="50" y="73"/>
                  </a:cubicBezTo>
                  <a:cubicBezTo>
                    <a:pt x="49" y="57"/>
                    <a:pt x="21" y="44"/>
                    <a:pt x="21" y="44"/>
                  </a:cubicBezTo>
                  <a:cubicBezTo>
                    <a:pt x="29" y="8"/>
                    <a:pt x="29" y="8"/>
                    <a:pt x="29" y="8"/>
                  </a:cubicBezTo>
                  <a:cubicBezTo>
                    <a:pt x="29" y="8"/>
                    <a:pt x="31" y="3"/>
                    <a:pt x="36" y="1"/>
                  </a:cubicBezTo>
                  <a:cubicBezTo>
                    <a:pt x="40" y="0"/>
                    <a:pt x="44" y="3"/>
                    <a:pt x="44" y="3"/>
                  </a:cubicBezTo>
                  <a:cubicBezTo>
                    <a:pt x="138" y="61"/>
                    <a:pt x="138" y="61"/>
                    <a:pt x="138" y="61"/>
                  </a:cubicBezTo>
                  <a:cubicBezTo>
                    <a:pt x="138" y="61"/>
                    <a:pt x="145" y="65"/>
                    <a:pt x="145" y="74"/>
                  </a:cubicBezTo>
                  <a:close/>
                </a:path>
              </a:pathLst>
            </a:custGeom>
            <a:solidFill>
              <a:srgbClr val="800080"/>
            </a:solidFill>
            <a:ln w="3175" cap="flat" cmpd="sng" algn="ctr">
              <a:noFill/>
              <a:prstDash val="solid"/>
            </a:ln>
            <a:effectLst>
              <a:outerShdw blurRad="50800" dist="25400" dir="2700000" algn="tl" rotWithShape="0">
                <a:prstClr val="black">
                  <a:alpha val="15000"/>
                </a:prstClr>
              </a:outerShdw>
            </a:effectLst>
          </p:spPr>
          <p:txBody>
            <a:bodyPr lIns="540000" anchor="ctr"/>
            <a:lstStyle/>
            <a:p>
              <a:pPr algn="ctr" eaLnBrk="1" fontAlgn="auto" hangingPunct="1">
                <a:spcBef>
                  <a:spcPts val="0"/>
                </a:spcBef>
                <a:spcAft>
                  <a:spcPts val="0"/>
                </a:spcAft>
                <a:defRPr/>
              </a:pPr>
              <a:r>
                <a:rPr lang="en-US" altLang="zh-CN" sz="2400" kern="0" dirty="0">
                  <a:solidFill>
                    <a:srgbClr val="FFFFFF"/>
                  </a:solidFill>
                  <a:latin typeface="+mn-lt"/>
                  <a:ea typeface="+mn-ea"/>
                </a:rPr>
                <a:t>04</a:t>
              </a:r>
              <a:endParaRPr lang="zh-CN" altLang="en-US" sz="2400" kern="0" dirty="0">
                <a:solidFill>
                  <a:srgbClr val="FFFFFF"/>
                </a:solidFill>
                <a:latin typeface="+mn-lt"/>
                <a:ea typeface="+mn-ea"/>
              </a:endParaRPr>
            </a:p>
          </p:txBody>
        </p:sp>
        <p:sp>
          <p:nvSpPr>
            <p:cNvPr id="7" name="椭圆 6"/>
            <p:cNvSpPr/>
            <p:nvPr/>
          </p:nvSpPr>
          <p:spPr>
            <a:xfrm>
              <a:off x="2301875" y="3287713"/>
              <a:ext cx="107950" cy="1079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zh-CN" altLang="en-US" sz="1600" dirty="0">
                <a:latin typeface="微软雅黑" panose="020B0503020204020204" pitchFamily="34" charset="-122"/>
              </a:endParaRPr>
            </a:p>
          </p:txBody>
        </p:sp>
        <p:sp>
          <p:nvSpPr>
            <p:cNvPr id="8" name="椭圆 7"/>
            <p:cNvSpPr/>
            <p:nvPr/>
          </p:nvSpPr>
          <p:spPr>
            <a:xfrm>
              <a:off x="3160713" y="4122738"/>
              <a:ext cx="107950" cy="1079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zh-CN" altLang="en-US" sz="1600" dirty="0">
                <a:latin typeface="微软雅黑" panose="020B0503020204020204" pitchFamily="34" charset="-122"/>
              </a:endParaRPr>
            </a:p>
          </p:txBody>
        </p:sp>
        <p:sp>
          <p:nvSpPr>
            <p:cNvPr id="9" name="椭圆 8"/>
            <p:cNvSpPr/>
            <p:nvPr/>
          </p:nvSpPr>
          <p:spPr>
            <a:xfrm>
              <a:off x="4733925" y="3100388"/>
              <a:ext cx="107950" cy="1079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zh-CN" altLang="en-US" sz="1600" dirty="0">
                <a:latin typeface="微软雅黑" panose="020B0503020204020204" pitchFamily="34" charset="-122"/>
              </a:endParaRPr>
            </a:p>
          </p:txBody>
        </p:sp>
        <p:sp>
          <p:nvSpPr>
            <p:cNvPr id="10" name="椭圆 9"/>
            <p:cNvSpPr/>
            <p:nvPr/>
          </p:nvSpPr>
          <p:spPr>
            <a:xfrm>
              <a:off x="5694363" y="4411663"/>
              <a:ext cx="107950" cy="1079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zh-CN" altLang="en-US" sz="1600" dirty="0">
                <a:latin typeface="微软雅黑" panose="020B0503020204020204" pitchFamily="34" charset="-122"/>
              </a:endParaRPr>
            </a:p>
          </p:txBody>
        </p:sp>
      </p:grpSp>
      <p:grpSp>
        <p:nvGrpSpPr>
          <p:cNvPr id="11" name="组合 10"/>
          <p:cNvGrpSpPr/>
          <p:nvPr/>
        </p:nvGrpSpPr>
        <p:grpSpPr>
          <a:xfrm>
            <a:off x="510412" y="1104997"/>
            <a:ext cx="2308266" cy="830997"/>
            <a:chOff x="660643" y="1437096"/>
            <a:chExt cx="2323475" cy="830997"/>
          </a:xfrm>
        </p:grpSpPr>
        <p:sp>
          <p:nvSpPr>
            <p:cNvPr id="12" name="矩形 11"/>
            <p:cNvSpPr/>
            <p:nvPr/>
          </p:nvSpPr>
          <p:spPr>
            <a:xfrm>
              <a:off x="660643" y="1837206"/>
              <a:ext cx="2323475" cy="430887"/>
            </a:xfrm>
            <a:prstGeom prst="rect">
              <a:avLst/>
            </a:prstGeom>
          </p:spPr>
          <p:txBody>
            <a:bodyPr wrap="square">
              <a:spAutoFit/>
            </a:bodyPr>
            <a:lstStyle/>
            <a:p>
              <a:pPr algn="ctr"/>
              <a:r>
                <a:rPr lang="en-US" altLang="zh-CN" sz="1100" dirty="0">
                  <a:solidFill>
                    <a:schemeClr val="tx1">
                      <a:lumMod val="75000"/>
                      <a:lumOff val="25000"/>
                    </a:schemeClr>
                  </a:solidFill>
                </a:rPr>
                <a:t>You can click here to enter you text. You can click here to enter you text.</a:t>
              </a:r>
              <a:r>
                <a:rPr lang="en-US" altLang="zh-CN" sz="1100" b="0" i="0" dirty="0">
                  <a:solidFill>
                    <a:schemeClr val="tx2"/>
                  </a:solidFill>
                  <a:effectLst/>
                  <a:latin typeface="Arial" panose="020B0604020202020204" pitchFamily="34" charset="0"/>
                </a:rPr>
                <a:t>. </a:t>
              </a:r>
              <a:endParaRPr lang="zh-CN" altLang="en-US" sz="1100" dirty="0">
                <a:solidFill>
                  <a:schemeClr val="tx2"/>
                </a:solidFill>
              </a:endParaRPr>
            </a:p>
          </p:txBody>
        </p:sp>
        <p:sp>
          <p:nvSpPr>
            <p:cNvPr id="13" name="文本框 15"/>
            <p:cNvSpPr txBox="1"/>
            <p:nvPr/>
          </p:nvSpPr>
          <p:spPr>
            <a:xfrm>
              <a:off x="1038163" y="1437096"/>
              <a:ext cx="1583174" cy="369332"/>
            </a:xfrm>
            <a:prstGeom prst="rect">
              <a:avLst/>
            </a:prstGeom>
            <a:noFill/>
          </p:spPr>
          <p:txBody>
            <a:bodyPr wrap="square" rtlCol="0">
              <a:spAutoFit/>
            </a:bodyPr>
            <a:lstStyle/>
            <a:p>
              <a:pPr algn="ctr"/>
              <a:r>
                <a:rPr lang="en-US" altLang="zh-CN" b="1" dirty="0">
                  <a:solidFill>
                    <a:srgbClr val="800080"/>
                  </a:solidFill>
                </a:rPr>
                <a:t>TEXT  HERE</a:t>
              </a:r>
              <a:endParaRPr lang="zh-CN" altLang="en-US" b="1" dirty="0">
                <a:solidFill>
                  <a:srgbClr val="800080"/>
                </a:solidFill>
              </a:endParaRPr>
            </a:p>
          </p:txBody>
        </p:sp>
      </p:grpSp>
      <p:grpSp>
        <p:nvGrpSpPr>
          <p:cNvPr id="14" name="组合 13"/>
          <p:cNvGrpSpPr/>
          <p:nvPr/>
        </p:nvGrpSpPr>
        <p:grpSpPr>
          <a:xfrm>
            <a:off x="1799894" y="3836927"/>
            <a:ext cx="2435997" cy="830997"/>
            <a:chOff x="660643" y="1437096"/>
            <a:chExt cx="2323475" cy="830997"/>
          </a:xfrm>
        </p:grpSpPr>
        <p:sp>
          <p:nvSpPr>
            <p:cNvPr id="15" name="矩形 14"/>
            <p:cNvSpPr/>
            <p:nvPr/>
          </p:nvSpPr>
          <p:spPr>
            <a:xfrm>
              <a:off x="660643" y="1837206"/>
              <a:ext cx="2323475" cy="430887"/>
            </a:xfrm>
            <a:prstGeom prst="rect">
              <a:avLst/>
            </a:prstGeom>
          </p:spPr>
          <p:txBody>
            <a:bodyPr wrap="square">
              <a:spAutoFit/>
            </a:bodyPr>
            <a:lstStyle/>
            <a:p>
              <a:pPr algn="ctr"/>
              <a:r>
                <a:rPr lang="en-US" altLang="zh-CN" sz="1100" dirty="0">
                  <a:solidFill>
                    <a:schemeClr val="tx1">
                      <a:lumMod val="75000"/>
                      <a:lumOff val="25000"/>
                    </a:schemeClr>
                  </a:solidFill>
                </a:rPr>
                <a:t>You can click here to enter you text. You can click here to enter you text.</a:t>
              </a:r>
              <a:endParaRPr lang="zh-CN" altLang="en-US" sz="1100" dirty="0">
                <a:solidFill>
                  <a:schemeClr val="tx2"/>
                </a:solidFill>
              </a:endParaRPr>
            </a:p>
          </p:txBody>
        </p:sp>
        <p:sp>
          <p:nvSpPr>
            <p:cNvPr id="16" name="文本框 19"/>
            <p:cNvSpPr txBox="1"/>
            <p:nvPr/>
          </p:nvSpPr>
          <p:spPr>
            <a:xfrm>
              <a:off x="1038163" y="1437096"/>
              <a:ext cx="1583174" cy="369332"/>
            </a:xfrm>
            <a:prstGeom prst="rect">
              <a:avLst/>
            </a:prstGeom>
            <a:noFill/>
          </p:spPr>
          <p:txBody>
            <a:bodyPr wrap="square" rtlCol="0">
              <a:spAutoFit/>
            </a:bodyPr>
            <a:lstStyle/>
            <a:p>
              <a:pPr algn="ctr"/>
              <a:r>
                <a:rPr lang="en-US" altLang="zh-CN" b="1" dirty="0">
                  <a:solidFill>
                    <a:srgbClr val="800080"/>
                  </a:solidFill>
                </a:rPr>
                <a:t>TEXT  HERE</a:t>
              </a:r>
              <a:endParaRPr lang="zh-CN" altLang="en-US" b="1" dirty="0">
                <a:solidFill>
                  <a:srgbClr val="800080"/>
                </a:solidFill>
              </a:endParaRPr>
            </a:p>
          </p:txBody>
        </p:sp>
      </p:grpSp>
      <p:grpSp>
        <p:nvGrpSpPr>
          <p:cNvPr id="17" name="组合 16"/>
          <p:cNvGrpSpPr/>
          <p:nvPr/>
        </p:nvGrpSpPr>
        <p:grpSpPr>
          <a:xfrm>
            <a:off x="3563888" y="1109591"/>
            <a:ext cx="2308266" cy="830997"/>
            <a:chOff x="660643" y="1437096"/>
            <a:chExt cx="2323475" cy="830997"/>
          </a:xfrm>
        </p:grpSpPr>
        <p:sp>
          <p:nvSpPr>
            <p:cNvPr id="18" name="矩形 17"/>
            <p:cNvSpPr/>
            <p:nvPr/>
          </p:nvSpPr>
          <p:spPr>
            <a:xfrm>
              <a:off x="660643" y="1837206"/>
              <a:ext cx="2323475" cy="430887"/>
            </a:xfrm>
            <a:prstGeom prst="rect">
              <a:avLst/>
            </a:prstGeom>
          </p:spPr>
          <p:txBody>
            <a:bodyPr wrap="square">
              <a:spAutoFit/>
            </a:bodyPr>
            <a:lstStyle/>
            <a:p>
              <a:pPr algn="ctr"/>
              <a:r>
                <a:rPr lang="en-US" altLang="zh-CN" sz="1100" dirty="0">
                  <a:solidFill>
                    <a:schemeClr val="tx1">
                      <a:lumMod val="75000"/>
                      <a:lumOff val="25000"/>
                    </a:schemeClr>
                  </a:solidFill>
                </a:rPr>
                <a:t>You can click here to enter you text. You can click here to enter you text.</a:t>
              </a:r>
              <a:endParaRPr lang="zh-CN" altLang="en-US" sz="1100" dirty="0">
                <a:solidFill>
                  <a:schemeClr val="tx2"/>
                </a:solidFill>
              </a:endParaRPr>
            </a:p>
          </p:txBody>
        </p:sp>
        <p:sp>
          <p:nvSpPr>
            <p:cNvPr id="19" name="文本框 22"/>
            <p:cNvSpPr txBox="1"/>
            <p:nvPr/>
          </p:nvSpPr>
          <p:spPr>
            <a:xfrm>
              <a:off x="1038163" y="1437096"/>
              <a:ext cx="1583174" cy="369332"/>
            </a:xfrm>
            <a:prstGeom prst="rect">
              <a:avLst/>
            </a:prstGeom>
            <a:noFill/>
          </p:spPr>
          <p:txBody>
            <a:bodyPr wrap="square" rtlCol="0">
              <a:spAutoFit/>
            </a:bodyPr>
            <a:lstStyle/>
            <a:p>
              <a:pPr algn="ctr"/>
              <a:r>
                <a:rPr lang="en-US" altLang="zh-CN" b="1" dirty="0">
                  <a:solidFill>
                    <a:srgbClr val="800080"/>
                  </a:solidFill>
                </a:rPr>
                <a:t>TEXT  HERE</a:t>
              </a:r>
              <a:endParaRPr lang="zh-CN" altLang="en-US" b="1" dirty="0">
                <a:solidFill>
                  <a:srgbClr val="800080"/>
                </a:solidFill>
              </a:endParaRPr>
            </a:p>
          </p:txBody>
        </p:sp>
      </p:grpSp>
      <p:grpSp>
        <p:nvGrpSpPr>
          <p:cNvPr id="20" name="组合 19"/>
          <p:cNvGrpSpPr/>
          <p:nvPr/>
        </p:nvGrpSpPr>
        <p:grpSpPr>
          <a:xfrm>
            <a:off x="5203261" y="3850471"/>
            <a:ext cx="2435997" cy="830997"/>
            <a:chOff x="660643" y="1437096"/>
            <a:chExt cx="2323475" cy="830997"/>
          </a:xfrm>
        </p:grpSpPr>
        <p:sp>
          <p:nvSpPr>
            <p:cNvPr id="21" name="矩形 20"/>
            <p:cNvSpPr/>
            <p:nvPr/>
          </p:nvSpPr>
          <p:spPr>
            <a:xfrm>
              <a:off x="660643" y="1837206"/>
              <a:ext cx="2323475" cy="430887"/>
            </a:xfrm>
            <a:prstGeom prst="rect">
              <a:avLst/>
            </a:prstGeom>
          </p:spPr>
          <p:txBody>
            <a:bodyPr wrap="square">
              <a:spAutoFit/>
            </a:bodyPr>
            <a:lstStyle/>
            <a:p>
              <a:pPr algn="ctr"/>
              <a:r>
                <a:rPr lang="en-US" altLang="zh-CN" sz="1100" dirty="0">
                  <a:solidFill>
                    <a:schemeClr val="tx1">
                      <a:lumMod val="75000"/>
                      <a:lumOff val="25000"/>
                    </a:schemeClr>
                  </a:solidFill>
                </a:rPr>
                <a:t>You can click here to enter you text. You can click here to enter you text.</a:t>
              </a:r>
              <a:endParaRPr lang="zh-CN" altLang="en-US" sz="1100" dirty="0">
                <a:solidFill>
                  <a:schemeClr val="tx2"/>
                </a:solidFill>
              </a:endParaRPr>
            </a:p>
          </p:txBody>
        </p:sp>
        <p:sp>
          <p:nvSpPr>
            <p:cNvPr id="22" name="文本框 25"/>
            <p:cNvSpPr txBox="1"/>
            <p:nvPr/>
          </p:nvSpPr>
          <p:spPr>
            <a:xfrm>
              <a:off x="1038163" y="1437096"/>
              <a:ext cx="1583174" cy="369332"/>
            </a:xfrm>
            <a:prstGeom prst="rect">
              <a:avLst/>
            </a:prstGeom>
            <a:noFill/>
          </p:spPr>
          <p:txBody>
            <a:bodyPr wrap="square" rtlCol="0">
              <a:spAutoFit/>
            </a:bodyPr>
            <a:lstStyle/>
            <a:p>
              <a:pPr algn="ctr"/>
              <a:r>
                <a:rPr lang="en-US" altLang="zh-CN" b="1" dirty="0">
                  <a:solidFill>
                    <a:srgbClr val="800080"/>
                  </a:solidFill>
                </a:rPr>
                <a:t>TEXT  HERE</a:t>
              </a:r>
              <a:endParaRPr lang="zh-CN" altLang="en-US" b="1" dirty="0">
                <a:solidFill>
                  <a:srgbClr val="800080"/>
                </a:solidFill>
              </a:endParaRPr>
            </a:p>
          </p:txBody>
        </p:sp>
      </p:grpSp>
      <p:pic>
        <p:nvPicPr>
          <p:cNvPr id="27"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6766" t="19203" r="18133" b="48780"/>
          <a:stretch>
            <a:fillRect/>
          </a:stretch>
        </p:blipFill>
        <p:spPr bwMode="auto">
          <a:xfrm rot="13437075">
            <a:off x="7089134" y="273337"/>
            <a:ext cx="419513" cy="419513"/>
          </a:xfrm>
          <a:prstGeom prst="rtTriangle">
            <a:avLst/>
          </a:prstGeom>
          <a:noFill/>
          <a:extLst>
            <a:ext uri="{909E8E84-426E-40DD-AFC4-6F175D3DCCD1}">
              <a14:hiddenFill xmlns:a14="http://schemas.microsoft.com/office/drawing/2010/main">
                <a:solidFill>
                  <a:srgbClr val="FFFFFF"/>
                </a:solidFill>
              </a14:hiddenFill>
            </a:ext>
          </a:extLst>
        </p:spPr>
      </p:pic>
      <p:pic>
        <p:nvPicPr>
          <p:cNvPr id="28"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6766" t="19203" r="18133" b="48780"/>
          <a:stretch>
            <a:fillRect/>
          </a:stretch>
        </p:blipFill>
        <p:spPr bwMode="auto">
          <a:xfrm rot="8162925" flipV="1">
            <a:off x="7961175" y="631640"/>
            <a:ext cx="298277" cy="298277"/>
          </a:xfrm>
          <a:prstGeom prst="rtTriangle">
            <a:avLst/>
          </a:prstGeom>
          <a:noFill/>
          <a:extLst>
            <a:ext uri="{909E8E84-426E-40DD-AFC4-6F175D3DCCD1}">
              <a14:hiddenFill xmlns:a14="http://schemas.microsoft.com/office/drawing/2010/main">
                <a:solidFill>
                  <a:srgbClr val="FFFFFF"/>
                </a:solidFill>
              </a14:hiddenFill>
            </a:ext>
          </a:extLst>
        </p:spPr>
      </p:pic>
      <p:sp>
        <p:nvSpPr>
          <p:cNvPr id="29" name="等腰三角形 28"/>
          <p:cNvSpPr/>
          <p:nvPr/>
        </p:nvSpPr>
        <p:spPr>
          <a:xfrm rot="5400000" flipH="1">
            <a:off x="7712531" y="178410"/>
            <a:ext cx="407078" cy="202288"/>
          </a:xfrm>
          <a:prstGeom prst="triangle">
            <a:avLst/>
          </a:prstGeom>
          <a:noFill/>
          <a:ln w="1905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0" name="Picture 2" descr="I:\PPT素材\图片素材\百张low poly 高清背景图\6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6766" t="19203" r="18133" b="48780"/>
          <a:stretch>
            <a:fillRect/>
          </a:stretch>
        </p:blipFill>
        <p:spPr bwMode="auto">
          <a:xfrm rot="8162925" flipV="1">
            <a:off x="8353185" y="317563"/>
            <a:ext cx="154563" cy="154563"/>
          </a:xfrm>
          <a:prstGeom prst="rtTriangle">
            <a:avLst/>
          </a:prstGeom>
          <a:noFill/>
          <a:extLst>
            <a:ext uri="{909E8E84-426E-40DD-AFC4-6F175D3DCCD1}">
              <a14:hiddenFill xmlns:a14="http://schemas.microsoft.com/office/drawing/2010/main">
                <a:solidFill>
                  <a:srgbClr val="FFFFFF"/>
                </a:solidFill>
              </a14:hiddenFill>
            </a:ext>
          </a:extLst>
        </p:spPr>
      </p:pic>
      <p:sp>
        <p:nvSpPr>
          <p:cNvPr id="31" name="等腰三角形 30"/>
          <p:cNvSpPr/>
          <p:nvPr/>
        </p:nvSpPr>
        <p:spPr>
          <a:xfrm rot="5400000" flipH="1">
            <a:off x="8726402" y="179874"/>
            <a:ext cx="203539" cy="101144"/>
          </a:xfrm>
          <a:prstGeom prst="triangle">
            <a:avLst/>
          </a:prstGeom>
          <a:noFill/>
          <a:ln w="1905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 name="Picture 2" descr="I:\PPT素材\图片素材\百张low poly 高清背景图\6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6766" t="19203" r="18133" b="48780"/>
          <a:stretch>
            <a:fillRect/>
          </a:stretch>
        </p:blipFill>
        <p:spPr bwMode="auto">
          <a:xfrm rot="8162925" flipV="1">
            <a:off x="8645465" y="622434"/>
            <a:ext cx="110251" cy="110251"/>
          </a:xfrm>
          <a:prstGeom prst="rtTriangle">
            <a:avLst/>
          </a:prstGeom>
          <a:noFill/>
          <a:extLst>
            <a:ext uri="{909E8E84-426E-40DD-AFC4-6F175D3DCCD1}">
              <a14:hiddenFill xmlns:a14="http://schemas.microsoft.com/office/drawing/2010/main">
                <a:solidFill>
                  <a:srgbClr val="FFFFFF"/>
                </a:solidFill>
              </a14:hiddenFill>
            </a:ext>
          </a:extLst>
        </p:spPr>
      </p:pic>
      <p:sp>
        <p:nvSpPr>
          <p:cNvPr id="33" name="TextBox 32"/>
          <p:cNvSpPr txBox="1"/>
          <p:nvPr/>
        </p:nvSpPr>
        <p:spPr>
          <a:xfrm>
            <a:off x="683568" y="123478"/>
            <a:ext cx="268535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en-US" altLang="zh-CN" dirty="0"/>
              <a:t>ADD YOUR TEXT</a:t>
            </a:r>
            <a:endParaRPr lang="zh-CN" altLang="en-US" dirty="0"/>
          </a:p>
        </p:txBody>
      </p:sp>
    </p:spTree>
  </p:cSld>
  <p:clrMapOvr>
    <a:masterClrMapping/>
  </p:clrMapOvr>
  <p:transition spd="slow">
    <p:pull/>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组合 22"/>
          <p:cNvGrpSpPr/>
          <p:nvPr/>
        </p:nvGrpSpPr>
        <p:grpSpPr>
          <a:xfrm>
            <a:off x="6652496" y="2715768"/>
            <a:ext cx="2491504" cy="2447395"/>
            <a:chOff x="4600776" y="4443960"/>
            <a:chExt cx="1150073" cy="719203"/>
          </a:xfrm>
        </p:grpSpPr>
        <p:sp>
          <p:nvSpPr>
            <p:cNvPr id="16" name="等腰三角形 15"/>
            <p:cNvSpPr/>
            <p:nvPr/>
          </p:nvSpPr>
          <p:spPr>
            <a:xfrm rot="10800000" flipH="1" flipV="1">
              <a:off x="5175338" y="4443960"/>
              <a:ext cx="575511" cy="719203"/>
            </a:xfrm>
            <a:prstGeom prst="triangle">
              <a:avLst>
                <a:gd name="adj" fmla="val 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 name="等腰三角形 16"/>
            <p:cNvSpPr/>
            <p:nvPr/>
          </p:nvSpPr>
          <p:spPr>
            <a:xfrm rot="10800000" flipH="1" flipV="1">
              <a:off x="4600776" y="4443960"/>
              <a:ext cx="575511" cy="719203"/>
            </a:xfrm>
            <a:prstGeom prst="triangle">
              <a:avLst>
                <a:gd name="adj" fmla="val 100000"/>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99" name="组合 98"/>
          <p:cNvGrpSpPr/>
          <p:nvPr/>
        </p:nvGrpSpPr>
        <p:grpSpPr>
          <a:xfrm rot="3698158">
            <a:off x="395908" y="2968456"/>
            <a:ext cx="1538506" cy="874133"/>
            <a:chOff x="4877674" y="1491629"/>
            <a:chExt cx="1430640" cy="989767"/>
          </a:xfrm>
        </p:grpSpPr>
        <p:sp>
          <p:nvSpPr>
            <p:cNvPr id="96" name="等腰三角形 95"/>
            <p:cNvSpPr/>
            <p:nvPr/>
          </p:nvSpPr>
          <p:spPr>
            <a:xfrm>
              <a:off x="4877674" y="1491629"/>
              <a:ext cx="1422518" cy="494883"/>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等腰三角形 97"/>
            <p:cNvSpPr/>
            <p:nvPr/>
          </p:nvSpPr>
          <p:spPr>
            <a:xfrm flipV="1">
              <a:off x="4885796" y="1986513"/>
              <a:ext cx="1422518" cy="494883"/>
            </a:xfrm>
            <a:prstGeom prst="triangle">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6" name="组合 25"/>
          <p:cNvGrpSpPr/>
          <p:nvPr/>
        </p:nvGrpSpPr>
        <p:grpSpPr>
          <a:xfrm>
            <a:off x="1475656" y="4155926"/>
            <a:ext cx="2147427" cy="1007240"/>
            <a:chOff x="1142447" y="4443963"/>
            <a:chExt cx="1139315" cy="719203"/>
          </a:xfrm>
        </p:grpSpPr>
        <p:sp>
          <p:nvSpPr>
            <p:cNvPr id="7" name="等腰三角形 6"/>
            <p:cNvSpPr/>
            <p:nvPr userDrawn="1"/>
          </p:nvSpPr>
          <p:spPr>
            <a:xfrm rot="10800000" flipV="1">
              <a:off x="1142447" y="4443963"/>
              <a:ext cx="575511" cy="719203"/>
            </a:xfrm>
            <a:prstGeom prst="triangle">
              <a:avLst>
                <a:gd name="adj" fmla="val 0"/>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8" name="等腰三角形 7"/>
            <p:cNvSpPr/>
            <p:nvPr userDrawn="1"/>
          </p:nvSpPr>
          <p:spPr>
            <a:xfrm rot="10800000" flipV="1">
              <a:off x="1706251" y="4443963"/>
              <a:ext cx="575511" cy="719203"/>
            </a:xfrm>
            <a:prstGeom prst="triangle">
              <a:avLst>
                <a:gd name="adj" fmla="val 100000"/>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5" name="组合 24"/>
          <p:cNvGrpSpPr/>
          <p:nvPr/>
        </p:nvGrpSpPr>
        <p:grpSpPr>
          <a:xfrm>
            <a:off x="3203849" y="4443963"/>
            <a:ext cx="1500328" cy="719203"/>
            <a:chOff x="2287615" y="4443963"/>
            <a:chExt cx="1139315" cy="719203"/>
          </a:xfrm>
        </p:grpSpPr>
        <p:sp>
          <p:nvSpPr>
            <p:cNvPr id="9" name="等腰三角形 8"/>
            <p:cNvSpPr/>
            <p:nvPr userDrawn="1"/>
          </p:nvSpPr>
          <p:spPr>
            <a:xfrm rot="10800000" flipV="1">
              <a:off x="2287615" y="4443963"/>
              <a:ext cx="575511" cy="719203"/>
            </a:xfrm>
            <a:prstGeom prst="triangle">
              <a:avLst>
                <a:gd name="adj" fmla="val 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0" name="等腰三角形 9"/>
            <p:cNvSpPr/>
            <p:nvPr userDrawn="1"/>
          </p:nvSpPr>
          <p:spPr>
            <a:xfrm rot="10800000" flipV="1">
              <a:off x="2851419" y="4443963"/>
              <a:ext cx="575511" cy="719203"/>
            </a:xfrm>
            <a:prstGeom prst="triangle">
              <a:avLst>
                <a:gd name="adj" fmla="val 100000"/>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7" name="组合 26"/>
          <p:cNvGrpSpPr/>
          <p:nvPr/>
        </p:nvGrpSpPr>
        <p:grpSpPr>
          <a:xfrm>
            <a:off x="-7028" y="4551533"/>
            <a:ext cx="1482684" cy="611633"/>
            <a:chOff x="-7028" y="4443963"/>
            <a:chExt cx="1149474" cy="719203"/>
          </a:xfrm>
        </p:grpSpPr>
        <p:sp>
          <p:nvSpPr>
            <p:cNvPr id="11" name="等腰三角形 10"/>
            <p:cNvSpPr/>
            <p:nvPr userDrawn="1"/>
          </p:nvSpPr>
          <p:spPr>
            <a:xfrm rot="10800000" flipV="1">
              <a:off x="566935" y="4443963"/>
              <a:ext cx="575511" cy="719203"/>
            </a:xfrm>
            <a:prstGeom prst="triangle">
              <a:avLst>
                <a:gd name="adj" fmla="val 100000"/>
              </a:avLst>
            </a:prstGeom>
            <a:solidFill>
              <a:srgbClr val="FFFFFF">
                <a:alpha val="5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 name="等腰三角形 11"/>
            <p:cNvSpPr/>
            <p:nvPr userDrawn="1"/>
          </p:nvSpPr>
          <p:spPr>
            <a:xfrm rot="10800000" flipV="1">
              <a:off x="-7028" y="4443963"/>
              <a:ext cx="575511" cy="719203"/>
            </a:xfrm>
            <a:prstGeom prst="triangle">
              <a:avLst>
                <a:gd name="adj" fmla="val 0"/>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4" name="组合 23"/>
          <p:cNvGrpSpPr/>
          <p:nvPr/>
        </p:nvGrpSpPr>
        <p:grpSpPr>
          <a:xfrm>
            <a:off x="4366862" y="3723878"/>
            <a:ext cx="2797426" cy="1439288"/>
            <a:chOff x="3442385" y="4443960"/>
            <a:chExt cx="1148407" cy="719206"/>
          </a:xfrm>
        </p:grpSpPr>
        <p:sp>
          <p:nvSpPr>
            <p:cNvPr id="22" name="等腰三角形 21"/>
            <p:cNvSpPr/>
            <p:nvPr/>
          </p:nvSpPr>
          <p:spPr>
            <a:xfrm rot="10800000" flipH="1" flipV="1">
              <a:off x="4015281" y="4443960"/>
              <a:ext cx="575511" cy="719203"/>
            </a:xfrm>
            <a:prstGeom prst="triangle">
              <a:avLst>
                <a:gd name="adj" fmla="val 0"/>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 name="等腰三角形 12"/>
            <p:cNvSpPr/>
            <p:nvPr userDrawn="1"/>
          </p:nvSpPr>
          <p:spPr>
            <a:xfrm rot="10800000" flipV="1">
              <a:off x="3442385" y="4443963"/>
              <a:ext cx="575511" cy="719203"/>
            </a:xfrm>
            <a:prstGeom prst="triangle">
              <a:avLst>
                <a:gd name="adj" fmla="val 0"/>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103" name="组合 102"/>
          <p:cNvGrpSpPr/>
          <p:nvPr/>
        </p:nvGrpSpPr>
        <p:grpSpPr>
          <a:xfrm rot="3698158">
            <a:off x="8312418" y="1491095"/>
            <a:ext cx="336202" cy="874133"/>
            <a:chOff x="4877674" y="1491629"/>
            <a:chExt cx="1430640" cy="989767"/>
          </a:xfrm>
        </p:grpSpPr>
        <p:sp>
          <p:nvSpPr>
            <p:cNvPr id="104" name="等腰三角形 103"/>
            <p:cNvSpPr/>
            <p:nvPr/>
          </p:nvSpPr>
          <p:spPr>
            <a:xfrm>
              <a:off x="4877674" y="1491629"/>
              <a:ext cx="1422518" cy="494883"/>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等腰三角形 104"/>
            <p:cNvSpPr/>
            <p:nvPr/>
          </p:nvSpPr>
          <p:spPr>
            <a:xfrm flipV="1">
              <a:off x="4885796" y="1986513"/>
              <a:ext cx="1422518" cy="494883"/>
            </a:xfrm>
            <a:prstGeom prst="triangle">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1" name="组合 50"/>
          <p:cNvGrpSpPr/>
          <p:nvPr/>
        </p:nvGrpSpPr>
        <p:grpSpPr>
          <a:xfrm rot="5982112">
            <a:off x="1007474" y="295098"/>
            <a:ext cx="509513" cy="470721"/>
            <a:chOff x="4877674" y="1491629"/>
            <a:chExt cx="1430640" cy="989767"/>
          </a:xfrm>
        </p:grpSpPr>
        <p:sp>
          <p:nvSpPr>
            <p:cNvPr id="52" name="等腰三角形 51"/>
            <p:cNvSpPr/>
            <p:nvPr/>
          </p:nvSpPr>
          <p:spPr>
            <a:xfrm>
              <a:off x="4877674" y="1491629"/>
              <a:ext cx="1422518" cy="494883"/>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等腰三角形 52"/>
            <p:cNvSpPr/>
            <p:nvPr/>
          </p:nvSpPr>
          <p:spPr>
            <a:xfrm flipV="1">
              <a:off x="4885796" y="1986513"/>
              <a:ext cx="1422518" cy="494883"/>
            </a:xfrm>
            <a:prstGeom prst="triangle">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矩形 14"/>
          <p:cNvSpPr/>
          <p:nvPr/>
        </p:nvSpPr>
        <p:spPr>
          <a:xfrm>
            <a:off x="1639681" y="1515622"/>
            <a:ext cx="5956655" cy="91440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4000" b="1" dirty="0">
                <a:gradFill flip="none" rotWithShape="1">
                  <a:gsLst>
                    <a:gs pos="417">
                      <a:srgbClr val="00B0F0"/>
                    </a:gs>
                    <a:gs pos="99167">
                      <a:srgbClr val="FFFF00"/>
                    </a:gs>
                    <a:gs pos="37000">
                      <a:srgbClr val="71158D"/>
                    </a:gs>
                    <a:gs pos="64000">
                      <a:srgbClr val="800080"/>
                    </a:gs>
                  </a:gsLst>
                  <a:lin ang="0" scaled="1"/>
                  <a:tileRect/>
                </a:gradFill>
              </a:rPr>
              <a:t>THANKYOU!</a:t>
            </a:r>
            <a:endParaRPr lang="zh-CN" altLang="en-US" sz="4000" b="1" dirty="0">
              <a:gradFill flip="none" rotWithShape="1">
                <a:gsLst>
                  <a:gs pos="417">
                    <a:srgbClr val="00B0F0"/>
                  </a:gs>
                  <a:gs pos="99167">
                    <a:srgbClr val="FFFF00"/>
                  </a:gs>
                  <a:gs pos="37000">
                    <a:srgbClr val="71158D"/>
                  </a:gs>
                  <a:gs pos="64000">
                    <a:srgbClr val="800080"/>
                  </a:gs>
                </a:gsLst>
                <a:lin ang="0" scaled="1"/>
                <a:tileRect/>
              </a:gradFill>
            </a:endParaRPr>
          </a:p>
        </p:txBody>
      </p:sp>
      <p:grpSp>
        <p:nvGrpSpPr>
          <p:cNvPr id="2" name="组合 1"/>
          <p:cNvGrpSpPr/>
          <p:nvPr/>
        </p:nvGrpSpPr>
        <p:grpSpPr>
          <a:xfrm>
            <a:off x="7204892" y="2309998"/>
            <a:ext cx="519515" cy="457509"/>
            <a:chOff x="7004888" y="2091225"/>
            <a:chExt cx="519515" cy="457509"/>
          </a:xfrm>
        </p:grpSpPr>
        <p:sp>
          <p:nvSpPr>
            <p:cNvPr id="106" name="等腰三角形 105"/>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 name="等腰三角形 106"/>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 name="等腰三角形 111"/>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等腰三角形 49"/>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 name="组合 2"/>
          <p:cNvGrpSpPr/>
          <p:nvPr/>
        </p:nvGrpSpPr>
        <p:grpSpPr>
          <a:xfrm>
            <a:off x="1406632" y="1329379"/>
            <a:ext cx="626010" cy="372486"/>
            <a:chOff x="1591298" y="1101529"/>
            <a:chExt cx="626010" cy="372486"/>
          </a:xfrm>
        </p:grpSpPr>
        <p:sp>
          <p:nvSpPr>
            <p:cNvPr id="113" name="等腰三角形 112"/>
            <p:cNvSpPr/>
            <p:nvPr/>
          </p:nvSpPr>
          <p:spPr>
            <a:xfrm rot="170492" flipH="1">
              <a:off x="1818750" y="1305219"/>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等腰三角形 113"/>
            <p:cNvSpPr/>
            <p:nvPr/>
          </p:nvSpPr>
          <p:spPr>
            <a:xfrm rot="12111361" flipH="1" flipV="1">
              <a:off x="1869098" y="1173336"/>
              <a:ext cx="92219" cy="103997"/>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5" name="等腰三角形 114"/>
            <p:cNvSpPr/>
            <p:nvPr/>
          </p:nvSpPr>
          <p:spPr>
            <a:xfrm rot="12111361" flipH="1">
              <a:off x="1591298" y="1365333"/>
              <a:ext cx="199279" cy="84398"/>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 name="等腰三角形 115"/>
            <p:cNvSpPr/>
            <p:nvPr/>
          </p:nvSpPr>
          <p:spPr>
            <a:xfrm rot="12111361" flipH="1">
              <a:off x="1664941" y="1101529"/>
              <a:ext cx="118605" cy="116758"/>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8" name="矩形 37"/>
          <p:cNvSpPr/>
          <p:nvPr/>
        </p:nvSpPr>
        <p:spPr>
          <a:xfrm>
            <a:off x="3273732" y="2765172"/>
            <a:ext cx="3003520" cy="301638"/>
          </a:xfrm>
          <a:prstGeom prst="rect">
            <a:avLst/>
          </a:prstGeom>
          <a:solidFill>
            <a:srgbClr val="CC009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dirty="0">
                <a:solidFill>
                  <a:schemeClr val="bg1"/>
                </a:solidFill>
              </a:rPr>
              <a:t>模板大全</a:t>
            </a:r>
            <a:r>
              <a:rPr lang="en-US" altLang="zh-CN" sz="2000" dirty="0">
                <a:solidFill>
                  <a:schemeClr val="bg1"/>
                </a:solidFill>
              </a:rPr>
              <a:t> 2020-202X</a:t>
            </a:r>
            <a:endParaRPr lang="zh-CN" altLang="en-US" sz="2000" dirty="0">
              <a:solidFill>
                <a:schemeClr val="bg1"/>
              </a:solidFill>
            </a:endParaRPr>
          </a:p>
        </p:txBody>
      </p:sp>
    </p:spTree>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1"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25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childTnLst>
                                </p:cTn>
                              </p:par>
                            </p:childTnLst>
                          </p:cTn>
                        </p:par>
                        <p:par>
                          <p:cTn id="15" fill="hold">
                            <p:stCondLst>
                              <p:cond delay="250"/>
                            </p:stCondLst>
                            <p:childTnLst>
                              <p:par>
                                <p:cTn id="16" presetID="2" presetClass="entr" presetSubtype="4" fill="hold" grpId="1" nodeType="afterEffect">
                                  <p:stCondLst>
                                    <p:cond delay="0"/>
                                  </p:stCondLst>
                                  <p:childTnLst>
                                    <p:set>
                                      <p:cBhvr>
                                        <p:cTn id="17" dur="1" fill="hold">
                                          <p:stCondLst>
                                            <p:cond delay="0"/>
                                          </p:stCondLst>
                                        </p:cTn>
                                        <p:tgtEl>
                                          <p:spTgt spid="38"/>
                                        </p:tgtEl>
                                        <p:attrNameLst>
                                          <p:attrName>style.visibility</p:attrName>
                                        </p:attrNameLst>
                                      </p:cBhvr>
                                      <p:to>
                                        <p:strVal val="visible"/>
                                      </p:to>
                                    </p:set>
                                    <p:anim calcmode="lin" valueType="num">
                                      <p:cBhvr additive="base">
                                        <p:cTn id="18" dur="500" fill="hold"/>
                                        <p:tgtEl>
                                          <p:spTgt spid="38"/>
                                        </p:tgtEl>
                                        <p:attrNameLst>
                                          <p:attrName>ppt_x</p:attrName>
                                        </p:attrNameLst>
                                      </p:cBhvr>
                                      <p:tavLst>
                                        <p:tav tm="0">
                                          <p:val>
                                            <p:strVal val="#ppt_x"/>
                                          </p:val>
                                        </p:tav>
                                        <p:tav tm="100000">
                                          <p:val>
                                            <p:strVal val="#ppt_x"/>
                                          </p:val>
                                        </p:tav>
                                      </p:tavLst>
                                    </p:anim>
                                    <p:anim calcmode="lin" valueType="num">
                                      <p:cBhvr additive="base">
                                        <p:cTn id="19" dur="500" fill="hold"/>
                                        <p:tgtEl>
                                          <p:spTgt spid="3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1" animBg="1"/>
      <p:bldP spid="38"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5967" b="-308"/>
          <a:stretch>
            <a:fillRect/>
          </a:stretch>
        </p:blipFill>
        <p:spPr bwMode="auto">
          <a:xfrm>
            <a:off x="3119729" y="1218518"/>
            <a:ext cx="2808312" cy="2355007"/>
          </a:xfrm>
          <a:prstGeom prst="triangle">
            <a:avLst/>
          </a:prstGeom>
          <a:noFill/>
          <a:extLst>
            <a:ext uri="{909E8E84-426E-40DD-AFC4-6F175D3DCCD1}">
              <a14:hiddenFill xmlns:a14="http://schemas.microsoft.com/office/drawing/2010/main">
                <a:solidFill>
                  <a:srgbClr val="FFFFFF"/>
                </a:solidFill>
              </a14:hiddenFill>
            </a:ext>
          </a:extLst>
        </p:spPr>
      </p:pic>
      <p:sp>
        <p:nvSpPr>
          <p:cNvPr id="58" name="等腰三角形 57"/>
          <p:cNvSpPr/>
          <p:nvPr/>
        </p:nvSpPr>
        <p:spPr>
          <a:xfrm>
            <a:off x="2880462" y="858478"/>
            <a:ext cx="3286845" cy="2833487"/>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TextBox 58"/>
          <p:cNvSpPr txBox="1"/>
          <p:nvPr/>
        </p:nvSpPr>
        <p:spPr>
          <a:xfrm>
            <a:off x="4006660" y="2010606"/>
            <a:ext cx="1034450" cy="1323439"/>
          </a:xfrm>
          <a:prstGeom prst="rect">
            <a:avLst/>
          </a:prstGeom>
          <a:noFill/>
        </p:spPr>
        <p:txBody>
          <a:bodyPr wrap="none" rtlCol="0">
            <a:spAutoFit/>
          </a:bodyPr>
          <a:lstStyle/>
          <a:p>
            <a:pPr algn="ctr"/>
            <a:r>
              <a:rPr lang="en-US" altLang="zh-CN" sz="4000" dirty="0">
                <a:solidFill>
                  <a:schemeClr val="bg1"/>
                </a:solidFill>
              </a:rPr>
              <a:t>Part</a:t>
            </a:r>
          </a:p>
          <a:p>
            <a:pPr algn="ctr"/>
            <a:r>
              <a:rPr lang="en-US" altLang="zh-CN" sz="4000" b="1" dirty="0">
                <a:solidFill>
                  <a:schemeClr val="bg1"/>
                </a:solidFill>
              </a:rPr>
              <a:t>01</a:t>
            </a:r>
            <a:endParaRPr lang="zh-CN" altLang="en-US" sz="4000" b="1" dirty="0">
              <a:solidFill>
                <a:schemeClr val="bg1"/>
              </a:solidFill>
            </a:endParaRPr>
          </a:p>
        </p:txBody>
      </p:sp>
      <p:sp>
        <p:nvSpPr>
          <p:cNvPr id="62" name="TextBox 61"/>
          <p:cNvSpPr txBox="1"/>
          <p:nvPr/>
        </p:nvSpPr>
        <p:spPr>
          <a:xfrm>
            <a:off x="2709083" y="3667362"/>
            <a:ext cx="3699987" cy="707886"/>
          </a:xfrm>
          <a:prstGeom prst="rect">
            <a:avLst/>
          </a:prstGeom>
          <a:noFill/>
        </p:spPr>
        <p:txBody>
          <a:bodyPr wrap="none" rtlCol="0">
            <a:spAutoFit/>
          </a:bodyPr>
          <a:lstStyle/>
          <a:p>
            <a:pPr algn="ctr"/>
            <a:r>
              <a:rPr lang="en-US" altLang="zh-CN" sz="4000" b="1" dirty="0">
                <a:gradFill flip="none" rotWithShape="1">
                  <a:gsLst>
                    <a:gs pos="417">
                      <a:srgbClr val="00B0F0"/>
                    </a:gs>
                    <a:gs pos="99167">
                      <a:srgbClr val="FFFF00"/>
                    </a:gs>
                    <a:gs pos="37000">
                      <a:srgbClr val="71158D"/>
                    </a:gs>
                    <a:gs pos="64000">
                      <a:srgbClr val="800080"/>
                    </a:gs>
                  </a:gsLst>
                  <a:lin ang="0" scaled="1"/>
                  <a:tileRect/>
                </a:gradFill>
              </a:rPr>
              <a:t>ADD YOUR TITLE</a:t>
            </a:r>
            <a:endParaRPr lang="zh-CN" altLang="en-US" sz="4000" b="1" dirty="0">
              <a:gradFill flip="none" rotWithShape="1">
                <a:gsLst>
                  <a:gs pos="417">
                    <a:srgbClr val="00B0F0"/>
                  </a:gs>
                  <a:gs pos="99167">
                    <a:srgbClr val="FFFF00"/>
                  </a:gs>
                  <a:gs pos="37000">
                    <a:srgbClr val="71158D"/>
                  </a:gs>
                  <a:gs pos="64000">
                    <a:srgbClr val="800080"/>
                  </a:gs>
                </a:gsLst>
                <a:lin ang="0" scaled="1"/>
                <a:tileRect/>
              </a:gradFill>
            </a:endParaRPr>
          </a:p>
        </p:txBody>
      </p:sp>
      <p:grpSp>
        <p:nvGrpSpPr>
          <p:cNvPr id="63" name="组合 62"/>
          <p:cNvGrpSpPr/>
          <p:nvPr/>
        </p:nvGrpSpPr>
        <p:grpSpPr>
          <a:xfrm>
            <a:off x="6187103" y="3363301"/>
            <a:ext cx="519515" cy="457509"/>
            <a:chOff x="7004888" y="2091225"/>
            <a:chExt cx="519515" cy="457509"/>
          </a:xfrm>
        </p:grpSpPr>
        <p:sp>
          <p:nvSpPr>
            <p:cNvPr id="64" name="等腰三角形 6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等腰三角形 64"/>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等腰三角形 65"/>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等腰三角形 6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3" name="组合 72"/>
          <p:cNvGrpSpPr/>
          <p:nvPr/>
        </p:nvGrpSpPr>
        <p:grpSpPr>
          <a:xfrm flipH="1">
            <a:off x="2350714" y="3363301"/>
            <a:ext cx="519515" cy="457509"/>
            <a:chOff x="7004888" y="2091225"/>
            <a:chExt cx="519515" cy="457509"/>
          </a:xfrm>
        </p:grpSpPr>
        <p:sp>
          <p:nvSpPr>
            <p:cNvPr id="74" name="等腰三角形 7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等腰三角形 74"/>
            <p:cNvSpPr/>
            <p:nvPr/>
          </p:nvSpPr>
          <p:spPr>
            <a:xfrm rot="8122854" flipH="1">
              <a:off x="7303361" y="209122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等腰三角形 75"/>
            <p:cNvSpPr/>
            <p:nvPr/>
          </p:nvSpPr>
          <p:spPr>
            <a:xfrm rot="8122854" flipH="1">
              <a:off x="7004888" y="209661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等腰三角形 7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p:cTn id="7" dur="500" fill="hold"/>
                                        <p:tgtEl>
                                          <p:spTgt spid="57"/>
                                        </p:tgtEl>
                                        <p:attrNameLst>
                                          <p:attrName>ppt_w</p:attrName>
                                        </p:attrNameLst>
                                      </p:cBhvr>
                                      <p:tavLst>
                                        <p:tav tm="0">
                                          <p:val>
                                            <p:fltVal val="0"/>
                                          </p:val>
                                        </p:tav>
                                        <p:tav tm="100000">
                                          <p:val>
                                            <p:strVal val="#ppt_w"/>
                                          </p:val>
                                        </p:tav>
                                      </p:tavLst>
                                    </p:anim>
                                    <p:anim calcmode="lin" valueType="num">
                                      <p:cBhvr>
                                        <p:cTn id="8" dur="500" fill="hold"/>
                                        <p:tgtEl>
                                          <p:spTgt spid="57"/>
                                        </p:tgtEl>
                                        <p:attrNameLst>
                                          <p:attrName>ppt_h</p:attrName>
                                        </p:attrNameLst>
                                      </p:cBhvr>
                                      <p:tavLst>
                                        <p:tav tm="0">
                                          <p:val>
                                            <p:fltVal val="0"/>
                                          </p:val>
                                        </p:tav>
                                        <p:tav tm="100000">
                                          <p:val>
                                            <p:strVal val="#ppt_h"/>
                                          </p:val>
                                        </p:tav>
                                      </p:tavLst>
                                    </p:anim>
                                    <p:animEffect transition="in" filter="fade">
                                      <p:cBhvr>
                                        <p:cTn id="9" dur="500"/>
                                        <p:tgtEl>
                                          <p:spTgt spid="57"/>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58"/>
                                        </p:tgtEl>
                                        <p:attrNameLst>
                                          <p:attrName>style.visibility</p:attrName>
                                        </p:attrNameLst>
                                      </p:cBhvr>
                                      <p:to>
                                        <p:strVal val="visible"/>
                                      </p:to>
                                    </p:set>
                                    <p:anim calcmode="lin" valueType="num">
                                      <p:cBhvr>
                                        <p:cTn id="12" dur="500" fill="hold"/>
                                        <p:tgtEl>
                                          <p:spTgt spid="58"/>
                                        </p:tgtEl>
                                        <p:attrNameLst>
                                          <p:attrName>ppt_w</p:attrName>
                                        </p:attrNameLst>
                                      </p:cBhvr>
                                      <p:tavLst>
                                        <p:tav tm="0">
                                          <p:val>
                                            <p:fltVal val="0"/>
                                          </p:val>
                                        </p:tav>
                                        <p:tav tm="100000">
                                          <p:val>
                                            <p:strVal val="#ppt_w"/>
                                          </p:val>
                                        </p:tav>
                                      </p:tavLst>
                                    </p:anim>
                                    <p:anim calcmode="lin" valueType="num">
                                      <p:cBhvr>
                                        <p:cTn id="13" dur="500" fill="hold"/>
                                        <p:tgtEl>
                                          <p:spTgt spid="58"/>
                                        </p:tgtEl>
                                        <p:attrNameLst>
                                          <p:attrName>ppt_h</p:attrName>
                                        </p:attrNameLst>
                                      </p:cBhvr>
                                      <p:tavLst>
                                        <p:tav tm="0">
                                          <p:val>
                                            <p:fltVal val="0"/>
                                          </p:val>
                                        </p:tav>
                                        <p:tav tm="100000">
                                          <p:val>
                                            <p:strVal val="#ppt_h"/>
                                          </p:val>
                                        </p:tav>
                                      </p:tavLst>
                                    </p:anim>
                                    <p:animEffect transition="in" filter="fade">
                                      <p:cBhvr>
                                        <p:cTn id="14" dur="500"/>
                                        <p:tgtEl>
                                          <p:spTgt spid="58"/>
                                        </p:tgtEl>
                                      </p:cBhvr>
                                    </p:animEffec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59"/>
                                        </p:tgtEl>
                                        <p:attrNameLst>
                                          <p:attrName>style.visibility</p:attrName>
                                        </p:attrNameLst>
                                      </p:cBhvr>
                                      <p:to>
                                        <p:strVal val="visible"/>
                                      </p:to>
                                    </p:set>
                                    <p:animEffect transition="in" filter="fade">
                                      <p:cBhvr>
                                        <p:cTn id="18" dur="500"/>
                                        <p:tgtEl>
                                          <p:spTgt spid="59"/>
                                        </p:tgtEl>
                                      </p:cBhvr>
                                    </p:animEffect>
                                  </p:childTnLst>
                                </p:cTn>
                              </p:par>
                            </p:childTnLst>
                          </p:cTn>
                        </p:par>
                        <p:par>
                          <p:cTn id="19" fill="hold">
                            <p:stCondLst>
                              <p:cond delay="1000"/>
                            </p:stCondLst>
                            <p:childTnLst>
                              <p:par>
                                <p:cTn id="20" presetID="31" presetClass="entr" presetSubtype="0" fill="hold" nodeType="afterEffect">
                                  <p:stCondLst>
                                    <p:cond delay="0"/>
                                  </p:stCondLst>
                                  <p:childTnLst>
                                    <p:set>
                                      <p:cBhvr>
                                        <p:cTn id="21" dur="1" fill="hold">
                                          <p:stCondLst>
                                            <p:cond delay="0"/>
                                          </p:stCondLst>
                                        </p:cTn>
                                        <p:tgtEl>
                                          <p:spTgt spid="63"/>
                                        </p:tgtEl>
                                        <p:attrNameLst>
                                          <p:attrName>style.visibility</p:attrName>
                                        </p:attrNameLst>
                                      </p:cBhvr>
                                      <p:to>
                                        <p:strVal val="visible"/>
                                      </p:to>
                                    </p:set>
                                    <p:anim calcmode="lin" valueType="num">
                                      <p:cBhvr>
                                        <p:cTn id="22" dur="750" fill="hold"/>
                                        <p:tgtEl>
                                          <p:spTgt spid="63"/>
                                        </p:tgtEl>
                                        <p:attrNameLst>
                                          <p:attrName>ppt_w</p:attrName>
                                        </p:attrNameLst>
                                      </p:cBhvr>
                                      <p:tavLst>
                                        <p:tav tm="0">
                                          <p:val>
                                            <p:fltVal val="0"/>
                                          </p:val>
                                        </p:tav>
                                        <p:tav tm="100000">
                                          <p:val>
                                            <p:strVal val="#ppt_w"/>
                                          </p:val>
                                        </p:tav>
                                      </p:tavLst>
                                    </p:anim>
                                    <p:anim calcmode="lin" valueType="num">
                                      <p:cBhvr>
                                        <p:cTn id="23" dur="750" fill="hold"/>
                                        <p:tgtEl>
                                          <p:spTgt spid="63"/>
                                        </p:tgtEl>
                                        <p:attrNameLst>
                                          <p:attrName>ppt_h</p:attrName>
                                        </p:attrNameLst>
                                      </p:cBhvr>
                                      <p:tavLst>
                                        <p:tav tm="0">
                                          <p:val>
                                            <p:fltVal val="0"/>
                                          </p:val>
                                        </p:tav>
                                        <p:tav tm="100000">
                                          <p:val>
                                            <p:strVal val="#ppt_h"/>
                                          </p:val>
                                        </p:tav>
                                      </p:tavLst>
                                    </p:anim>
                                    <p:anim calcmode="lin" valueType="num">
                                      <p:cBhvr>
                                        <p:cTn id="24" dur="750" fill="hold"/>
                                        <p:tgtEl>
                                          <p:spTgt spid="63"/>
                                        </p:tgtEl>
                                        <p:attrNameLst>
                                          <p:attrName>style.rotation</p:attrName>
                                        </p:attrNameLst>
                                      </p:cBhvr>
                                      <p:tavLst>
                                        <p:tav tm="0">
                                          <p:val>
                                            <p:fltVal val="90"/>
                                          </p:val>
                                        </p:tav>
                                        <p:tav tm="100000">
                                          <p:val>
                                            <p:fltVal val="0"/>
                                          </p:val>
                                        </p:tav>
                                      </p:tavLst>
                                    </p:anim>
                                    <p:animEffect transition="in" filter="fade">
                                      <p:cBhvr>
                                        <p:cTn id="25" dur="750"/>
                                        <p:tgtEl>
                                          <p:spTgt spid="63"/>
                                        </p:tgtEl>
                                      </p:cBhvr>
                                    </p:animEffect>
                                  </p:childTnLst>
                                </p:cTn>
                              </p:par>
                              <p:par>
                                <p:cTn id="26" presetID="31" presetClass="entr" presetSubtype="0" fill="hold" nodeType="withEffect">
                                  <p:stCondLst>
                                    <p:cond delay="0"/>
                                  </p:stCondLst>
                                  <p:childTnLst>
                                    <p:set>
                                      <p:cBhvr>
                                        <p:cTn id="27" dur="1" fill="hold">
                                          <p:stCondLst>
                                            <p:cond delay="0"/>
                                          </p:stCondLst>
                                        </p:cTn>
                                        <p:tgtEl>
                                          <p:spTgt spid="73"/>
                                        </p:tgtEl>
                                        <p:attrNameLst>
                                          <p:attrName>style.visibility</p:attrName>
                                        </p:attrNameLst>
                                      </p:cBhvr>
                                      <p:to>
                                        <p:strVal val="visible"/>
                                      </p:to>
                                    </p:set>
                                    <p:anim calcmode="lin" valueType="num">
                                      <p:cBhvr>
                                        <p:cTn id="28" dur="750" fill="hold"/>
                                        <p:tgtEl>
                                          <p:spTgt spid="73"/>
                                        </p:tgtEl>
                                        <p:attrNameLst>
                                          <p:attrName>ppt_w</p:attrName>
                                        </p:attrNameLst>
                                      </p:cBhvr>
                                      <p:tavLst>
                                        <p:tav tm="0">
                                          <p:val>
                                            <p:fltVal val="0"/>
                                          </p:val>
                                        </p:tav>
                                        <p:tav tm="100000">
                                          <p:val>
                                            <p:strVal val="#ppt_w"/>
                                          </p:val>
                                        </p:tav>
                                      </p:tavLst>
                                    </p:anim>
                                    <p:anim calcmode="lin" valueType="num">
                                      <p:cBhvr>
                                        <p:cTn id="29" dur="750" fill="hold"/>
                                        <p:tgtEl>
                                          <p:spTgt spid="73"/>
                                        </p:tgtEl>
                                        <p:attrNameLst>
                                          <p:attrName>ppt_h</p:attrName>
                                        </p:attrNameLst>
                                      </p:cBhvr>
                                      <p:tavLst>
                                        <p:tav tm="0">
                                          <p:val>
                                            <p:fltVal val="0"/>
                                          </p:val>
                                        </p:tav>
                                        <p:tav tm="100000">
                                          <p:val>
                                            <p:strVal val="#ppt_h"/>
                                          </p:val>
                                        </p:tav>
                                      </p:tavLst>
                                    </p:anim>
                                    <p:anim calcmode="lin" valueType="num">
                                      <p:cBhvr>
                                        <p:cTn id="30" dur="750" fill="hold"/>
                                        <p:tgtEl>
                                          <p:spTgt spid="73"/>
                                        </p:tgtEl>
                                        <p:attrNameLst>
                                          <p:attrName>style.rotation</p:attrName>
                                        </p:attrNameLst>
                                      </p:cBhvr>
                                      <p:tavLst>
                                        <p:tav tm="0">
                                          <p:val>
                                            <p:fltVal val="90"/>
                                          </p:val>
                                        </p:tav>
                                        <p:tav tm="100000">
                                          <p:val>
                                            <p:fltVal val="0"/>
                                          </p:val>
                                        </p:tav>
                                      </p:tavLst>
                                    </p:anim>
                                    <p:animEffect transition="in" filter="fade">
                                      <p:cBhvr>
                                        <p:cTn id="31" dur="750"/>
                                        <p:tgtEl>
                                          <p:spTgt spid="73"/>
                                        </p:tgtEl>
                                      </p:cBhvr>
                                    </p:animEffect>
                                  </p:childTnLst>
                                </p:cTn>
                              </p:par>
                            </p:childTnLst>
                          </p:cTn>
                        </p:par>
                        <p:par>
                          <p:cTn id="32" fill="hold">
                            <p:stCondLst>
                              <p:cond delay="2000"/>
                            </p:stCondLst>
                            <p:childTnLst>
                              <p:par>
                                <p:cTn id="33" presetID="12" presetClass="entr" presetSubtype="4" fill="hold" grpId="0" nodeType="afterEffect">
                                  <p:stCondLst>
                                    <p:cond delay="0"/>
                                  </p:stCondLst>
                                  <p:childTnLst>
                                    <p:set>
                                      <p:cBhvr>
                                        <p:cTn id="34" dur="1" fill="hold">
                                          <p:stCondLst>
                                            <p:cond delay="0"/>
                                          </p:stCondLst>
                                        </p:cTn>
                                        <p:tgtEl>
                                          <p:spTgt spid="62"/>
                                        </p:tgtEl>
                                        <p:attrNameLst>
                                          <p:attrName>style.visibility</p:attrName>
                                        </p:attrNameLst>
                                      </p:cBhvr>
                                      <p:to>
                                        <p:strVal val="visible"/>
                                      </p:to>
                                    </p:set>
                                    <p:anim calcmode="lin" valueType="num">
                                      <p:cBhvr additive="base">
                                        <p:cTn id="35" dur="500"/>
                                        <p:tgtEl>
                                          <p:spTgt spid="62"/>
                                        </p:tgtEl>
                                        <p:attrNameLst>
                                          <p:attrName>ppt_y</p:attrName>
                                        </p:attrNameLst>
                                      </p:cBhvr>
                                      <p:tavLst>
                                        <p:tav tm="0">
                                          <p:val>
                                            <p:strVal val="#ppt_y+#ppt_h*1.125000"/>
                                          </p:val>
                                        </p:tav>
                                        <p:tav tm="100000">
                                          <p:val>
                                            <p:strVal val="#ppt_y"/>
                                          </p:val>
                                        </p:tav>
                                      </p:tavLst>
                                    </p:anim>
                                    <p:animEffect transition="in" filter="wipe(up)">
                                      <p:cBhvr>
                                        <p:cTn id="36"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9" grpId="0"/>
      <p:bldP spid="6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8"/>
          <p:cNvSpPr/>
          <p:nvPr/>
        </p:nvSpPr>
        <p:spPr bwMode="auto">
          <a:xfrm>
            <a:off x="4449242" y="3486598"/>
            <a:ext cx="247650" cy="249238"/>
          </a:xfrm>
          <a:custGeom>
            <a:avLst/>
            <a:gdLst>
              <a:gd name="T0" fmla="*/ 32 w 87"/>
              <a:gd name="T1" fmla="*/ 84 h 88"/>
              <a:gd name="T2" fmla="*/ 36 w 87"/>
              <a:gd name="T3" fmla="*/ 82 h 88"/>
              <a:gd name="T4" fmla="*/ 40 w 87"/>
              <a:gd name="T5" fmla="*/ 87 h 88"/>
              <a:gd name="T6" fmla="*/ 49 w 87"/>
              <a:gd name="T7" fmla="*/ 86 h 88"/>
              <a:gd name="T8" fmla="*/ 53 w 87"/>
              <a:gd name="T9" fmla="*/ 82 h 88"/>
              <a:gd name="T10" fmla="*/ 53 w 87"/>
              <a:gd name="T11" fmla="*/ 37 h 88"/>
              <a:gd name="T12" fmla="*/ 60 w 87"/>
              <a:gd name="T13" fmla="*/ 34 h 88"/>
              <a:gd name="T14" fmla="*/ 60 w 87"/>
              <a:gd name="T15" fmla="*/ 10 h 88"/>
              <a:gd name="T16" fmla="*/ 67 w 87"/>
              <a:gd name="T17" fmla="*/ 9 h 88"/>
              <a:gd name="T18" fmla="*/ 74 w 87"/>
              <a:gd name="T19" fmla="*/ 7 h 88"/>
              <a:gd name="T20" fmla="*/ 78 w 87"/>
              <a:gd name="T21" fmla="*/ 10 h 88"/>
              <a:gd name="T22" fmla="*/ 83 w 87"/>
              <a:gd name="T23" fmla="*/ 7 h 88"/>
              <a:gd name="T24" fmla="*/ 87 w 87"/>
              <a:gd name="T25" fmla="*/ 6 h 88"/>
              <a:gd name="T26" fmla="*/ 87 w 87"/>
              <a:gd name="T27" fmla="*/ 4 h 88"/>
              <a:gd name="T28" fmla="*/ 72 w 87"/>
              <a:gd name="T29" fmla="*/ 5 h 88"/>
              <a:gd name="T30" fmla="*/ 62 w 87"/>
              <a:gd name="T31" fmla="*/ 6 h 88"/>
              <a:gd name="T32" fmla="*/ 47 w 87"/>
              <a:gd name="T33" fmla="*/ 6 h 88"/>
              <a:gd name="T34" fmla="*/ 44 w 87"/>
              <a:gd name="T35" fmla="*/ 4 h 88"/>
              <a:gd name="T36" fmla="*/ 20 w 87"/>
              <a:gd name="T37" fmla="*/ 4 h 88"/>
              <a:gd name="T38" fmla="*/ 14 w 87"/>
              <a:gd name="T39" fmla="*/ 2 h 88"/>
              <a:gd name="T40" fmla="*/ 8 w 87"/>
              <a:gd name="T41" fmla="*/ 2 h 88"/>
              <a:gd name="T42" fmla="*/ 5 w 87"/>
              <a:gd name="T43" fmla="*/ 0 h 88"/>
              <a:gd name="T44" fmla="*/ 2 w 87"/>
              <a:gd name="T45" fmla="*/ 2 h 88"/>
              <a:gd name="T46" fmla="*/ 0 w 87"/>
              <a:gd name="T47" fmla="*/ 2 h 88"/>
              <a:gd name="T48" fmla="*/ 4 w 87"/>
              <a:gd name="T49" fmla="*/ 11 h 88"/>
              <a:gd name="T50" fmla="*/ 11 w 87"/>
              <a:gd name="T51" fmla="*/ 26 h 88"/>
              <a:gd name="T52" fmla="*/ 18 w 87"/>
              <a:gd name="T53" fmla="*/ 40 h 88"/>
              <a:gd name="T54" fmla="*/ 18 w 87"/>
              <a:gd name="T55" fmla="*/ 51 h 88"/>
              <a:gd name="T56" fmla="*/ 20 w 87"/>
              <a:gd name="T57" fmla="*/ 62 h 88"/>
              <a:gd name="T58" fmla="*/ 25 w 87"/>
              <a:gd name="T59" fmla="*/ 79 h 88"/>
              <a:gd name="T60" fmla="*/ 29 w 87"/>
              <a:gd name="T61" fmla="*/ 84 h 88"/>
              <a:gd name="T62" fmla="*/ 32 w 87"/>
              <a:gd name="T63" fmla="*/ 8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88">
                <a:moveTo>
                  <a:pt x="32" y="84"/>
                </a:moveTo>
                <a:cubicBezTo>
                  <a:pt x="32" y="82"/>
                  <a:pt x="35" y="80"/>
                  <a:pt x="36" y="82"/>
                </a:cubicBezTo>
                <a:cubicBezTo>
                  <a:pt x="38" y="84"/>
                  <a:pt x="37" y="87"/>
                  <a:pt x="40" y="87"/>
                </a:cubicBezTo>
                <a:cubicBezTo>
                  <a:pt x="43" y="87"/>
                  <a:pt x="48" y="88"/>
                  <a:pt x="49" y="86"/>
                </a:cubicBezTo>
                <a:cubicBezTo>
                  <a:pt x="49" y="85"/>
                  <a:pt x="53" y="84"/>
                  <a:pt x="53" y="82"/>
                </a:cubicBezTo>
                <a:cubicBezTo>
                  <a:pt x="53" y="80"/>
                  <a:pt x="53" y="38"/>
                  <a:pt x="53" y="37"/>
                </a:cubicBezTo>
                <a:cubicBezTo>
                  <a:pt x="53" y="35"/>
                  <a:pt x="60" y="37"/>
                  <a:pt x="60" y="34"/>
                </a:cubicBezTo>
                <a:cubicBezTo>
                  <a:pt x="60" y="31"/>
                  <a:pt x="60" y="10"/>
                  <a:pt x="60" y="10"/>
                </a:cubicBezTo>
                <a:cubicBezTo>
                  <a:pt x="60" y="10"/>
                  <a:pt x="65" y="10"/>
                  <a:pt x="67" y="9"/>
                </a:cubicBezTo>
                <a:cubicBezTo>
                  <a:pt x="68" y="9"/>
                  <a:pt x="73" y="6"/>
                  <a:pt x="74" y="7"/>
                </a:cubicBezTo>
                <a:cubicBezTo>
                  <a:pt x="75" y="8"/>
                  <a:pt x="77" y="11"/>
                  <a:pt x="78" y="10"/>
                </a:cubicBezTo>
                <a:cubicBezTo>
                  <a:pt x="79" y="9"/>
                  <a:pt x="81" y="7"/>
                  <a:pt x="83" y="7"/>
                </a:cubicBezTo>
                <a:cubicBezTo>
                  <a:pt x="84" y="7"/>
                  <a:pt x="86" y="6"/>
                  <a:pt x="87" y="6"/>
                </a:cubicBezTo>
                <a:cubicBezTo>
                  <a:pt x="87" y="5"/>
                  <a:pt x="87" y="5"/>
                  <a:pt x="87" y="4"/>
                </a:cubicBezTo>
                <a:cubicBezTo>
                  <a:pt x="87" y="3"/>
                  <a:pt x="74" y="5"/>
                  <a:pt x="72" y="5"/>
                </a:cubicBezTo>
                <a:cubicBezTo>
                  <a:pt x="70" y="6"/>
                  <a:pt x="64" y="7"/>
                  <a:pt x="62" y="6"/>
                </a:cubicBezTo>
                <a:cubicBezTo>
                  <a:pt x="60" y="5"/>
                  <a:pt x="47" y="6"/>
                  <a:pt x="47" y="6"/>
                </a:cubicBezTo>
                <a:cubicBezTo>
                  <a:pt x="44" y="4"/>
                  <a:pt x="44" y="4"/>
                  <a:pt x="44" y="4"/>
                </a:cubicBezTo>
                <a:cubicBezTo>
                  <a:pt x="44" y="4"/>
                  <a:pt x="23" y="4"/>
                  <a:pt x="20" y="4"/>
                </a:cubicBezTo>
                <a:cubicBezTo>
                  <a:pt x="18" y="4"/>
                  <a:pt x="16" y="3"/>
                  <a:pt x="14" y="2"/>
                </a:cubicBezTo>
                <a:cubicBezTo>
                  <a:pt x="12" y="1"/>
                  <a:pt x="10" y="1"/>
                  <a:pt x="8" y="2"/>
                </a:cubicBezTo>
                <a:cubicBezTo>
                  <a:pt x="5" y="3"/>
                  <a:pt x="6" y="0"/>
                  <a:pt x="5" y="0"/>
                </a:cubicBezTo>
                <a:cubicBezTo>
                  <a:pt x="3" y="0"/>
                  <a:pt x="2" y="2"/>
                  <a:pt x="2" y="2"/>
                </a:cubicBezTo>
                <a:cubicBezTo>
                  <a:pt x="0" y="2"/>
                  <a:pt x="0" y="2"/>
                  <a:pt x="0" y="2"/>
                </a:cubicBezTo>
                <a:cubicBezTo>
                  <a:pt x="0" y="5"/>
                  <a:pt x="2" y="8"/>
                  <a:pt x="4" y="11"/>
                </a:cubicBezTo>
                <a:cubicBezTo>
                  <a:pt x="6" y="15"/>
                  <a:pt x="9" y="21"/>
                  <a:pt x="11" y="26"/>
                </a:cubicBezTo>
                <a:cubicBezTo>
                  <a:pt x="12" y="31"/>
                  <a:pt x="17" y="36"/>
                  <a:pt x="18" y="40"/>
                </a:cubicBezTo>
                <a:cubicBezTo>
                  <a:pt x="19" y="44"/>
                  <a:pt x="17" y="49"/>
                  <a:pt x="18" y="51"/>
                </a:cubicBezTo>
                <a:cubicBezTo>
                  <a:pt x="19" y="54"/>
                  <a:pt x="20" y="58"/>
                  <a:pt x="20" y="62"/>
                </a:cubicBezTo>
                <a:cubicBezTo>
                  <a:pt x="21" y="66"/>
                  <a:pt x="21" y="75"/>
                  <a:pt x="25" y="79"/>
                </a:cubicBezTo>
                <a:cubicBezTo>
                  <a:pt x="27" y="80"/>
                  <a:pt x="28" y="82"/>
                  <a:pt x="29" y="84"/>
                </a:cubicBezTo>
                <a:cubicBezTo>
                  <a:pt x="31" y="85"/>
                  <a:pt x="32" y="85"/>
                  <a:pt x="32" y="8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 name="Freeform 9"/>
          <p:cNvSpPr/>
          <p:nvPr/>
        </p:nvSpPr>
        <p:spPr bwMode="auto">
          <a:xfrm>
            <a:off x="4696892" y="3459610"/>
            <a:ext cx="160338" cy="134938"/>
          </a:xfrm>
          <a:custGeom>
            <a:avLst/>
            <a:gdLst>
              <a:gd name="T0" fmla="*/ 37 w 56"/>
              <a:gd name="T1" fmla="*/ 2 h 47"/>
              <a:gd name="T2" fmla="*/ 36 w 56"/>
              <a:gd name="T3" fmla="*/ 0 h 47"/>
              <a:gd name="T4" fmla="*/ 30 w 56"/>
              <a:gd name="T5" fmla="*/ 0 h 47"/>
              <a:gd name="T6" fmla="*/ 26 w 56"/>
              <a:gd name="T7" fmla="*/ 3 h 47"/>
              <a:gd name="T8" fmla="*/ 20 w 56"/>
              <a:gd name="T9" fmla="*/ 8 h 47"/>
              <a:gd name="T10" fmla="*/ 13 w 56"/>
              <a:gd name="T11" fmla="*/ 16 h 47"/>
              <a:gd name="T12" fmla="*/ 4 w 56"/>
              <a:gd name="T13" fmla="*/ 14 h 47"/>
              <a:gd name="T14" fmla="*/ 0 w 56"/>
              <a:gd name="T15" fmla="*/ 15 h 47"/>
              <a:gd name="T16" fmla="*/ 4 w 56"/>
              <a:gd name="T17" fmla="*/ 19 h 47"/>
              <a:gd name="T18" fmla="*/ 8 w 56"/>
              <a:gd name="T19" fmla="*/ 27 h 47"/>
              <a:gd name="T20" fmla="*/ 15 w 56"/>
              <a:gd name="T21" fmla="*/ 32 h 47"/>
              <a:gd name="T22" fmla="*/ 18 w 56"/>
              <a:gd name="T23" fmla="*/ 37 h 47"/>
              <a:gd name="T24" fmla="*/ 23 w 56"/>
              <a:gd name="T25" fmla="*/ 42 h 47"/>
              <a:gd name="T26" fmla="*/ 27 w 56"/>
              <a:gd name="T27" fmla="*/ 45 h 47"/>
              <a:gd name="T28" fmla="*/ 34 w 56"/>
              <a:gd name="T29" fmla="*/ 46 h 47"/>
              <a:gd name="T30" fmla="*/ 42 w 56"/>
              <a:gd name="T31" fmla="*/ 47 h 47"/>
              <a:gd name="T32" fmla="*/ 49 w 56"/>
              <a:gd name="T33" fmla="*/ 41 h 47"/>
              <a:gd name="T34" fmla="*/ 51 w 56"/>
              <a:gd name="T35" fmla="*/ 34 h 47"/>
              <a:gd name="T36" fmla="*/ 54 w 56"/>
              <a:gd name="T37" fmla="*/ 29 h 47"/>
              <a:gd name="T38" fmla="*/ 52 w 56"/>
              <a:gd name="T39" fmla="*/ 23 h 47"/>
              <a:gd name="T40" fmla="*/ 54 w 56"/>
              <a:gd name="T41" fmla="*/ 17 h 47"/>
              <a:gd name="T42" fmla="*/ 54 w 56"/>
              <a:gd name="T43" fmla="*/ 7 h 47"/>
              <a:gd name="T44" fmla="*/ 46 w 56"/>
              <a:gd name="T45" fmla="*/ 4 h 47"/>
              <a:gd name="T46" fmla="*/ 37 w 56"/>
              <a:gd name="T47" fmla="*/ 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6" h="47">
                <a:moveTo>
                  <a:pt x="37" y="2"/>
                </a:moveTo>
                <a:cubicBezTo>
                  <a:pt x="36" y="0"/>
                  <a:pt x="36" y="0"/>
                  <a:pt x="36" y="0"/>
                </a:cubicBezTo>
                <a:cubicBezTo>
                  <a:pt x="30" y="0"/>
                  <a:pt x="30" y="0"/>
                  <a:pt x="30" y="0"/>
                </a:cubicBezTo>
                <a:cubicBezTo>
                  <a:pt x="26" y="1"/>
                  <a:pt x="26" y="2"/>
                  <a:pt x="26" y="3"/>
                </a:cubicBezTo>
                <a:cubicBezTo>
                  <a:pt x="26" y="4"/>
                  <a:pt x="22" y="7"/>
                  <a:pt x="20" y="8"/>
                </a:cubicBezTo>
                <a:cubicBezTo>
                  <a:pt x="17" y="9"/>
                  <a:pt x="14" y="15"/>
                  <a:pt x="13" y="16"/>
                </a:cubicBezTo>
                <a:cubicBezTo>
                  <a:pt x="11" y="17"/>
                  <a:pt x="6" y="15"/>
                  <a:pt x="4" y="14"/>
                </a:cubicBezTo>
                <a:cubicBezTo>
                  <a:pt x="3" y="14"/>
                  <a:pt x="2" y="15"/>
                  <a:pt x="0" y="15"/>
                </a:cubicBezTo>
                <a:cubicBezTo>
                  <a:pt x="1" y="17"/>
                  <a:pt x="4" y="19"/>
                  <a:pt x="4" y="19"/>
                </a:cubicBezTo>
                <a:cubicBezTo>
                  <a:pt x="5" y="19"/>
                  <a:pt x="6" y="26"/>
                  <a:pt x="8" y="27"/>
                </a:cubicBezTo>
                <a:cubicBezTo>
                  <a:pt x="11" y="28"/>
                  <a:pt x="15" y="31"/>
                  <a:pt x="15" y="32"/>
                </a:cubicBezTo>
                <a:cubicBezTo>
                  <a:pt x="15" y="33"/>
                  <a:pt x="18" y="35"/>
                  <a:pt x="18" y="37"/>
                </a:cubicBezTo>
                <a:cubicBezTo>
                  <a:pt x="18" y="39"/>
                  <a:pt x="21" y="42"/>
                  <a:pt x="23" y="42"/>
                </a:cubicBezTo>
                <a:cubicBezTo>
                  <a:pt x="27" y="42"/>
                  <a:pt x="27" y="44"/>
                  <a:pt x="27" y="45"/>
                </a:cubicBezTo>
                <a:cubicBezTo>
                  <a:pt x="27" y="46"/>
                  <a:pt x="33" y="45"/>
                  <a:pt x="34" y="46"/>
                </a:cubicBezTo>
                <a:cubicBezTo>
                  <a:pt x="35" y="47"/>
                  <a:pt x="40" y="47"/>
                  <a:pt x="42" y="47"/>
                </a:cubicBezTo>
                <a:cubicBezTo>
                  <a:pt x="44" y="45"/>
                  <a:pt x="48" y="42"/>
                  <a:pt x="49" y="41"/>
                </a:cubicBezTo>
                <a:cubicBezTo>
                  <a:pt x="51" y="38"/>
                  <a:pt x="49" y="35"/>
                  <a:pt x="51" y="34"/>
                </a:cubicBezTo>
                <a:cubicBezTo>
                  <a:pt x="52" y="33"/>
                  <a:pt x="56" y="29"/>
                  <a:pt x="54" y="29"/>
                </a:cubicBezTo>
                <a:cubicBezTo>
                  <a:pt x="53" y="28"/>
                  <a:pt x="54" y="25"/>
                  <a:pt x="52" y="23"/>
                </a:cubicBezTo>
                <a:cubicBezTo>
                  <a:pt x="50" y="22"/>
                  <a:pt x="54" y="21"/>
                  <a:pt x="54" y="17"/>
                </a:cubicBezTo>
                <a:cubicBezTo>
                  <a:pt x="54" y="14"/>
                  <a:pt x="55" y="7"/>
                  <a:pt x="54" y="7"/>
                </a:cubicBezTo>
                <a:cubicBezTo>
                  <a:pt x="53" y="6"/>
                  <a:pt x="49" y="6"/>
                  <a:pt x="46" y="4"/>
                </a:cubicBezTo>
                <a:cubicBezTo>
                  <a:pt x="43" y="2"/>
                  <a:pt x="37" y="2"/>
                  <a:pt x="37"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 name="Freeform 10"/>
          <p:cNvSpPr/>
          <p:nvPr/>
        </p:nvSpPr>
        <p:spPr bwMode="auto">
          <a:xfrm>
            <a:off x="4600055" y="3502473"/>
            <a:ext cx="173038" cy="192088"/>
          </a:xfrm>
          <a:custGeom>
            <a:avLst/>
            <a:gdLst>
              <a:gd name="T0" fmla="*/ 57 w 61"/>
              <a:gd name="T1" fmla="*/ 27 h 67"/>
              <a:gd name="T2" fmla="*/ 52 w 61"/>
              <a:gd name="T3" fmla="*/ 22 h 67"/>
              <a:gd name="T4" fmla="*/ 49 w 61"/>
              <a:gd name="T5" fmla="*/ 17 h 67"/>
              <a:gd name="T6" fmla="*/ 42 w 61"/>
              <a:gd name="T7" fmla="*/ 12 h 67"/>
              <a:gd name="T8" fmla="*/ 38 w 61"/>
              <a:gd name="T9" fmla="*/ 4 h 67"/>
              <a:gd name="T10" fmla="*/ 34 w 61"/>
              <a:gd name="T11" fmla="*/ 0 h 67"/>
              <a:gd name="T12" fmla="*/ 30 w 61"/>
              <a:gd name="T13" fmla="*/ 1 h 67"/>
              <a:gd name="T14" fmla="*/ 25 w 61"/>
              <a:gd name="T15" fmla="*/ 4 h 67"/>
              <a:gd name="T16" fmla="*/ 21 w 61"/>
              <a:gd name="T17" fmla="*/ 1 h 67"/>
              <a:gd name="T18" fmla="*/ 14 w 61"/>
              <a:gd name="T19" fmla="*/ 3 h 67"/>
              <a:gd name="T20" fmla="*/ 7 w 61"/>
              <a:gd name="T21" fmla="*/ 4 h 67"/>
              <a:gd name="T22" fmla="*/ 7 w 61"/>
              <a:gd name="T23" fmla="*/ 28 h 67"/>
              <a:gd name="T24" fmla="*/ 0 w 61"/>
              <a:gd name="T25" fmla="*/ 31 h 67"/>
              <a:gd name="T26" fmla="*/ 0 w 61"/>
              <a:gd name="T27" fmla="*/ 51 h 67"/>
              <a:gd name="T28" fmla="*/ 3 w 61"/>
              <a:gd name="T29" fmla="*/ 53 h 67"/>
              <a:gd name="T30" fmla="*/ 6 w 61"/>
              <a:gd name="T31" fmla="*/ 61 h 67"/>
              <a:gd name="T32" fmla="*/ 4 w 61"/>
              <a:gd name="T33" fmla="*/ 62 h 67"/>
              <a:gd name="T34" fmla="*/ 5 w 61"/>
              <a:gd name="T35" fmla="*/ 65 h 67"/>
              <a:gd name="T36" fmla="*/ 12 w 61"/>
              <a:gd name="T37" fmla="*/ 65 h 67"/>
              <a:gd name="T38" fmla="*/ 19 w 61"/>
              <a:gd name="T39" fmla="*/ 58 h 67"/>
              <a:gd name="T40" fmla="*/ 23 w 61"/>
              <a:gd name="T41" fmla="*/ 54 h 67"/>
              <a:gd name="T42" fmla="*/ 31 w 61"/>
              <a:gd name="T43" fmla="*/ 57 h 67"/>
              <a:gd name="T44" fmla="*/ 38 w 61"/>
              <a:gd name="T45" fmla="*/ 54 h 67"/>
              <a:gd name="T46" fmla="*/ 41 w 61"/>
              <a:gd name="T47" fmla="*/ 49 h 67"/>
              <a:gd name="T48" fmla="*/ 46 w 61"/>
              <a:gd name="T49" fmla="*/ 44 h 67"/>
              <a:gd name="T50" fmla="*/ 49 w 61"/>
              <a:gd name="T51" fmla="*/ 40 h 67"/>
              <a:gd name="T52" fmla="*/ 55 w 61"/>
              <a:gd name="T53" fmla="*/ 36 h 67"/>
              <a:gd name="T54" fmla="*/ 59 w 61"/>
              <a:gd name="T55" fmla="*/ 33 h 67"/>
              <a:gd name="T56" fmla="*/ 61 w 61"/>
              <a:gd name="T57" fmla="*/ 30 h 67"/>
              <a:gd name="T58" fmla="*/ 61 w 61"/>
              <a:gd name="T59" fmla="*/ 30 h 67"/>
              <a:gd name="T60" fmla="*/ 57 w 61"/>
              <a:gd name="T61" fmla="*/ 2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1" h="67">
                <a:moveTo>
                  <a:pt x="57" y="27"/>
                </a:moveTo>
                <a:cubicBezTo>
                  <a:pt x="55" y="27"/>
                  <a:pt x="52" y="24"/>
                  <a:pt x="52" y="22"/>
                </a:cubicBezTo>
                <a:cubicBezTo>
                  <a:pt x="52" y="20"/>
                  <a:pt x="49" y="18"/>
                  <a:pt x="49" y="17"/>
                </a:cubicBezTo>
                <a:cubicBezTo>
                  <a:pt x="49" y="16"/>
                  <a:pt x="45" y="13"/>
                  <a:pt x="42" y="12"/>
                </a:cubicBezTo>
                <a:cubicBezTo>
                  <a:pt x="40" y="11"/>
                  <a:pt x="39" y="4"/>
                  <a:pt x="38" y="4"/>
                </a:cubicBezTo>
                <a:cubicBezTo>
                  <a:pt x="38" y="4"/>
                  <a:pt x="35" y="2"/>
                  <a:pt x="34" y="0"/>
                </a:cubicBezTo>
                <a:cubicBezTo>
                  <a:pt x="33" y="0"/>
                  <a:pt x="31" y="1"/>
                  <a:pt x="30" y="1"/>
                </a:cubicBezTo>
                <a:cubicBezTo>
                  <a:pt x="28" y="1"/>
                  <a:pt x="26" y="3"/>
                  <a:pt x="25" y="4"/>
                </a:cubicBezTo>
                <a:cubicBezTo>
                  <a:pt x="24" y="5"/>
                  <a:pt x="22" y="2"/>
                  <a:pt x="21" y="1"/>
                </a:cubicBezTo>
                <a:cubicBezTo>
                  <a:pt x="20" y="0"/>
                  <a:pt x="15" y="3"/>
                  <a:pt x="14" y="3"/>
                </a:cubicBezTo>
                <a:cubicBezTo>
                  <a:pt x="12" y="4"/>
                  <a:pt x="7" y="4"/>
                  <a:pt x="7" y="4"/>
                </a:cubicBezTo>
                <a:cubicBezTo>
                  <a:pt x="7" y="4"/>
                  <a:pt x="7" y="25"/>
                  <a:pt x="7" y="28"/>
                </a:cubicBezTo>
                <a:cubicBezTo>
                  <a:pt x="7" y="31"/>
                  <a:pt x="0" y="29"/>
                  <a:pt x="0" y="31"/>
                </a:cubicBezTo>
                <a:cubicBezTo>
                  <a:pt x="0" y="31"/>
                  <a:pt x="0" y="41"/>
                  <a:pt x="0" y="51"/>
                </a:cubicBezTo>
                <a:cubicBezTo>
                  <a:pt x="2" y="51"/>
                  <a:pt x="3" y="52"/>
                  <a:pt x="3" y="53"/>
                </a:cubicBezTo>
                <a:cubicBezTo>
                  <a:pt x="4" y="55"/>
                  <a:pt x="6" y="59"/>
                  <a:pt x="6" y="61"/>
                </a:cubicBezTo>
                <a:cubicBezTo>
                  <a:pt x="5" y="62"/>
                  <a:pt x="4" y="61"/>
                  <a:pt x="4" y="62"/>
                </a:cubicBezTo>
                <a:cubicBezTo>
                  <a:pt x="4" y="64"/>
                  <a:pt x="3" y="65"/>
                  <a:pt x="5" y="65"/>
                </a:cubicBezTo>
                <a:cubicBezTo>
                  <a:pt x="7" y="65"/>
                  <a:pt x="11" y="67"/>
                  <a:pt x="12" y="65"/>
                </a:cubicBezTo>
                <a:cubicBezTo>
                  <a:pt x="14" y="63"/>
                  <a:pt x="18" y="60"/>
                  <a:pt x="19" y="58"/>
                </a:cubicBezTo>
                <a:cubicBezTo>
                  <a:pt x="19" y="56"/>
                  <a:pt x="20" y="52"/>
                  <a:pt x="23" y="54"/>
                </a:cubicBezTo>
                <a:cubicBezTo>
                  <a:pt x="27" y="56"/>
                  <a:pt x="27" y="57"/>
                  <a:pt x="31" y="57"/>
                </a:cubicBezTo>
                <a:cubicBezTo>
                  <a:pt x="36" y="57"/>
                  <a:pt x="37" y="57"/>
                  <a:pt x="38" y="54"/>
                </a:cubicBezTo>
                <a:cubicBezTo>
                  <a:pt x="39" y="51"/>
                  <a:pt x="38" y="49"/>
                  <a:pt x="41" y="49"/>
                </a:cubicBezTo>
                <a:cubicBezTo>
                  <a:pt x="43" y="49"/>
                  <a:pt x="46" y="46"/>
                  <a:pt x="46" y="44"/>
                </a:cubicBezTo>
                <a:cubicBezTo>
                  <a:pt x="46" y="43"/>
                  <a:pt x="48" y="40"/>
                  <a:pt x="49" y="40"/>
                </a:cubicBezTo>
                <a:cubicBezTo>
                  <a:pt x="51" y="40"/>
                  <a:pt x="54" y="38"/>
                  <a:pt x="55" y="36"/>
                </a:cubicBezTo>
                <a:cubicBezTo>
                  <a:pt x="55" y="34"/>
                  <a:pt x="58" y="34"/>
                  <a:pt x="59" y="33"/>
                </a:cubicBezTo>
                <a:cubicBezTo>
                  <a:pt x="60" y="33"/>
                  <a:pt x="61" y="31"/>
                  <a:pt x="61" y="30"/>
                </a:cubicBezTo>
                <a:cubicBezTo>
                  <a:pt x="61" y="30"/>
                  <a:pt x="61" y="30"/>
                  <a:pt x="61" y="30"/>
                </a:cubicBezTo>
                <a:cubicBezTo>
                  <a:pt x="61" y="29"/>
                  <a:pt x="61" y="27"/>
                  <a:pt x="57" y="2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 name="Freeform 11"/>
          <p:cNvSpPr/>
          <p:nvPr/>
        </p:nvSpPr>
        <p:spPr bwMode="auto">
          <a:xfrm>
            <a:off x="4804842" y="3665985"/>
            <a:ext cx="28575" cy="33338"/>
          </a:xfrm>
          <a:custGeom>
            <a:avLst/>
            <a:gdLst>
              <a:gd name="T0" fmla="*/ 5 w 10"/>
              <a:gd name="T1" fmla="*/ 0 h 12"/>
              <a:gd name="T2" fmla="*/ 0 w 10"/>
              <a:gd name="T3" fmla="*/ 5 h 12"/>
              <a:gd name="T4" fmla="*/ 5 w 10"/>
              <a:gd name="T5" fmla="*/ 12 h 12"/>
              <a:gd name="T6" fmla="*/ 9 w 10"/>
              <a:gd name="T7" fmla="*/ 10 h 12"/>
              <a:gd name="T8" fmla="*/ 10 w 10"/>
              <a:gd name="T9" fmla="*/ 8 h 12"/>
              <a:gd name="T10" fmla="*/ 9 w 10"/>
              <a:gd name="T11" fmla="*/ 2 h 12"/>
              <a:gd name="T12" fmla="*/ 5 w 1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0" h="12">
                <a:moveTo>
                  <a:pt x="5" y="0"/>
                </a:moveTo>
                <a:cubicBezTo>
                  <a:pt x="3" y="0"/>
                  <a:pt x="0" y="4"/>
                  <a:pt x="0" y="5"/>
                </a:cubicBezTo>
                <a:cubicBezTo>
                  <a:pt x="0" y="6"/>
                  <a:pt x="3" y="12"/>
                  <a:pt x="5" y="12"/>
                </a:cubicBezTo>
                <a:cubicBezTo>
                  <a:pt x="7" y="12"/>
                  <a:pt x="8" y="12"/>
                  <a:pt x="9" y="10"/>
                </a:cubicBezTo>
                <a:cubicBezTo>
                  <a:pt x="9" y="9"/>
                  <a:pt x="9" y="9"/>
                  <a:pt x="10" y="8"/>
                </a:cubicBezTo>
                <a:cubicBezTo>
                  <a:pt x="10" y="7"/>
                  <a:pt x="9" y="4"/>
                  <a:pt x="9" y="2"/>
                </a:cubicBezTo>
                <a:cubicBezTo>
                  <a:pt x="8" y="1"/>
                  <a:pt x="6" y="0"/>
                  <a:pt x="5"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 name="Freeform 12"/>
          <p:cNvSpPr/>
          <p:nvPr/>
        </p:nvSpPr>
        <p:spPr bwMode="auto">
          <a:xfrm>
            <a:off x="4736580" y="3723135"/>
            <a:ext cx="42863" cy="47625"/>
          </a:xfrm>
          <a:custGeom>
            <a:avLst/>
            <a:gdLst>
              <a:gd name="T0" fmla="*/ 11 w 15"/>
              <a:gd name="T1" fmla="*/ 2 h 17"/>
              <a:gd name="T2" fmla="*/ 4 w 15"/>
              <a:gd name="T3" fmla="*/ 4 h 17"/>
              <a:gd name="T4" fmla="*/ 0 w 15"/>
              <a:gd name="T5" fmla="*/ 11 h 17"/>
              <a:gd name="T6" fmla="*/ 4 w 15"/>
              <a:gd name="T7" fmla="*/ 16 h 17"/>
              <a:gd name="T8" fmla="*/ 6 w 15"/>
              <a:gd name="T9" fmla="*/ 17 h 17"/>
              <a:gd name="T10" fmla="*/ 8 w 15"/>
              <a:gd name="T11" fmla="*/ 13 h 17"/>
              <a:gd name="T12" fmla="*/ 13 w 15"/>
              <a:gd name="T13" fmla="*/ 12 h 17"/>
              <a:gd name="T14" fmla="*/ 15 w 15"/>
              <a:gd name="T15" fmla="*/ 7 h 17"/>
              <a:gd name="T16" fmla="*/ 11 w 15"/>
              <a:gd name="T1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7">
                <a:moveTo>
                  <a:pt x="11" y="2"/>
                </a:moveTo>
                <a:cubicBezTo>
                  <a:pt x="10" y="0"/>
                  <a:pt x="4" y="3"/>
                  <a:pt x="4" y="4"/>
                </a:cubicBezTo>
                <a:cubicBezTo>
                  <a:pt x="3" y="6"/>
                  <a:pt x="0" y="11"/>
                  <a:pt x="0" y="11"/>
                </a:cubicBezTo>
                <a:cubicBezTo>
                  <a:pt x="4" y="16"/>
                  <a:pt x="4" y="16"/>
                  <a:pt x="4" y="16"/>
                </a:cubicBezTo>
                <a:cubicBezTo>
                  <a:pt x="6" y="17"/>
                  <a:pt x="6" y="17"/>
                  <a:pt x="6" y="17"/>
                </a:cubicBezTo>
                <a:cubicBezTo>
                  <a:pt x="6" y="17"/>
                  <a:pt x="7" y="15"/>
                  <a:pt x="8" y="13"/>
                </a:cubicBezTo>
                <a:cubicBezTo>
                  <a:pt x="9" y="11"/>
                  <a:pt x="13" y="13"/>
                  <a:pt x="13" y="12"/>
                </a:cubicBezTo>
                <a:cubicBezTo>
                  <a:pt x="13" y="10"/>
                  <a:pt x="15" y="8"/>
                  <a:pt x="15" y="7"/>
                </a:cubicBezTo>
                <a:cubicBezTo>
                  <a:pt x="15" y="5"/>
                  <a:pt x="11" y="3"/>
                  <a:pt x="11"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 name="Freeform 13"/>
          <p:cNvSpPr>
            <a:spLocks noEditPoints="1"/>
          </p:cNvSpPr>
          <p:nvPr/>
        </p:nvSpPr>
        <p:spPr bwMode="auto">
          <a:xfrm>
            <a:off x="4531792" y="3588198"/>
            <a:ext cx="315913" cy="276225"/>
          </a:xfrm>
          <a:custGeom>
            <a:avLst/>
            <a:gdLst>
              <a:gd name="T0" fmla="*/ 106 w 111"/>
              <a:gd name="T1" fmla="*/ 36 h 97"/>
              <a:gd name="T2" fmla="*/ 106 w 111"/>
              <a:gd name="T3" fmla="*/ 35 h 97"/>
              <a:gd name="T4" fmla="*/ 105 w 111"/>
              <a:gd name="T5" fmla="*/ 37 h 97"/>
              <a:gd name="T6" fmla="*/ 101 w 111"/>
              <a:gd name="T7" fmla="*/ 39 h 97"/>
              <a:gd name="T8" fmla="*/ 96 w 111"/>
              <a:gd name="T9" fmla="*/ 32 h 97"/>
              <a:gd name="T10" fmla="*/ 101 w 111"/>
              <a:gd name="T11" fmla="*/ 27 h 97"/>
              <a:gd name="T12" fmla="*/ 105 w 111"/>
              <a:gd name="T13" fmla="*/ 29 h 97"/>
              <a:gd name="T14" fmla="*/ 105 w 111"/>
              <a:gd name="T15" fmla="*/ 28 h 97"/>
              <a:gd name="T16" fmla="*/ 104 w 111"/>
              <a:gd name="T17" fmla="*/ 16 h 97"/>
              <a:gd name="T18" fmla="*/ 100 w 111"/>
              <a:gd name="T19" fmla="*/ 3 h 97"/>
              <a:gd name="T20" fmla="*/ 92 w 111"/>
              <a:gd name="T21" fmla="*/ 1 h 97"/>
              <a:gd name="T22" fmla="*/ 85 w 111"/>
              <a:gd name="T23" fmla="*/ 0 h 97"/>
              <a:gd name="T24" fmla="*/ 83 w 111"/>
              <a:gd name="T25" fmla="*/ 3 h 97"/>
              <a:gd name="T26" fmla="*/ 79 w 111"/>
              <a:gd name="T27" fmla="*/ 6 h 97"/>
              <a:gd name="T28" fmla="*/ 73 w 111"/>
              <a:gd name="T29" fmla="*/ 10 h 97"/>
              <a:gd name="T30" fmla="*/ 70 w 111"/>
              <a:gd name="T31" fmla="*/ 14 h 97"/>
              <a:gd name="T32" fmla="*/ 65 w 111"/>
              <a:gd name="T33" fmla="*/ 19 h 97"/>
              <a:gd name="T34" fmla="*/ 62 w 111"/>
              <a:gd name="T35" fmla="*/ 24 h 97"/>
              <a:gd name="T36" fmla="*/ 55 w 111"/>
              <a:gd name="T37" fmla="*/ 27 h 97"/>
              <a:gd name="T38" fmla="*/ 47 w 111"/>
              <a:gd name="T39" fmla="*/ 24 h 97"/>
              <a:gd name="T40" fmla="*/ 43 w 111"/>
              <a:gd name="T41" fmla="*/ 28 h 97"/>
              <a:gd name="T42" fmla="*/ 36 w 111"/>
              <a:gd name="T43" fmla="*/ 35 h 97"/>
              <a:gd name="T44" fmla="*/ 29 w 111"/>
              <a:gd name="T45" fmla="*/ 35 h 97"/>
              <a:gd name="T46" fmla="*/ 28 w 111"/>
              <a:gd name="T47" fmla="*/ 32 h 97"/>
              <a:gd name="T48" fmla="*/ 30 w 111"/>
              <a:gd name="T49" fmla="*/ 31 h 97"/>
              <a:gd name="T50" fmla="*/ 27 w 111"/>
              <a:gd name="T51" fmla="*/ 23 h 97"/>
              <a:gd name="T52" fmla="*/ 24 w 111"/>
              <a:gd name="T53" fmla="*/ 21 h 97"/>
              <a:gd name="T54" fmla="*/ 24 w 111"/>
              <a:gd name="T55" fmla="*/ 46 h 97"/>
              <a:gd name="T56" fmla="*/ 20 w 111"/>
              <a:gd name="T57" fmla="*/ 50 h 97"/>
              <a:gd name="T58" fmla="*/ 11 w 111"/>
              <a:gd name="T59" fmla="*/ 51 h 97"/>
              <a:gd name="T60" fmla="*/ 7 w 111"/>
              <a:gd name="T61" fmla="*/ 46 h 97"/>
              <a:gd name="T62" fmla="*/ 3 w 111"/>
              <a:gd name="T63" fmla="*/ 48 h 97"/>
              <a:gd name="T64" fmla="*/ 0 w 111"/>
              <a:gd name="T65" fmla="*/ 48 h 97"/>
              <a:gd name="T66" fmla="*/ 6 w 111"/>
              <a:gd name="T67" fmla="*/ 59 h 97"/>
              <a:gd name="T68" fmla="*/ 12 w 111"/>
              <a:gd name="T69" fmla="*/ 73 h 97"/>
              <a:gd name="T70" fmla="*/ 12 w 111"/>
              <a:gd name="T71" fmla="*/ 80 h 97"/>
              <a:gd name="T72" fmla="*/ 12 w 111"/>
              <a:gd name="T73" fmla="*/ 85 h 97"/>
              <a:gd name="T74" fmla="*/ 15 w 111"/>
              <a:gd name="T75" fmla="*/ 91 h 97"/>
              <a:gd name="T76" fmla="*/ 17 w 111"/>
              <a:gd name="T77" fmla="*/ 93 h 97"/>
              <a:gd name="T78" fmla="*/ 21 w 111"/>
              <a:gd name="T79" fmla="*/ 96 h 97"/>
              <a:gd name="T80" fmla="*/ 26 w 111"/>
              <a:gd name="T81" fmla="*/ 95 h 97"/>
              <a:gd name="T82" fmla="*/ 34 w 111"/>
              <a:gd name="T83" fmla="*/ 93 h 97"/>
              <a:gd name="T84" fmla="*/ 40 w 111"/>
              <a:gd name="T85" fmla="*/ 91 h 97"/>
              <a:gd name="T86" fmla="*/ 51 w 111"/>
              <a:gd name="T87" fmla="*/ 91 h 97"/>
              <a:gd name="T88" fmla="*/ 57 w 111"/>
              <a:gd name="T89" fmla="*/ 90 h 97"/>
              <a:gd name="T90" fmla="*/ 62 w 111"/>
              <a:gd name="T91" fmla="*/ 89 h 97"/>
              <a:gd name="T92" fmla="*/ 67 w 111"/>
              <a:gd name="T93" fmla="*/ 87 h 97"/>
              <a:gd name="T94" fmla="*/ 81 w 111"/>
              <a:gd name="T95" fmla="*/ 78 h 97"/>
              <a:gd name="T96" fmla="*/ 98 w 111"/>
              <a:gd name="T97" fmla="*/ 58 h 97"/>
              <a:gd name="T98" fmla="*/ 108 w 111"/>
              <a:gd name="T99" fmla="*/ 47 h 97"/>
              <a:gd name="T100" fmla="*/ 111 w 111"/>
              <a:gd name="T101" fmla="*/ 36 h 97"/>
              <a:gd name="T102" fmla="*/ 106 w 111"/>
              <a:gd name="T103" fmla="*/ 36 h 97"/>
              <a:gd name="T104" fmla="*/ 85 w 111"/>
              <a:gd name="T105" fmla="*/ 59 h 97"/>
              <a:gd name="T106" fmla="*/ 80 w 111"/>
              <a:gd name="T107" fmla="*/ 60 h 97"/>
              <a:gd name="T108" fmla="*/ 78 w 111"/>
              <a:gd name="T109" fmla="*/ 64 h 97"/>
              <a:gd name="T110" fmla="*/ 76 w 111"/>
              <a:gd name="T111" fmla="*/ 63 h 97"/>
              <a:gd name="T112" fmla="*/ 72 w 111"/>
              <a:gd name="T113" fmla="*/ 58 h 97"/>
              <a:gd name="T114" fmla="*/ 76 w 111"/>
              <a:gd name="T115" fmla="*/ 51 h 97"/>
              <a:gd name="T116" fmla="*/ 83 w 111"/>
              <a:gd name="T117" fmla="*/ 49 h 97"/>
              <a:gd name="T118" fmla="*/ 87 w 111"/>
              <a:gd name="T119" fmla="*/ 54 h 97"/>
              <a:gd name="T120" fmla="*/ 85 w 111"/>
              <a:gd name="T121"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1" h="97">
                <a:moveTo>
                  <a:pt x="106" y="36"/>
                </a:moveTo>
                <a:cubicBezTo>
                  <a:pt x="106" y="36"/>
                  <a:pt x="106" y="36"/>
                  <a:pt x="106" y="35"/>
                </a:cubicBezTo>
                <a:cubicBezTo>
                  <a:pt x="105" y="36"/>
                  <a:pt x="105" y="36"/>
                  <a:pt x="105" y="37"/>
                </a:cubicBezTo>
                <a:cubicBezTo>
                  <a:pt x="104" y="39"/>
                  <a:pt x="103" y="39"/>
                  <a:pt x="101" y="39"/>
                </a:cubicBezTo>
                <a:cubicBezTo>
                  <a:pt x="99" y="39"/>
                  <a:pt x="96" y="33"/>
                  <a:pt x="96" y="32"/>
                </a:cubicBezTo>
                <a:cubicBezTo>
                  <a:pt x="96" y="31"/>
                  <a:pt x="99" y="27"/>
                  <a:pt x="101" y="27"/>
                </a:cubicBezTo>
                <a:cubicBezTo>
                  <a:pt x="102" y="27"/>
                  <a:pt x="104" y="28"/>
                  <a:pt x="105" y="29"/>
                </a:cubicBezTo>
                <a:cubicBezTo>
                  <a:pt x="105" y="29"/>
                  <a:pt x="105" y="28"/>
                  <a:pt x="105" y="28"/>
                </a:cubicBezTo>
                <a:cubicBezTo>
                  <a:pt x="105" y="27"/>
                  <a:pt x="106" y="17"/>
                  <a:pt x="104" y="16"/>
                </a:cubicBezTo>
                <a:cubicBezTo>
                  <a:pt x="103" y="14"/>
                  <a:pt x="101" y="4"/>
                  <a:pt x="100" y="3"/>
                </a:cubicBezTo>
                <a:cubicBezTo>
                  <a:pt x="100" y="2"/>
                  <a:pt x="93" y="2"/>
                  <a:pt x="92" y="1"/>
                </a:cubicBezTo>
                <a:cubicBezTo>
                  <a:pt x="91" y="0"/>
                  <a:pt x="86" y="1"/>
                  <a:pt x="85" y="0"/>
                </a:cubicBezTo>
                <a:cubicBezTo>
                  <a:pt x="85" y="1"/>
                  <a:pt x="84" y="3"/>
                  <a:pt x="83" y="3"/>
                </a:cubicBezTo>
                <a:cubicBezTo>
                  <a:pt x="82" y="4"/>
                  <a:pt x="79" y="4"/>
                  <a:pt x="79" y="6"/>
                </a:cubicBezTo>
                <a:cubicBezTo>
                  <a:pt x="78" y="8"/>
                  <a:pt x="75" y="10"/>
                  <a:pt x="73" y="10"/>
                </a:cubicBezTo>
                <a:cubicBezTo>
                  <a:pt x="72" y="10"/>
                  <a:pt x="70" y="13"/>
                  <a:pt x="70" y="14"/>
                </a:cubicBezTo>
                <a:cubicBezTo>
                  <a:pt x="70" y="16"/>
                  <a:pt x="67" y="19"/>
                  <a:pt x="65" y="19"/>
                </a:cubicBezTo>
                <a:cubicBezTo>
                  <a:pt x="62" y="19"/>
                  <a:pt x="63" y="21"/>
                  <a:pt x="62" y="24"/>
                </a:cubicBezTo>
                <a:cubicBezTo>
                  <a:pt x="61" y="27"/>
                  <a:pt x="60" y="27"/>
                  <a:pt x="55" y="27"/>
                </a:cubicBezTo>
                <a:cubicBezTo>
                  <a:pt x="51" y="27"/>
                  <a:pt x="51" y="26"/>
                  <a:pt x="47" y="24"/>
                </a:cubicBezTo>
                <a:cubicBezTo>
                  <a:pt x="44" y="22"/>
                  <a:pt x="43" y="26"/>
                  <a:pt x="43" y="28"/>
                </a:cubicBezTo>
                <a:cubicBezTo>
                  <a:pt x="42" y="30"/>
                  <a:pt x="38" y="33"/>
                  <a:pt x="36" y="35"/>
                </a:cubicBezTo>
                <a:cubicBezTo>
                  <a:pt x="35" y="37"/>
                  <a:pt x="31" y="35"/>
                  <a:pt x="29" y="35"/>
                </a:cubicBezTo>
                <a:cubicBezTo>
                  <a:pt x="27" y="35"/>
                  <a:pt x="28" y="34"/>
                  <a:pt x="28" y="32"/>
                </a:cubicBezTo>
                <a:cubicBezTo>
                  <a:pt x="28" y="31"/>
                  <a:pt x="29" y="32"/>
                  <a:pt x="30" y="31"/>
                </a:cubicBezTo>
                <a:cubicBezTo>
                  <a:pt x="30" y="29"/>
                  <a:pt x="28" y="25"/>
                  <a:pt x="27" y="23"/>
                </a:cubicBezTo>
                <a:cubicBezTo>
                  <a:pt x="27" y="22"/>
                  <a:pt x="26" y="21"/>
                  <a:pt x="24" y="21"/>
                </a:cubicBezTo>
                <a:cubicBezTo>
                  <a:pt x="24" y="32"/>
                  <a:pt x="24" y="45"/>
                  <a:pt x="24" y="46"/>
                </a:cubicBezTo>
                <a:cubicBezTo>
                  <a:pt x="24" y="48"/>
                  <a:pt x="20" y="49"/>
                  <a:pt x="20" y="50"/>
                </a:cubicBezTo>
                <a:cubicBezTo>
                  <a:pt x="19" y="52"/>
                  <a:pt x="14" y="51"/>
                  <a:pt x="11" y="51"/>
                </a:cubicBezTo>
                <a:cubicBezTo>
                  <a:pt x="8" y="51"/>
                  <a:pt x="9" y="48"/>
                  <a:pt x="7" y="46"/>
                </a:cubicBezTo>
                <a:cubicBezTo>
                  <a:pt x="6" y="44"/>
                  <a:pt x="3" y="46"/>
                  <a:pt x="3" y="48"/>
                </a:cubicBezTo>
                <a:cubicBezTo>
                  <a:pt x="3" y="49"/>
                  <a:pt x="2" y="49"/>
                  <a:pt x="0" y="48"/>
                </a:cubicBezTo>
                <a:cubicBezTo>
                  <a:pt x="3" y="52"/>
                  <a:pt x="5" y="56"/>
                  <a:pt x="6" y="59"/>
                </a:cubicBezTo>
                <a:cubicBezTo>
                  <a:pt x="7" y="65"/>
                  <a:pt x="11" y="70"/>
                  <a:pt x="12" y="73"/>
                </a:cubicBezTo>
                <a:cubicBezTo>
                  <a:pt x="13" y="76"/>
                  <a:pt x="14" y="79"/>
                  <a:pt x="12" y="80"/>
                </a:cubicBezTo>
                <a:cubicBezTo>
                  <a:pt x="10" y="80"/>
                  <a:pt x="10" y="82"/>
                  <a:pt x="12" y="85"/>
                </a:cubicBezTo>
                <a:cubicBezTo>
                  <a:pt x="15" y="89"/>
                  <a:pt x="13" y="91"/>
                  <a:pt x="15" y="91"/>
                </a:cubicBezTo>
                <a:cubicBezTo>
                  <a:pt x="16" y="91"/>
                  <a:pt x="16" y="93"/>
                  <a:pt x="17" y="93"/>
                </a:cubicBezTo>
                <a:cubicBezTo>
                  <a:pt x="19" y="93"/>
                  <a:pt x="20" y="94"/>
                  <a:pt x="21" y="96"/>
                </a:cubicBezTo>
                <a:cubicBezTo>
                  <a:pt x="22" y="97"/>
                  <a:pt x="24" y="97"/>
                  <a:pt x="26" y="95"/>
                </a:cubicBezTo>
                <a:cubicBezTo>
                  <a:pt x="27" y="94"/>
                  <a:pt x="30" y="93"/>
                  <a:pt x="34" y="93"/>
                </a:cubicBezTo>
                <a:cubicBezTo>
                  <a:pt x="37" y="93"/>
                  <a:pt x="37" y="92"/>
                  <a:pt x="40" y="91"/>
                </a:cubicBezTo>
                <a:cubicBezTo>
                  <a:pt x="43" y="90"/>
                  <a:pt x="48" y="90"/>
                  <a:pt x="51" y="91"/>
                </a:cubicBezTo>
                <a:cubicBezTo>
                  <a:pt x="53" y="92"/>
                  <a:pt x="56" y="91"/>
                  <a:pt x="57" y="90"/>
                </a:cubicBezTo>
                <a:cubicBezTo>
                  <a:pt x="59" y="89"/>
                  <a:pt x="61" y="91"/>
                  <a:pt x="62" y="89"/>
                </a:cubicBezTo>
                <a:cubicBezTo>
                  <a:pt x="62" y="87"/>
                  <a:pt x="65" y="87"/>
                  <a:pt x="67" y="87"/>
                </a:cubicBezTo>
                <a:cubicBezTo>
                  <a:pt x="70" y="87"/>
                  <a:pt x="76" y="83"/>
                  <a:pt x="81" y="78"/>
                </a:cubicBezTo>
                <a:cubicBezTo>
                  <a:pt x="86" y="73"/>
                  <a:pt x="95" y="63"/>
                  <a:pt x="98" y="58"/>
                </a:cubicBezTo>
                <a:cubicBezTo>
                  <a:pt x="101" y="53"/>
                  <a:pt x="105" y="49"/>
                  <a:pt x="108" y="47"/>
                </a:cubicBezTo>
                <a:cubicBezTo>
                  <a:pt x="109" y="45"/>
                  <a:pt x="110" y="40"/>
                  <a:pt x="111" y="36"/>
                </a:cubicBezTo>
                <a:cubicBezTo>
                  <a:pt x="108" y="36"/>
                  <a:pt x="106" y="36"/>
                  <a:pt x="106" y="36"/>
                </a:cubicBezTo>
                <a:close/>
                <a:moveTo>
                  <a:pt x="85" y="59"/>
                </a:moveTo>
                <a:cubicBezTo>
                  <a:pt x="85" y="60"/>
                  <a:pt x="81" y="58"/>
                  <a:pt x="80" y="60"/>
                </a:cubicBezTo>
                <a:cubicBezTo>
                  <a:pt x="79" y="62"/>
                  <a:pt x="78" y="64"/>
                  <a:pt x="78" y="64"/>
                </a:cubicBezTo>
                <a:cubicBezTo>
                  <a:pt x="76" y="63"/>
                  <a:pt x="76" y="63"/>
                  <a:pt x="76" y="63"/>
                </a:cubicBezTo>
                <a:cubicBezTo>
                  <a:pt x="72" y="58"/>
                  <a:pt x="72" y="58"/>
                  <a:pt x="72" y="58"/>
                </a:cubicBezTo>
                <a:cubicBezTo>
                  <a:pt x="72" y="58"/>
                  <a:pt x="75" y="53"/>
                  <a:pt x="76" y="51"/>
                </a:cubicBezTo>
                <a:cubicBezTo>
                  <a:pt x="76" y="50"/>
                  <a:pt x="82" y="47"/>
                  <a:pt x="83" y="49"/>
                </a:cubicBezTo>
                <a:cubicBezTo>
                  <a:pt x="83" y="50"/>
                  <a:pt x="87" y="52"/>
                  <a:pt x="87" y="54"/>
                </a:cubicBezTo>
                <a:cubicBezTo>
                  <a:pt x="87" y="55"/>
                  <a:pt x="85" y="57"/>
                  <a:pt x="85" y="59"/>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8" name="Freeform 14"/>
          <p:cNvSpPr/>
          <p:nvPr/>
        </p:nvSpPr>
        <p:spPr bwMode="auto">
          <a:xfrm>
            <a:off x="4449242" y="3264348"/>
            <a:ext cx="230188" cy="241300"/>
          </a:xfrm>
          <a:custGeom>
            <a:avLst/>
            <a:gdLst>
              <a:gd name="T0" fmla="*/ 5 w 81"/>
              <a:gd name="T1" fmla="*/ 78 h 85"/>
              <a:gd name="T2" fmla="*/ 8 w 81"/>
              <a:gd name="T3" fmla="*/ 80 h 85"/>
              <a:gd name="T4" fmla="*/ 14 w 81"/>
              <a:gd name="T5" fmla="*/ 80 h 85"/>
              <a:gd name="T6" fmla="*/ 20 w 81"/>
              <a:gd name="T7" fmla="*/ 82 h 85"/>
              <a:gd name="T8" fmla="*/ 44 w 81"/>
              <a:gd name="T9" fmla="*/ 82 h 85"/>
              <a:gd name="T10" fmla="*/ 47 w 81"/>
              <a:gd name="T11" fmla="*/ 84 h 85"/>
              <a:gd name="T12" fmla="*/ 62 w 81"/>
              <a:gd name="T13" fmla="*/ 84 h 85"/>
              <a:gd name="T14" fmla="*/ 72 w 81"/>
              <a:gd name="T15" fmla="*/ 83 h 85"/>
              <a:gd name="T16" fmla="*/ 74 w 81"/>
              <a:gd name="T17" fmla="*/ 83 h 85"/>
              <a:gd name="T18" fmla="*/ 66 w 81"/>
              <a:gd name="T19" fmla="*/ 72 h 85"/>
              <a:gd name="T20" fmla="*/ 67 w 81"/>
              <a:gd name="T21" fmla="*/ 49 h 85"/>
              <a:gd name="T22" fmla="*/ 77 w 81"/>
              <a:gd name="T23" fmla="*/ 50 h 85"/>
              <a:gd name="T24" fmla="*/ 79 w 81"/>
              <a:gd name="T25" fmla="*/ 48 h 85"/>
              <a:gd name="T26" fmla="*/ 81 w 81"/>
              <a:gd name="T27" fmla="*/ 34 h 85"/>
              <a:gd name="T28" fmla="*/ 79 w 81"/>
              <a:gd name="T29" fmla="*/ 34 h 85"/>
              <a:gd name="T30" fmla="*/ 73 w 81"/>
              <a:gd name="T31" fmla="*/ 35 h 85"/>
              <a:gd name="T32" fmla="*/ 69 w 81"/>
              <a:gd name="T33" fmla="*/ 37 h 85"/>
              <a:gd name="T34" fmla="*/ 69 w 81"/>
              <a:gd name="T35" fmla="*/ 31 h 85"/>
              <a:gd name="T36" fmla="*/ 66 w 81"/>
              <a:gd name="T37" fmla="*/ 26 h 85"/>
              <a:gd name="T38" fmla="*/ 67 w 81"/>
              <a:gd name="T39" fmla="*/ 16 h 85"/>
              <a:gd name="T40" fmla="*/ 65 w 81"/>
              <a:gd name="T41" fmla="*/ 10 h 85"/>
              <a:gd name="T42" fmla="*/ 61 w 81"/>
              <a:gd name="T43" fmla="*/ 9 h 85"/>
              <a:gd name="T44" fmla="*/ 57 w 81"/>
              <a:gd name="T45" fmla="*/ 8 h 85"/>
              <a:gd name="T46" fmla="*/ 52 w 81"/>
              <a:gd name="T47" fmla="*/ 8 h 85"/>
              <a:gd name="T48" fmla="*/ 49 w 81"/>
              <a:gd name="T49" fmla="*/ 14 h 85"/>
              <a:gd name="T50" fmla="*/ 41 w 81"/>
              <a:gd name="T51" fmla="*/ 15 h 85"/>
              <a:gd name="T52" fmla="*/ 35 w 81"/>
              <a:gd name="T53" fmla="*/ 11 h 85"/>
              <a:gd name="T54" fmla="*/ 33 w 81"/>
              <a:gd name="T55" fmla="*/ 6 h 85"/>
              <a:gd name="T56" fmla="*/ 31 w 81"/>
              <a:gd name="T57" fmla="*/ 0 h 85"/>
              <a:gd name="T58" fmla="*/ 9 w 81"/>
              <a:gd name="T59" fmla="*/ 0 h 85"/>
              <a:gd name="T60" fmla="*/ 5 w 81"/>
              <a:gd name="T61" fmla="*/ 2 h 85"/>
              <a:gd name="T62" fmla="*/ 11 w 81"/>
              <a:gd name="T63" fmla="*/ 16 h 85"/>
              <a:gd name="T64" fmla="*/ 10 w 81"/>
              <a:gd name="T65" fmla="*/ 24 h 85"/>
              <a:gd name="T66" fmla="*/ 14 w 81"/>
              <a:gd name="T67" fmla="*/ 38 h 85"/>
              <a:gd name="T68" fmla="*/ 10 w 81"/>
              <a:gd name="T69" fmla="*/ 48 h 85"/>
              <a:gd name="T70" fmla="*/ 5 w 81"/>
              <a:gd name="T71" fmla="*/ 61 h 85"/>
              <a:gd name="T72" fmla="*/ 1 w 81"/>
              <a:gd name="T73" fmla="*/ 71 h 85"/>
              <a:gd name="T74" fmla="*/ 0 w 81"/>
              <a:gd name="T75" fmla="*/ 80 h 85"/>
              <a:gd name="T76" fmla="*/ 0 w 81"/>
              <a:gd name="T77" fmla="*/ 80 h 85"/>
              <a:gd name="T78" fmla="*/ 2 w 81"/>
              <a:gd name="T79" fmla="*/ 80 h 85"/>
              <a:gd name="T80" fmla="*/ 5 w 81"/>
              <a:gd name="T81" fmla="*/ 7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85">
                <a:moveTo>
                  <a:pt x="5" y="78"/>
                </a:moveTo>
                <a:cubicBezTo>
                  <a:pt x="6" y="78"/>
                  <a:pt x="5" y="81"/>
                  <a:pt x="8" y="80"/>
                </a:cubicBezTo>
                <a:cubicBezTo>
                  <a:pt x="10" y="79"/>
                  <a:pt x="12" y="79"/>
                  <a:pt x="14" y="80"/>
                </a:cubicBezTo>
                <a:cubicBezTo>
                  <a:pt x="16" y="81"/>
                  <a:pt x="18" y="82"/>
                  <a:pt x="20" y="82"/>
                </a:cubicBezTo>
                <a:cubicBezTo>
                  <a:pt x="23" y="82"/>
                  <a:pt x="44" y="82"/>
                  <a:pt x="44" y="82"/>
                </a:cubicBezTo>
                <a:cubicBezTo>
                  <a:pt x="47" y="84"/>
                  <a:pt x="47" y="84"/>
                  <a:pt x="47" y="84"/>
                </a:cubicBezTo>
                <a:cubicBezTo>
                  <a:pt x="47" y="84"/>
                  <a:pt x="60" y="83"/>
                  <a:pt x="62" y="84"/>
                </a:cubicBezTo>
                <a:cubicBezTo>
                  <a:pt x="64" y="85"/>
                  <a:pt x="70" y="84"/>
                  <a:pt x="72" y="83"/>
                </a:cubicBezTo>
                <a:cubicBezTo>
                  <a:pt x="73" y="83"/>
                  <a:pt x="73" y="83"/>
                  <a:pt x="74" y="83"/>
                </a:cubicBezTo>
                <a:cubicBezTo>
                  <a:pt x="66" y="72"/>
                  <a:pt x="66" y="72"/>
                  <a:pt x="66" y="72"/>
                </a:cubicBezTo>
                <a:cubicBezTo>
                  <a:pt x="67" y="49"/>
                  <a:pt x="67" y="49"/>
                  <a:pt x="67" y="49"/>
                </a:cubicBezTo>
                <a:cubicBezTo>
                  <a:pt x="77" y="50"/>
                  <a:pt x="77" y="50"/>
                  <a:pt x="77" y="50"/>
                </a:cubicBezTo>
                <a:cubicBezTo>
                  <a:pt x="79" y="48"/>
                  <a:pt x="79" y="48"/>
                  <a:pt x="79" y="48"/>
                </a:cubicBezTo>
                <a:cubicBezTo>
                  <a:pt x="81" y="34"/>
                  <a:pt x="81" y="34"/>
                  <a:pt x="81" y="34"/>
                </a:cubicBezTo>
                <a:cubicBezTo>
                  <a:pt x="80" y="34"/>
                  <a:pt x="79" y="34"/>
                  <a:pt x="79" y="34"/>
                </a:cubicBezTo>
                <a:cubicBezTo>
                  <a:pt x="77" y="35"/>
                  <a:pt x="75" y="35"/>
                  <a:pt x="73" y="35"/>
                </a:cubicBezTo>
                <a:cubicBezTo>
                  <a:pt x="70" y="35"/>
                  <a:pt x="70" y="37"/>
                  <a:pt x="69" y="37"/>
                </a:cubicBezTo>
                <a:cubicBezTo>
                  <a:pt x="68" y="36"/>
                  <a:pt x="69" y="33"/>
                  <a:pt x="69" y="31"/>
                </a:cubicBezTo>
                <a:cubicBezTo>
                  <a:pt x="69" y="30"/>
                  <a:pt x="67" y="27"/>
                  <a:pt x="66" y="26"/>
                </a:cubicBezTo>
                <a:cubicBezTo>
                  <a:pt x="64" y="24"/>
                  <a:pt x="67" y="17"/>
                  <a:pt x="67" y="16"/>
                </a:cubicBezTo>
                <a:cubicBezTo>
                  <a:pt x="66" y="15"/>
                  <a:pt x="65" y="12"/>
                  <a:pt x="65" y="10"/>
                </a:cubicBezTo>
                <a:cubicBezTo>
                  <a:pt x="65" y="8"/>
                  <a:pt x="64" y="9"/>
                  <a:pt x="61" y="9"/>
                </a:cubicBezTo>
                <a:cubicBezTo>
                  <a:pt x="58" y="9"/>
                  <a:pt x="57" y="8"/>
                  <a:pt x="57" y="8"/>
                </a:cubicBezTo>
                <a:cubicBezTo>
                  <a:pt x="57" y="8"/>
                  <a:pt x="54" y="7"/>
                  <a:pt x="52" y="8"/>
                </a:cubicBezTo>
                <a:cubicBezTo>
                  <a:pt x="50" y="9"/>
                  <a:pt x="50" y="14"/>
                  <a:pt x="49" y="14"/>
                </a:cubicBezTo>
                <a:cubicBezTo>
                  <a:pt x="48" y="14"/>
                  <a:pt x="44" y="14"/>
                  <a:pt x="41" y="15"/>
                </a:cubicBezTo>
                <a:cubicBezTo>
                  <a:pt x="38" y="16"/>
                  <a:pt x="37" y="15"/>
                  <a:pt x="35" y="11"/>
                </a:cubicBezTo>
                <a:cubicBezTo>
                  <a:pt x="34" y="7"/>
                  <a:pt x="32" y="8"/>
                  <a:pt x="33" y="6"/>
                </a:cubicBezTo>
                <a:cubicBezTo>
                  <a:pt x="33" y="3"/>
                  <a:pt x="31" y="0"/>
                  <a:pt x="31" y="0"/>
                </a:cubicBezTo>
                <a:cubicBezTo>
                  <a:pt x="31" y="0"/>
                  <a:pt x="11" y="0"/>
                  <a:pt x="9" y="0"/>
                </a:cubicBezTo>
                <a:cubicBezTo>
                  <a:pt x="8" y="0"/>
                  <a:pt x="7" y="1"/>
                  <a:pt x="5" y="2"/>
                </a:cubicBezTo>
                <a:cubicBezTo>
                  <a:pt x="6" y="7"/>
                  <a:pt x="10" y="15"/>
                  <a:pt x="11" y="16"/>
                </a:cubicBezTo>
                <a:cubicBezTo>
                  <a:pt x="12" y="18"/>
                  <a:pt x="10" y="20"/>
                  <a:pt x="10" y="24"/>
                </a:cubicBezTo>
                <a:cubicBezTo>
                  <a:pt x="10" y="27"/>
                  <a:pt x="14" y="34"/>
                  <a:pt x="14" y="38"/>
                </a:cubicBezTo>
                <a:cubicBezTo>
                  <a:pt x="15" y="42"/>
                  <a:pt x="12" y="45"/>
                  <a:pt x="10" y="48"/>
                </a:cubicBezTo>
                <a:cubicBezTo>
                  <a:pt x="7" y="51"/>
                  <a:pt x="5" y="57"/>
                  <a:pt x="5" y="61"/>
                </a:cubicBezTo>
                <a:cubicBezTo>
                  <a:pt x="5" y="65"/>
                  <a:pt x="1" y="69"/>
                  <a:pt x="1" y="71"/>
                </a:cubicBezTo>
                <a:cubicBezTo>
                  <a:pt x="1" y="73"/>
                  <a:pt x="0" y="78"/>
                  <a:pt x="0" y="80"/>
                </a:cubicBezTo>
                <a:cubicBezTo>
                  <a:pt x="0" y="80"/>
                  <a:pt x="0" y="80"/>
                  <a:pt x="0" y="80"/>
                </a:cubicBezTo>
                <a:cubicBezTo>
                  <a:pt x="2" y="80"/>
                  <a:pt x="2" y="80"/>
                  <a:pt x="2" y="80"/>
                </a:cubicBezTo>
                <a:cubicBezTo>
                  <a:pt x="2" y="80"/>
                  <a:pt x="3" y="78"/>
                  <a:pt x="5" y="7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 name="Freeform 15"/>
          <p:cNvSpPr/>
          <p:nvPr/>
        </p:nvSpPr>
        <p:spPr bwMode="auto">
          <a:xfrm>
            <a:off x="4636567" y="3308798"/>
            <a:ext cx="228600" cy="200025"/>
          </a:xfrm>
          <a:custGeom>
            <a:avLst/>
            <a:gdLst>
              <a:gd name="T0" fmla="*/ 61 w 80"/>
              <a:gd name="T1" fmla="*/ 3 h 70"/>
              <a:gd name="T2" fmla="*/ 56 w 80"/>
              <a:gd name="T3" fmla="*/ 0 h 70"/>
              <a:gd name="T4" fmla="*/ 48 w 80"/>
              <a:gd name="T5" fmla="*/ 1 h 70"/>
              <a:gd name="T6" fmla="*/ 46 w 80"/>
              <a:gd name="T7" fmla="*/ 6 h 70"/>
              <a:gd name="T8" fmla="*/ 45 w 80"/>
              <a:gd name="T9" fmla="*/ 9 h 70"/>
              <a:gd name="T10" fmla="*/ 45 w 80"/>
              <a:gd name="T11" fmla="*/ 17 h 70"/>
              <a:gd name="T12" fmla="*/ 44 w 80"/>
              <a:gd name="T13" fmla="*/ 23 h 70"/>
              <a:gd name="T14" fmla="*/ 48 w 80"/>
              <a:gd name="T15" fmla="*/ 29 h 70"/>
              <a:gd name="T16" fmla="*/ 53 w 80"/>
              <a:gd name="T17" fmla="*/ 27 h 70"/>
              <a:gd name="T18" fmla="*/ 54 w 80"/>
              <a:gd name="T19" fmla="*/ 32 h 70"/>
              <a:gd name="T20" fmla="*/ 52 w 80"/>
              <a:gd name="T21" fmla="*/ 35 h 70"/>
              <a:gd name="T22" fmla="*/ 48 w 80"/>
              <a:gd name="T23" fmla="*/ 35 h 70"/>
              <a:gd name="T24" fmla="*/ 45 w 80"/>
              <a:gd name="T25" fmla="*/ 29 h 70"/>
              <a:gd name="T26" fmla="*/ 40 w 80"/>
              <a:gd name="T27" fmla="*/ 28 h 70"/>
              <a:gd name="T28" fmla="*/ 36 w 80"/>
              <a:gd name="T29" fmla="*/ 24 h 70"/>
              <a:gd name="T30" fmla="*/ 33 w 80"/>
              <a:gd name="T31" fmla="*/ 25 h 70"/>
              <a:gd name="T32" fmla="*/ 30 w 80"/>
              <a:gd name="T33" fmla="*/ 26 h 70"/>
              <a:gd name="T34" fmla="*/ 25 w 80"/>
              <a:gd name="T35" fmla="*/ 25 h 70"/>
              <a:gd name="T36" fmla="*/ 23 w 80"/>
              <a:gd name="T37" fmla="*/ 21 h 70"/>
              <a:gd name="T38" fmla="*/ 18 w 80"/>
              <a:gd name="T39" fmla="*/ 21 h 70"/>
              <a:gd name="T40" fmla="*/ 16 w 80"/>
              <a:gd name="T41" fmla="*/ 20 h 70"/>
              <a:gd name="T42" fmla="*/ 15 w 80"/>
              <a:gd name="T43" fmla="*/ 18 h 70"/>
              <a:gd name="T44" fmla="*/ 13 w 80"/>
              <a:gd name="T45" fmla="*/ 32 h 70"/>
              <a:gd name="T46" fmla="*/ 11 w 80"/>
              <a:gd name="T47" fmla="*/ 34 h 70"/>
              <a:gd name="T48" fmla="*/ 1 w 80"/>
              <a:gd name="T49" fmla="*/ 33 h 70"/>
              <a:gd name="T50" fmla="*/ 0 w 80"/>
              <a:gd name="T51" fmla="*/ 56 h 70"/>
              <a:gd name="T52" fmla="*/ 8 w 80"/>
              <a:gd name="T53" fmla="*/ 67 h 70"/>
              <a:gd name="T54" fmla="*/ 21 w 80"/>
              <a:gd name="T55" fmla="*/ 66 h 70"/>
              <a:gd name="T56" fmla="*/ 21 w 80"/>
              <a:gd name="T57" fmla="*/ 68 h 70"/>
              <a:gd name="T58" fmla="*/ 25 w 80"/>
              <a:gd name="T59" fmla="*/ 67 h 70"/>
              <a:gd name="T60" fmla="*/ 34 w 80"/>
              <a:gd name="T61" fmla="*/ 69 h 70"/>
              <a:gd name="T62" fmla="*/ 41 w 80"/>
              <a:gd name="T63" fmla="*/ 61 h 70"/>
              <a:gd name="T64" fmla="*/ 47 w 80"/>
              <a:gd name="T65" fmla="*/ 56 h 70"/>
              <a:gd name="T66" fmla="*/ 51 w 80"/>
              <a:gd name="T67" fmla="*/ 53 h 70"/>
              <a:gd name="T68" fmla="*/ 57 w 80"/>
              <a:gd name="T69" fmla="*/ 53 h 70"/>
              <a:gd name="T70" fmla="*/ 57 w 80"/>
              <a:gd name="T71" fmla="*/ 53 h 70"/>
              <a:gd name="T72" fmla="*/ 56 w 80"/>
              <a:gd name="T73" fmla="*/ 47 h 70"/>
              <a:gd name="T74" fmla="*/ 75 w 80"/>
              <a:gd name="T75" fmla="*/ 41 h 70"/>
              <a:gd name="T76" fmla="*/ 74 w 80"/>
              <a:gd name="T77" fmla="*/ 37 h 70"/>
              <a:gd name="T78" fmla="*/ 75 w 80"/>
              <a:gd name="T79" fmla="*/ 31 h 70"/>
              <a:gd name="T80" fmla="*/ 78 w 80"/>
              <a:gd name="T81" fmla="*/ 29 h 70"/>
              <a:gd name="T82" fmla="*/ 77 w 80"/>
              <a:gd name="T83" fmla="*/ 18 h 70"/>
              <a:gd name="T84" fmla="*/ 80 w 80"/>
              <a:gd name="T85" fmla="*/ 16 h 70"/>
              <a:gd name="T86" fmla="*/ 77 w 80"/>
              <a:gd name="T87" fmla="*/ 9 h 70"/>
              <a:gd name="T88" fmla="*/ 68 w 80"/>
              <a:gd name="T89" fmla="*/ 5 h 70"/>
              <a:gd name="T90" fmla="*/ 61 w 80"/>
              <a:gd name="T91" fmla="*/ 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 h="70">
                <a:moveTo>
                  <a:pt x="61" y="3"/>
                </a:moveTo>
                <a:cubicBezTo>
                  <a:pt x="60" y="3"/>
                  <a:pt x="58" y="1"/>
                  <a:pt x="56" y="0"/>
                </a:cubicBezTo>
                <a:cubicBezTo>
                  <a:pt x="55" y="1"/>
                  <a:pt x="50" y="1"/>
                  <a:pt x="48" y="1"/>
                </a:cubicBezTo>
                <a:cubicBezTo>
                  <a:pt x="46" y="1"/>
                  <a:pt x="48" y="4"/>
                  <a:pt x="46" y="6"/>
                </a:cubicBezTo>
                <a:cubicBezTo>
                  <a:pt x="45" y="7"/>
                  <a:pt x="44" y="9"/>
                  <a:pt x="45" y="9"/>
                </a:cubicBezTo>
                <a:cubicBezTo>
                  <a:pt x="47" y="10"/>
                  <a:pt x="45" y="15"/>
                  <a:pt x="45" y="17"/>
                </a:cubicBezTo>
                <a:cubicBezTo>
                  <a:pt x="45" y="19"/>
                  <a:pt x="43" y="23"/>
                  <a:pt x="44" y="23"/>
                </a:cubicBezTo>
                <a:cubicBezTo>
                  <a:pt x="44" y="24"/>
                  <a:pt x="46" y="28"/>
                  <a:pt x="48" y="29"/>
                </a:cubicBezTo>
                <a:cubicBezTo>
                  <a:pt x="50" y="29"/>
                  <a:pt x="52" y="27"/>
                  <a:pt x="53" y="27"/>
                </a:cubicBezTo>
                <a:cubicBezTo>
                  <a:pt x="54" y="27"/>
                  <a:pt x="54" y="30"/>
                  <a:pt x="54" y="32"/>
                </a:cubicBezTo>
                <a:cubicBezTo>
                  <a:pt x="54" y="34"/>
                  <a:pt x="52" y="35"/>
                  <a:pt x="52" y="35"/>
                </a:cubicBezTo>
                <a:cubicBezTo>
                  <a:pt x="52" y="35"/>
                  <a:pt x="49" y="36"/>
                  <a:pt x="48" y="35"/>
                </a:cubicBezTo>
                <a:cubicBezTo>
                  <a:pt x="46" y="34"/>
                  <a:pt x="45" y="31"/>
                  <a:pt x="45" y="29"/>
                </a:cubicBezTo>
                <a:cubicBezTo>
                  <a:pt x="45" y="28"/>
                  <a:pt x="41" y="28"/>
                  <a:pt x="40" y="28"/>
                </a:cubicBezTo>
                <a:cubicBezTo>
                  <a:pt x="38" y="28"/>
                  <a:pt x="37" y="25"/>
                  <a:pt x="36" y="24"/>
                </a:cubicBezTo>
                <a:cubicBezTo>
                  <a:pt x="35" y="23"/>
                  <a:pt x="33" y="25"/>
                  <a:pt x="33" y="25"/>
                </a:cubicBezTo>
                <a:cubicBezTo>
                  <a:pt x="33" y="26"/>
                  <a:pt x="32" y="26"/>
                  <a:pt x="30" y="26"/>
                </a:cubicBezTo>
                <a:cubicBezTo>
                  <a:pt x="29" y="26"/>
                  <a:pt x="26" y="24"/>
                  <a:pt x="25" y="25"/>
                </a:cubicBezTo>
                <a:cubicBezTo>
                  <a:pt x="23" y="25"/>
                  <a:pt x="22" y="22"/>
                  <a:pt x="23" y="21"/>
                </a:cubicBezTo>
                <a:cubicBezTo>
                  <a:pt x="23" y="20"/>
                  <a:pt x="19" y="21"/>
                  <a:pt x="18" y="21"/>
                </a:cubicBezTo>
                <a:cubicBezTo>
                  <a:pt x="17" y="22"/>
                  <a:pt x="16" y="20"/>
                  <a:pt x="16" y="20"/>
                </a:cubicBezTo>
                <a:cubicBezTo>
                  <a:pt x="16" y="20"/>
                  <a:pt x="16" y="19"/>
                  <a:pt x="15" y="18"/>
                </a:cubicBezTo>
                <a:cubicBezTo>
                  <a:pt x="13" y="32"/>
                  <a:pt x="13" y="32"/>
                  <a:pt x="13" y="32"/>
                </a:cubicBezTo>
                <a:cubicBezTo>
                  <a:pt x="11" y="34"/>
                  <a:pt x="11" y="34"/>
                  <a:pt x="11" y="34"/>
                </a:cubicBezTo>
                <a:cubicBezTo>
                  <a:pt x="1" y="33"/>
                  <a:pt x="1" y="33"/>
                  <a:pt x="1" y="33"/>
                </a:cubicBezTo>
                <a:cubicBezTo>
                  <a:pt x="0" y="56"/>
                  <a:pt x="0" y="56"/>
                  <a:pt x="0" y="56"/>
                </a:cubicBezTo>
                <a:cubicBezTo>
                  <a:pt x="8" y="67"/>
                  <a:pt x="8" y="67"/>
                  <a:pt x="8" y="67"/>
                </a:cubicBezTo>
                <a:cubicBezTo>
                  <a:pt x="12" y="66"/>
                  <a:pt x="21" y="65"/>
                  <a:pt x="21" y="66"/>
                </a:cubicBezTo>
                <a:cubicBezTo>
                  <a:pt x="21" y="67"/>
                  <a:pt x="21" y="67"/>
                  <a:pt x="21" y="68"/>
                </a:cubicBezTo>
                <a:cubicBezTo>
                  <a:pt x="23" y="68"/>
                  <a:pt x="24" y="67"/>
                  <a:pt x="25" y="67"/>
                </a:cubicBezTo>
                <a:cubicBezTo>
                  <a:pt x="27" y="68"/>
                  <a:pt x="32" y="70"/>
                  <a:pt x="34" y="69"/>
                </a:cubicBezTo>
                <a:cubicBezTo>
                  <a:pt x="35" y="68"/>
                  <a:pt x="38" y="62"/>
                  <a:pt x="41" y="61"/>
                </a:cubicBezTo>
                <a:cubicBezTo>
                  <a:pt x="43" y="60"/>
                  <a:pt x="47" y="57"/>
                  <a:pt x="47" y="56"/>
                </a:cubicBezTo>
                <a:cubicBezTo>
                  <a:pt x="47" y="55"/>
                  <a:pt x="47" y="54"/>
                  <a:pt x="51" y="53"/>
                </a:cubicBezTo>
                <a:cubicBezTo>
                  <a:pt x="57" y="53"/>
                  <a:pt x="57" y="53"/>
                  <a:pt x="57" y="53"/>
                </a:cubicBezTo>
                <a:cubicBezTo>
                  <a:pt x="57" y="53"/>
                  <a:pt x="57" y="53"/>
                  <a:pt x="57" y="53"/>
                </a:cubicBezTo>
                <a:cubicBezTo>
                  <a:pt x="56" y="47"/>
                  <a:pt x="56" y="47"/>
                  <a:pt x="56" y="47"/>
                </a:cubicBezTo>
                <a:cubicBezTo>
                  <a:pt x="56" y="47"/>
                  <a:pt x="74" y="41"/>
                  <a:pt x="75" y="41"/>
                </a:cubicBezTo>
                <a:cubicBezTo>
                  <a:pt x="74" y="39"/>
                  <a:pt x="73" y="38"/>
                  <a:pt x="74" y="37"/>
                </a:cubicBezTo>
                <a:cubicBezTo>
                  <a:pt x="74" y="37"/>
                  <a:pt x="75" y="32"/>
                  <a:pt x="75" y="31"/>
                </a:cubicBezTo>
                <a:cubicBezTo>
                  <a:pt x="75" y="29"/>
                  <a:pt x="79" y="30"/>
                  <a:pt x="78" y="29"/>
                </a:cubicBezTo>
                <a:cubicBezTo>
                  <a:pt x="76" y="28"/>
                  <a:pt x="77" y="20"/>
                  <a:pt x="77" y="18"/>
                </a:cubicBezTo>
                <a:cubicBezTo>
                  <a:pt x="78" y="16"/>
                  <a:pt x="80" y="18"/>
                  <a:pt x="80" y="16"/>
                </a:cubicBezTo>
                <a:cubicBezTo>
                  <a:pt x="80" y="15"/>
                  <a:pt x="78" y="10"/>
                  <a:pt x="77" y="9"/>
                </a:cubicBezTo>
                <a:cubicBezTo>
                  <a:pt x="76" y="8"/>
                  <a:pt x="70" y="5"/>
                  <a:pt x="68" y="5"/>
                </a:cubicBezTo>
                <a:cubicBezTo>
                  <a:pt x="66" y="5"/>
                  <a:pt x="63" y="3"/>
                  <a:pt x="61"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 name="Freeform 16"/>
          <p:cNvSpPr/>
          <p:nvPr/>
        </p:nvSpPr>
        <p:spPr bwMode="auto">
          <a:xfrm>
            <a:off x="4773092" y="3167510"/>
            <a:ext cx="38100" cy="33338"/>
          </a:xfrm>
          <a:custGeom>
            <a:avLst/>
            <a:gdLst>
              <a:gd name="T0" fmla="*/ 11 w 13"/>
              <a:gd name="T1" fmla="*/ 0 h 12"/>
              <a:gd name="T2" fmla="*/ 7 w 13"/>
              <a:gd name="T3" fmla="*/ 2 h 12"/>
              <a:gd name="T4" fmla="*/ 3 w 13"/>
              <a:gd name="T5" fmla="*/ 2 h 12"/>
              <a:gd name="T6" fmla="*/ 2 w 13"/>
              <a:gd name="T7" fmla="*/ 3 h 12"/>
              <a:gd name="T8" fmla="*/ 1 w 13"/>
              <a:gd name="T9" fmla="*/ 7 h 12"/>
              <a:gd name="T10" fmla="*/ 0 w 13"/>
              <a:gd name="T11" fmla="*/ 9 h 12"/>
              <a:gd name="T12" fmla="*/ 1 w 13"/>
              <a:gd name="T13" fmla="*/ 11 h 12"/>
              <a:gd name="T14" fmla="*/ 3 w 13"/>
              <a:gd name="T15" fmla="*/ 11 h 12"/>
              <a:gd name="T16" fmla="*/ 7 w 13"/>
              <a:gd name="T17" fmla="*/ 9 h 12"/>
              <a:gd name="T18" fmla="*/ 13 w 13"/>
              <a:gd name="T19" fmla="*/ 8 h 12"/>
              <a:gd name="T20" fmla="*/ 12 w 13"/>
              <a:gd name="T21" fmla="*/ 3 h 12"/>
              <a:gd name="T22" fmla="*/ 11 w 13"/>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2">
                <a:moveTo>
                  <a:pt x="11" y="0"/>
                </a:moveTo>
                <a:cubicBezTo>
                  <a:pt x="9" y="1"/>
                  <a:pt x="7" y="1"/>
                  <a:pt x="7" y="2"/>
                </a:cubicBezTo>
                <a:cubicBezTo>
                  <a:pt x="6" y="2"/>
                  <a:pt x="5" y="2"/>
                  <a:pt x="3" y="2"/>
                </a:cubicBezTo>
                <a:cubicBezTo>
                  <a:pt x="3" y="2"/>
                  <a:pt x="3" y="3"/>
                  <a:pt x="2" y="3"/>
                </a:cubicBezTo>
                <a:cubicBezTo>
                  <a:pt x="1" y="3"/>
                  <a:pt x="1" y="7"/>
                  <a:pt x="1" y="7"/>
                </a:cubicBezTo>
                <a:cubicBezTo>
                  <a:pt x="1" y="7"/>
                  <a:pt x="0" y="7"/>
                  <a:pt x="0" y="9"/>
                </a:cubicBezTo>
                <a:cubicBezTo>
                  <a:pt x="0" y="10"/>
                  <a:pt x="0" y="11"/>
                  <a:pt x="1" y="11"/>
                </a:cubicBezTo>
                <a:cubicBezTo>
                  <a:pt x="2" y="11"/>
                  <a:pt x="3" y="11"/>
                  <a:pt x="3" y="11"/>
                </a:cubicBezTo>
                <a:cubicBezTo>
                  <a:pt x="7" y="12"/>
                  <a:pt x="7" y="9"/>
                  <a:pt x="7" y="9"/>
                </a:cubicBezTo>
                <a:cubicBezTo>
                  <a:pt x="7" y="9"/>
                  <a:pt x="12" y="10"/>
                  <a:pt x="13" y="8"/>
                </a:cubicBezTo>
                <a:cubicBezTo>
                  <a:pt x="13" y="6"/>
                  <a:pt x="12" y="3"/>
                  <a:pt x="12" y="3"/>
                </a:cubicBezTo>
                <a:lnTo>
                  <a:pt x="11" y="0"/>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 name="Freeform 17"/>
          <p:cNvSpPr/>
          <p:nvPr/>
        </p:nvSpPr>
        <p:spPr bwMode="auto">
          <a:xfrm>
            <a:off x="5008042" y="2905573"/>
            <a:ext cx="204788" cy="273050"/>
          </a:xfrm>
          <a:custGeom>
            <a:avLst/>
            <a:gdLst>
              <a:gd name="T0" fmla="*/ 17 w 72"/>
              <a:gd name="T1" fmla="*/ 18 h 96"/>
              <a:gd name="T2" fmla="*/ 22 w 72"/>
              <a:gd name="T3" fmla="*/ 22 h 96"/>
              <a:gd name="T4" fmla="*/ 36 w 72"/>
              <a:gd name="T5" fmla="*/ 27 h 96"/>
              <a:gd name="T6" fmla="*/ 45 w 72"/>
              <a:gd name="T7" fmla="*/ 29 h 96"/>
              <a:gd name="T8" fmla="*/ 47 w 72"/>
              <a:gd name="T9" fmla="*/ 31 h 96"/>
              <a:gd name="T10" fmla="*/ 29 w 72"/>
              <a:gd name="T11" fmla="*/ 49 h 96"/>
              <a:gd name="T12" fmla="*/ 22 w 72"/>
              <a:gd name="T13" fmla="*/ 50 h 96"/>
              <a:gd name="T14" fmla="*/ 13 w 72"/>
              <a:gd name="T15" fmla="*/ 55 h 96"/>
              <a:gd name="T16" fmla="*/ 7 w 72"/>
              <a:gd name="T17" fmla="*/ 56 h 96"/>
              <a:gd name="T18" fmla="*/ 4 w 72"/>
              <a:gd name="T19" fmla="*/ 61 h 96"/>
              <a:gd name="T20" fmla="*/ 0 w 72"/>
              <a:gd name="T21" fmla="*/ 66 h 96"/>
              <a:gd name="T22" fmla="*/ 1 w 72"/>
              <a:gd name="T23" fmla="*/ 90 h 96"/>
              <a:gd name="T24" fmla="*/ 4 w 72"/>
              <a:gd name="T25" fmla="*/ 96 h 96"/>
              <a:gd name="T26" fmla="*/ 20 w 72"/>
              <a:gd name="T27" fmla="*/ 80 h 96"/>
              <a:gd name="T28" fmla="*/ 32 w 72"/>
              <a:gd name="T29" fmla="*/ 70 h 96"/>
              <a:gd name="T30" fmla="*/ 49 w 72"/>
              <a:gd name="T31" fmla="*/ 54 h 96"/>
              <a:gd name="T32" fmla="*/ 57 w 72"/>
              <a:gd name="T33" fmla="*/ 41 h 96"/>
              <a:gd name="T34" fmla="*/ 63 w 72"/>
              <a:gd name="T35" fmla="*/ 30 h 96"/>
              <a:gd name="T36" fmla="*/ 69 w 72"/>
              <a:gd name="T37" fmla="*/ 17 h 96"/>
              <a:gd name="T38" fmla="*/ 72 w 72"/>
              <a:gd name="T39" fmla="*/ 5 h 96"/>
              <a:gd name="T40" fmla="*/ 67 w 72"/>
              <a:gd name="T41" fmla="*/ 2 h 96"/>
              <a:gd name="T42" fmla="*/ 52 w 72"/>
              <a:gd name="T43" fmla="*/ 6 h 96"/>
              <a:gd name="T44" fmla="*/ 41 w 72"/>
              <a:gd name="T45" fmla="*/ 9 h 96"/>
              <a:gd name="T46" fmla="*/ 32 w 72"/>
              <a:gd name="T47" fmla="*/ 11 h 96"/>
              <a:gd name="T48" fmla="*/ 20 w 72"/>
              <a:gd name="T49" fmla="*/ 10 h 96"/>
              <a:gd name="T50" fmla="*/ 17 w 72"/>
              <a:gd name="T51" fmla="*/ 6 h 96"/>
              <a:gd name="T52" fmla="*/ 13 w 72"/>
              <a:gd name="T53" fmla="*/ 12 h 96"/>
              <a:gd name="T54" fmla="*/ 17 w 72"/>
              <a:gd name="T55"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96">
                <a:moveTo>
                  <a:pt x="17" y="18"/>
                </a:moveTo>
                <a:cubicBezTo>
                  <a:pt x="18" y="19"/>
                  <a:pt x="20" y="22"/>
                  <a:pt x="22" y="22"/>
                </a:cubicBezTo>
                <a:cubicBezTo>
                  <a:pt x="23" y="22"/>
                  <a:pt x="31" y="25"/>
                  <a:pt x="36" y="27"/>
                </a:cubicBezTo>
                <a:cubicBezTo>
                  <a:pt x="40" y="29"/>
                  <a:pt x="44" y="29"/>
                  <a:pt x="45" y="29"/>
                </a:cubicBezTo>
                <a:cubicBezTo>
                  <a:pt x="47" y="29"/>
                  <a:pt x="49" y="30"/>
                  <a:pt x="47" y="31"/>
                </a:cubicBezTo>
                <a:cubicBezTo>
                  <a:pt x="46" y="32"/>
                  <a:pt x="31" y="47"/>
                  <a:pt x="29" y="49"/>
                </a:cubicBezTo>
                <a:cubicBezTo>
                  <a:pt x="27" y="51"/>
                  <a:pt x="26" y="50"/>
                  <a:pt x="22" y="50"/>
                </a:cubicBezTo>
                <a:cubicBezTo>
                  <a:pt x="17" y="50"/>
                  <a:pt x="14" y="55"/>
                  <a:pt x="13" y="55"/>
                </a:cubicBezTo>
                <a:cubicBezTo>
                  <a:pt x="12" y="55"/>
                  <a:pt x="9" y="55"/>
                  <a:pt x="7" y="56"/>
                </a:cubicBezTo>
                <a:cubicBezTo>
                  <a:pt x="4" y="61"/>
                  <a:pt x="4" y="61"/>
                  <a:pt x="4" y="61"/>
                </a:cubicBezTo>
                <a:cubicBezTo>
                  <a:pt x="0" y="66"/>
                  <a:pt x="0" y="66"/>
                  <a:pt x="0" y="66"/>
                </a:cubicBezTo>
                <a:cubicBezTo>
                  <a:pt x="1" y="90"/>
                  <a:pt x="1" y="90"/>
                  <a:pt x="1" y="90"/>
                </a:cubicBezTo>
                <a:cubicBezTo>
                  <a:pt x="4" y="96"/>
                  <a:pt x="4" y="96"/>
                  <a:pt x="4" y="96"/>
                </a:cubicBezTo>
                <a:cubicBezTo>
                  <a:pt x="7" y="92"/>
                  <a:pt x="14" y="85"/>
                  <a:pt x="20" y="80"/>
                </a:cubicBezTo>
                <a:cubicBezTo>
                  <a:pt x="25" y="73"/>
                  <a:pt x="28" y="72"/>
                  <a:pt x="32" y="70"/>
                </a:cubicBezTo>
                <a:cubicBezTo>
                  <a:pt x="35" y="69"/>
                  <a:pt x="43" y="61"/>
                  <a:pt x="49" y="54"/>
                </a:cubicBezTo>
                <a:cubicBezTo>
                  <a:pt x="52" y="49"/>
                  <a:pt x="56" y="44"/>
                  <a:pt x="57" y="41"/>
                </a:cubicBezTo>
                <a:cubicBezTo>
                  <a:pt x="57" y="38"/>
                  <a:pt x="60" y="33"/>
                  <a:pt x="63" y="30"/>
                </a:cubicBezTo>
                <a:cubicBezTo>
                  <a:pt x="65" y="27"/>
                  <a:pt x="69" y="19"/>
                  <a:pt x="69" y="17"/>
                </a:cubicBezTo>
                <a:cubicBezTo>
                  <a:pt x="69" y="14"/>
                  <a:pt x="71" y="9"/>
                  <a:pt x="72" y="5"/>
                </a:cubicBezTo>
                <a:cubicBezTo>
                  <a:pt x="72" y="0"/>
                  <a:pt x="68" y="0"/>
                  <a:pt x="67" y="2"/>
                </a:cubicBezTo>
                <a:cubicBezTo>
                  <a:pt x="66" y="5"/>
                  <a:pt x="57" y="6"/>
                  <a:pt x="52" y="6"/>
                </a:cubicBezTo>
                <a:cubicBezTo>
                  <a:pt x="46" y="7"/>
                  <a:pt x="43" y="7"/>
                  <a:pt x="41" y="9"/>
                </a:cubicBezTo>
                <a:cubicBezTo>
                  <a:pt x="39" y="11"/>
                  <a:pt x="33" y="8"/>
                  <a:pt x="32" y="11"/>
                </a:cubicBezTo>
                <a:cubicBezTo>
                  <a:pt x="30" y="13"/>
                  <a:pt x="23" y="15"/>
                  <a:pt x="20" y="10"/>
                </a:cubicBezTo>
                <a:cubicBezTo>
                  <a:pt x="19" y="8"/>
                  <a:pt x="18" y="6"/>
                  <a:pt x="17" y="6"/>
                </a:cubicBezTo>
                <a:cubicBezTo>
                  <a:pt x="15" y="8"/>
                  <a:pt x="12" y="11"/>
                  <a:pt x="13" y="12"/>
                </a:cubicBezTo>
                <a:cubicBezTo>
                  <a:pt x="13" y="13"/>
                  <a:pt x="16" y="17"/>
                  <a:pt x="17" y="1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 name="Freeform 18"/>
          <p:cNvSpPr/>
          <p:nvPr/>
        </p:nvSpPr>
        <p:spPr bwMode="auto">
          <a:xfrm>
            <a:off x="3961880" y="2407098"/>
            <a:ext cx="236538" cy="187325"/>
          </a:xfrm>
          <a:custGeom>
            <a:avLst/>
            <a:gdLst>
              <a:gd name="T0" fmla="*/ 30 w 83"/>
              <a:gd name="T1" fmla="*/ 66 h 66"/>
              <a:gd name="T2" fmla="*/ 30 w 83"/>
              <a:gd name="T3" fmla="*/ 56 h 66"/>
              <a:gd name="T4" fmla="*/ 41 w 83"/>
              <a:gd name="T5" fmla="*/ 49 h 66"/>
              <a:gd name="T6" fmla="*/ 46 w 83"/>
              <a:gd name="T7" fmla="*/ 48 h 66"/>
              <a:gd name="T8" fmla="*/ 52 w 83"/>
              <a:gd name="T9" fmla="*/ 46 h 66"/>
              <a:gd name="T10" fmla="*/ 55 w 83"/>
              <a:gd name="T11" fmla="*/ 42 h 66"/>
              <a:gd name="T12" fmla="*/ 60 w 83"/>
              <a:gd name="T13" fmla="*/ 40 h 66"/>
              <a:gd name="T14" fmla="*/ 63 w 83"/>
              <a:gd name="T15" fmla="*/ 38 h 66"/>
              <a:gd name="T16" fmla="*/ 64 w 83"/>
              <a:gd name="T17" fmla="*/ 34 h 66"/>
              <a:gd name="T18" fmla="*/ 67 w 83"/>
              <a:gd name="T19" fmla="*/ 32 h 66"/>
              <a:gd name="T20" fmla="*/ 71 w 83"/>
              <a:gd name="T21" fmla="*/ 30 h 66"/>
              <a:gd name="T22" fmla="*/ 81 w 83"/>
              <a:gd name="T23" fmla="*/ 29 h 66"/>
              <a:gd name="T24" fmla="*/ 82 w 83"/>
              <a:gd name="T25" fmla="*/ 27 h 66"/>
              <a:gd name="T26" fmla="*/ 80 w 83"/>
              <a:gd name="T27" fmla="*/ 22 h 66"/>
              <a:gd name="T28" fmla="*/ 79 w 83"/>
              <a:gd name="T29" fmla="*/ 16 h 66"/>
              <a:gd name="T30" fmla="*/ 77 w 83"/>
              <a:gd name="T31" fmla="*/ 9 h 66"/>
              <a:gd name="T32" fmla="*/ 76 w 83"/>
              <a:gd name="T33" fmla="*/ 6 h 66"/>
              <a:gd name="T34" fmla="*/ 68 w 83"/>
              <a:gd name="T35" fmla="*/ 5 h 66"/>
              <a:gd name="T36" fmla="*/ 56 w 83"/>
              <a:gd name="T37" fmla="*/ 3 h 66"/>
              <a:gd name="T38" fmla="*/ 50 w 83"/>
              <a:gd name="T39" fmla="*/ 0 h 66"/>
              <a:gd name="T40" fmla="*/ 42 w 83"/>
              <a:gd name="T41" fmla="*/ 14 h 66"/>
              <a:gd name="T42" fmla="*/ 32 w 83"/>
              <a:gd name="T43" fmla="*/ 19 h 66"/>
              <a:gd name="T44" fmla="*/ 27 w 83"/>
              <a:gd name="T45" fmla="*/ 25 h 66"/>
              <a:gd name="T46" fmla="*/ 23 w 83"/>
              <a:gd name="T47" fmla="*/ 32 h 66"/>
              <a:gd name="T48" fmla="*/ 23 w 83"/>
              <a:gd name="T49" fmla="*/ 42 h 66"/>
              <a:gd name="T50" fmla="*/ 15 w 83"/>
              <a:gd name="T51" fmla="*/ 54 h 66"/>
              <a:gd name="T52" fmla="*/ 5 w 83"/>
              <a:gd name="T53" fmla="*/ 60 h 66"/>
              <a:gd name="T54" fmla="*/ 0 w 83"/>
              <a:gd name="T55" fmla="*/ 63 h 66"/>
              <a:gd name="T56" fmla="*/ 25 w 83"/>
              <a:gd name="T57" fmla="*/ 63 h 66"/>
              <a:gd name="T58" fmla="*/ 30 w 83"/>
              <a:gd name="T5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66">
                <a:moveTo>
                  <a:pt x="30" y="66"/>
                </a:moveTo>
                <a:cubicBezTo>
                  <a:pt x="30" y="61"/>
                  <a:pt x="30" y="57"/>
                  <a:pt x="30" y="56"/>
                </a:cubicBezTo>
                <a:cubicBezTo>
                  <a:pt x="30" y="55"/>
                  <a:pt x="39" y="50"/>
                  <a:pt x="41" y="49"/>
                </a:cubicBezTo>
                <a:cubicBezTo>
                  <a:pt x="43" y="48"/>
                  <a:pt x="46" y="49"/>
                  <a:pt x="46" y="48"/>
                </a:cubicBezTo>
                <a:cubicBezTo>
                  <a:pt x="46" y="46"/>
                  <a:pt x="49" y="47"/>
                  <a:pt x="52" y="46"/>
                </a:cubicBezTo>
                <a:cubicBezTo>
                  <a:pt x="54" y="46"/>
                  <a:pt x="55" y="44"/>
                  <a:pt x="55" y="42"/>
                </a:cubicBezTo>
                <a:cubicBezTo>
                  <a:pt x="55" y="40"/>
                  <a:pt x="58" y="41"/>
                  <a:pt x="60" y="40"/>
                </a:cubicBezTo>
                <a:cubicBezTo>
                  <a:pt x="62" y="40"/>
                  <a:pt x="62" y="38"/>
                  <a:pt x="63" y="38"/>
                </a:cubicBezTo>
                <a:cubicBezTo>
                  <a:pt x="65" y="38"/>
                  <a:pt x="64" y="36"/>
                  <a:pt x="64" y="34"/>
                </a:cubicBezTo>
                <a:cubicBezTo>
                  <a:pt x="65" y="32"/>
                  <a:pt x="65" y="32"/>
                  <a:pt x="67" y="32"/>
                </a:cubicBezTo>
                <a:cubicBezTo>
                  <a:pt x="69" y="32"/>
                  <a:pt x="71" y="31"/>
                  <a:pt x="71" y="30"/>
                </a:cubicBezTo>
                <a:cubicBezTo>
                  <a:pt x="71" y="29"/>
                  <a:pt x="79" y="29"/>
                  <a:pt x="81" y="29"/>
                </a:cubicBezTo>
                <a:cubicBezTo>
                  <a:pt x="82" y="29"/>
                  <a:pt x="83" y="28"/>
                  <a:pt x="82" y="27"/>
                </a:cubicBezTo>
                <a:cubicBezTo>
                  <a:pt x="82" y="26"/>
                  <a:pt x="81" y="22"/>
                  <a:pt x="80" y="22"/>
                </a:cubicBezTo>
                <a:cubicBezTo>
                  <a:pt x="78" y="22"/>
                  <a:pt x="79" y="18"/>
                  <a:pt x="79" y="16"/>
                </a:cubicBezTo>
                <a:cubicBezTo>
                  <a:pt x="79" y="13"/>
                  <a:pt x="79" y="11"/>
                  <a:pt x="77" y="9"/>
                </a:cubicBezTo>
                <a:cubicBezTo>
                  <a:pt x="77" y="8"/>
                  <a:pt x="76" y="7"/>
                  <a:pt x="76" y="6"/>
                </a:cubicBezTo>
                <a:cubicBezTo>
                  <a:pt x="74" y="7"/>
                  <a:pt x="71" y="5"/>
                  <a:pt x="68" y="5"/>
                </a:cubicBezTo>
                <a:cubicBezTo>
                  <a:pt x="64" y="5"/>
                  <a:pt x="59" y="6"/>
                  <a:pt x="56" y="3"/>
                </a:cubicBezTo>
                <a:cubicBezTo>
                  <a:pt x="54" y="0"/>
                  <a:pt x="52" y="0"/>
                  <a:pt x="50" y="0"/>
                </a:cubicBezTo>
                <a:cubicBezTo>
                  <a:pt x="48" y="1"/>
                  <a:pt x="44" y="12"/>
                  <a:pt x="42" y="14"/>
                </a:cubicBezTo>
                <a:cubicBezTo>
                  <a:pt x="40" y="17"/>
                  <a:pt x="35" y="19"/>
                  <a:pt x="32" y="19"/>
                </a:cubicBezTo>
                <a:cubicBezTo>
                  <a:pt x="29" y="19"/>
                  <a:pt x="29" y="24"/>
                  <a:pt x="27" y="25"/>
                </a:cubicBezTo>
                <a:cubicBezTo>
                  <a:pt x="25" y="27"/>
                  <a:pt x="25" y="30"/>
                  <a:pt x="23" y="32"/>
                </a:cubicBezTo>
                <a:cubicBezTo>
                  <a:pt x="20" y="34"/>
                  <a:pt x="22" y="40"/>
                  <a:pt x="23" y="42"/>
                </a:cubicBezTo>
                <a:cubicBezTo>
                  <a:pt x="24" y="45"/>
                  <a:pt x="18" y="52"/>
                  <a:pt x="15" y="54"/>
                </a:cubicBezTo>
                <a:cubicBezTo>
                  <a:pt x="11" y="56"/>
                  <a:pt x="10" y="60"/>
                  <a:pt x="5" y="60"/>
                </a:cubicBezTo>
                <a:cubicBezTo>
                  <a:pt x="2" y="61"/>
                  <a:pt x="1" y="62"/>
                  <a:pt x="0" y="63"/>
                </a:cubicBezTo>
                <a:cubicBezTo>
                  <a:pt x="8" y="63"/>
                  <a:pt x="21" y="63"/>
                  <a:pt x="25" y="63"/>
                </a:cubicBezTo>
                <a:cubicBezTo>
                  <a:pt x="31" y="63"/>
                  <a:pt x="29" y="64"/>
                  <a:pt x="30" y="6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 name="Freeform 19"/>
          <p:cNvSpPr/>
          <p:nvPr/>
        </p:nvSpPr>
        <p:spPr bwMode="auto">
          <a:xfrm>
            <a:off x="4363517" y="2372173"/>
            <a:ext cx="82550" cy="160338"/>
          </a:xfrm>
          <a:custGeom>
            <a:avLst/>
            <a:gdLst>
              <a:gd name="T0" fmla="*/ 8 w 29"/>
              <a:gd name="T1" fmla="*/ 14 h 56"/>
              <a:gd name="T2" fmla="*/ 6 w 29"/>
              <a:gd name="T3" fmla="*/ 21 h 56"/>
              <a:gd name="T4" fmla="*/ 1 w 29"/>
              <a:gd name="T5" fmla="*/ 26 h 56"/>
              <a:gd name="T6" fmla="*/ 4 w 29"/>
              <a:gd name="T7" fmla="*/ 33 h 56"/>
              <a:gd name="T8" fmla="*/ 7 w 29"/>
              <a:gd name="T9" fmla="*/ 37 h 56"/>
              <a:gd name="T10" fmla="*/ 12 w 29"/>
              <a:gd name="T11" fmla="*/ 42 h 56"/>
              <a:gd name="T12" fmla="*/ 16 w 29"/>
              <a:gd name="T13" fmla="*/ 54 h 56"/>
              <a:gd name="T14" fmla="*/ 16 w 29"/>
              <a:gd name="T15" fmla="*/ 56 h 56"/>
              <a:gd name="T16" fmla="*/ 19 w 29"/>
              <a:gd name="T17" fmla="*/ 53 h 56"/>
              <a:gd name="T18" fmla="*/ 20 w 29"/>
              <a:gd name="T19" fmla="*/ 48 h 56"/>
              <a:gd name="T20" fmla="*/ 21 w 29"/>
              <a:gd name="T21" fmla="*/ 44 h 56"/>
              <a:gd name="T22" fmla="*/ 26 w 29"/>
              <a:gd name="T23" fmla="*/ 40 h 56"/>
              <a:gd name="T24" fmla="*/ 29 w 29"/>
              <a:gd name="T25" fmla="*/ 37 h 56"/>
              <a:gd name="T26" fmla="*/ 29 w 29"/>
              <a:gd name="T27" fmla="*/ 34 h 56"/>
              <a:gd name="T28" fmla="*/ 27 w 29"/>
              <a:gd name="T29" fmla="*/ 31 h 56"/>
              <a:gd name="T30" fmla="*/ 24 w 29"/>
              <a:gd name="T31" fmla="*/ 29 h 56"/>
              <a:gd name="T32" fmla="*/ 19 w 29"/>
              <a:gd name="T33" fmla="*/ 26 h 56"/>
              <a:gd name="T34" fmla="*/ 24 w 29"/>
              <a:gd name="T35" fmla="*/ 21 h 56"/>
              <a:gd name="T36" fmla="*/ 24 w 29"/>
              <a:gd name="T37" fmla="*/ 12 h 56"/>
              <a:gd name="T38" fmla="*/ 25 w 29"/>
              <a:gd name="T39" fmla="*/ 6 h 56"/>
              <a:gd name="T40" fmla="*/ 24 w 29"/>
              <a:gd name="T41" fmla="*/ 4 h 56"/>
              <a:gd name="T42" fmla="*/ 21 w 29"/>
              <a:gd name="T43" fmla="*/ 3 h 56"/>
              <a:gd name="T44" fmla="*/ 12 w 29"/>
              <a:gd name="T45" fmla="*/ 2 h 56"/>
              <a:gd name="T46" fmla="*/ 8 w 29"/>
              <a:gd name="T47" fmla="*/ 3 h 56"/>
              <a:gd name="T48" fmla="*/ 8 w 29"/>
              <a:gd name="T49" fmla="*/ 1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56">
                <a:moveTo>
                  <a:pt x="8" y="14"/>
                </a:moveTo>
                <a:cubicBezTo>
                  <a:pt x="10" y="16"/>
                  <a:pt x="8" y="20"/>
                  <a:pt x="6" y="21"/>
                </a:cubicBezTo>
                <a:cubicBezTo>
                  <a:pt x="4" y="22"/>
                  <a:pt x="3" y="26"/>
                  <a:pt x="1" y="26"/>
                </a:cubicBezTo>
                <a:cubicBezTo>
                  <a:pt x="0" y="26"/>
                  <a:pt x="1" y="32"/>
                  <a:pt x="4" y="33"/>
                </a:cubicBezTo>
                <a:cubicBezTo>
                  <a:pt x="7" y="34"/>
                  <a:pt x="7" y="36"/>
                  <a:pt x="7" y="37"/>
                </a:cubicBezTo>
                <a:cubicBezTo>
                  <a:pt x="7" y="39"/>
                  <a:pt x="11" y="40"/>
                  <a:pt x="12" y="42"/>
                </a:cubicBezTo>
                <a:cubicBezTo>
                  <a:pt x="14" y="43"/>
                  <a:pt x="16" y="51"/>
                  <a:pt x="16" y="54"/>
                </a:cubicBezTo>
                <a:cubicBezTo>
                  <a:pt x="16" y="54"/>
                  <a:pt x="16" y="55"/>
                  <a:pt x="16" y="56"/>
                </a:cubicBezTo>
                <a:cubicBezTo>
                  <a:pt x="17" y="55"/>
                  <a:pt x="19" y="54"/>
                  <a:pt x="19" y="53"/>
                </a:cubicBezTo>
                <a:cubicBezTo>
                  <a:pt x="20" y="51"/>
                  <a:pt x="21" y="48"/>
                  <a:pt x="20" y="48"/>
                </a:cubicBezTo>
                <a:cubicBezTo>
                  <a:pt x="20" y="47"/>
                  <a:pt x="20" y="45"/>
                  <a:pt x="21" y="44"/>
                </a:cubicBezTo>
                <a:cubicBezTo>
                  <a:pt x="22" y="44"/>
                  <a:pt x="26" y="40"/>
                  <a:pt x="26" y="40"/>
                </a:cubicBezTo>
                <a:cubicBezTo>
                  <a:pt x="27" y="39"/>
                  <a:pt x="29" y="40"/>
                  <a:pt x="29" y="37"/>
                </a:cubicBezTo>
                <a:cubicBezTo>
                  <a:pt x="29" y="36"/>
                  <a:pt x="29" y="35"/>
                  <a:pt x="29" y="34"/>
                </a:cubicBezTo>
                <a:cubicBezTo>
                  <a:pt x="28" y="33"/>
                  <a:pt x="27" y="31"/>
                  <a:pt x="27" y="31"/>
                </a:cubicBezTo>
                <a:cubicBezTo>
                  <a:pt x="27" y="30"/>
                  <a:pt x="25" y="27"/>
                  <a:pt x="24" y="29"/>
                </a:cubicBezTo>
                <a:cubicBezTo>
                  <a:pt x="23" y="30"/>
                  <a:pt x="19" y="29"/>
                  <a:pt x="19" y="26"/>
                </a:cubicBezTo>
                <a:cubicBezTo>
                  <a:pt x="18" y="24"/>
                  <a:pt x="21" y="24"/>
                  <a:pt x="24" y="21"/>
                </a:cubicBezTo>
                <a:cubicBezTo>
                  <a:pt x="27" y="19"/>
                  <a:pt x="27" y="15"/>
                  <a:pt x="24" y="12"/>
                </a:cubicBezTo>
                <a:cubicBezTo>
                  <a:pt x="21" y="10"/>
                  <a:pt x="23" y="8"/>
                  <a:pt x="25" y="6"/>
                </a:cubicBezTo>
                <a:cubicBezTo>
                  <a:pt x="27" y="4"/>
                  <a:pt x="26" y="3"/>
                  <a:pt x="24" y="4"/>
                </a:cubicBezTo>
                <a:cubicBezTo>
                  <a:pt x="23" y="5"/>
                  <a:pt x="21" y="5"/>
                  <a:pt x="21" y="3"/>
                </a:cubicBezTo>
                <a:cubicBezTo>
                  <a:pt x="21" y="0"/>
                  <a:pt x="14" y="0"/>
                  <a:pt x="12" y="2"/>
                </a:cubicBezTo>
                <a:cubicBezTo>
                  <a:pt x="11" y="3"/>
                  <a:pt x="9" y="3"/>
                  <a:pt x="8" y="3"/>
                </a:cubicBezTo>
                <a:cubicBezTo>
                  <a:pt x="7" y="7"/>
                  <a:pt x="7" y="12"/>
                  <a:pt x="8" y="1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 name="Freeform 20"/>
          <p:cNvSpPr/>
          <p:nvPr/>
        </p:nvSpPr>
        <p:spPr bwMode="auto">
          <a:xfrm>
            <a:off x="4047605" y="2375348"/>
            <a:ext cx="407988" cy="393700"/>
          </a:xfrm>
          <a:custGeom>
            <a:avLst/>
            <a:gdLst>
              <a:gd name="T0" fmla="*/ 49 w 143"/>
              <a:gd name="T1" fmla="*/ 27 h 138"/>
              <a:gd name="T2" fmla="*/ 50 w 143"/>
              <a:gd name="T3" fmla="*/ 33 h 138"/>
              <a:gd name="T4" fmla="*/ 52 w 143"/>
              <a:gd name="T5" fmla="*/ 38 h 138"/>
              <a:gd name="T6" fmla="*/ 51 w 143"/>
              <a:gd name="T7" fmla="*/ 40 h 138"/>
              <a:gd name="T8" fmla="*/ 41 w 143"/>
              <a:gd name="T9" fmla="*/ 41 h 138"/>
              <a:gd name="T10" fmla="*/ 37 w 143"/>
              <a:gd name="T11" fmla="*/ 43 h 138"/>
              <a:gd name="T12" fmla="*/ 34 w 143"/>
              <a:gd name="T13" fmla="*/ 45 h 138"/>
              <a:gd name="T14" fmla="*/ 33 w 143"/>
              <a:gd name="T15" fmla="*/ 49 h 138"/>
              <a:gd name="T16" fmla="*/ 30 w 143"/>
              <a:gd name="T17" fmla="*/ 51 h 138"/>
              <a:gd name="T18" fmla="*/ 25 w 143"/>
              <a:gd name="T19" fmla="*/ 53 h 138"/>
              <a:gd name="T20" fmla="*/ 22 w 143"/>
              <a:gd name="T21" fmla="*/ 57 h 138"/>
              <a:gd name="T22" fmla="*/ 16 w 143"/>
              <a:gd name="T23" fmla="*/ 59 h 138"/>
              <a:gd name="T24" fmla="*/ 11 w 143"/>
              <a:gd name="T25" fmla="*/ 60 h 138"/>
              <a:gd name="T26" fmla="*/ 0 w 143"/>
              <a:gd name="T27" fmla="*/ 67 h 138"/>
              <a:gd name="T28" fmla="*/ 0 w 143"/>
              <a:gd name="T29" fmla="*/ 77 h 138"/>
              <a:gd name="T30" fmla="*/ 2 w 143"/>
              <a:gd name="T31" fmla="*/ 78 h 138"/>
              <a:gd name="T32" fmla="*/ 68 w 143"/>
              <a:gd name="T33" fmla="*/ 122 h 138"/>
              <a:gd name="T34" fmla="*/ 73 w 143"/>
              <a:gd name="T35" fmla="*/ 129 h 138"/>
              <a:gd name="T36" fmla="*/ 80 w 143"/>
              <a:gd name="T37" fmla="*/ 131 h 138"/>
              <a:gd name="T38" fmla="*/ 84 w 143"/>
              <a:gd name="T39" fmla="*/ 138 h 138"/>
              <a:gd name="T40" fmla="*/ 91 w 143"/>
              <a:gd name="T41" fmla="*/ 137 h 138"/>
              <a:gd name="T42" fmla="*/ 101 w 143"/>
              <a:gd name="T43" fmla="*/ 133 h 138"/>
              <a:gd name="T44" fmla="*/ 114 w 143"/>
              <a:gd name="T45" fmla="*/ 123 h 138"/>
              <a:gd name="T46" fmla="*/ 143 w 143"/>
              <a:gd name="T47" fmla="*/ 105 h 138"/>
              <a:gd name="T48" fmla="*/ 143 w 143"/>
              <a:gd name="T49" fmla="*/ 105 h 138"/>
              <a:gd name="T50" fmla="*/ 140 w 143"/>
              <a:gd name="T51" fmla="*/ 99 h 138"/>
              <a:gd name="T52" fmla="*/ 135 w 143"/>
              <a:gd name="T53" fmla="*/ 98 h 138"/>
              <a:gd name="T54" fmla="*/ 130 w 143"/>
              <a:gd name="T55" fmla="*/ 95 h 138"/>
              <a:gd name="T56" fmla="*/ 129 w 143"/>
              <a:gd name="T57" fmla="*/ 89 h 138"/>
              <a:gd name="T58" fmla="*/ 126 w 143"/>
              <a:gd name="T59" fmla="*/ 85 h 138"/>
              <a:gd name="T60" fmla="*/ 129 w 143"/>
              <a:gd name="T61" fmla="*/ 82 h 138"/>
              <a:gd name="T62" fmla="*/ 128 w 143"/>
              <a:gd name="T63" fmla="*/ 78 h 138"/>
              <a:gd name="T64" fmla="*/ 128 w 143"/>
              <a:gd name="T65" fmla="*/ 74 h 138"/>
              <a:gd name="T66" fmla="*/ 129 w 143"/>
              <a:gd name="T67" fmla="*/ 70 h 138"/>
              <a:gd name="T68" fmla="*/ 129 w 143"/>
              <a:gd name="T69" fmla="*/ 62 h 138"/>
              <a:gd name="T70" fmla="*/ 126 w 143"/>
              <a:gd name="T71" fmla="*/ 56 h 138"/>
              <a:gd name="T72" fmla="*/ 127 w 143"/>
              <a:gd name="T73" fmla="*/ 55 h 138"/>
              <a:gd name="T74" fmla="*/ 127 w 143"/>
              <a:gd name="T75" fmla="*/ 53 h 138"/>
              <a:gd name="T76" fmla="*/ 123 w 143"/>
              <a:gd name="T77" fmla="*/ 41 h 138"/>
              <a:gd name="T78" fmla="*/ 118 w 143"/>
              <a:gd name="T79" fmla="*/ 36 h 138"/>
              <a:gd name="T80" fmla="*/ 115 w 143"/>
              <a:gd name="T81" fmla="*/ 32 h 138"/>
              <a:gd name="T82" fmla="*/ 112 w 143"/>
              <a:gd name="T83" fmla="*/ 25 h 138"/>
              <a:gd name="T84" fmla="*/ 117 w 143"/>
              <a:gd name="T85" fmla="*/ 20 h 138"/>
              <a:gd name="T86" fmla="*/ 119 w 143"/>
              <a:gd name="T87" fmla="*/ 13 h 138"/>
              <a:gd name="T88" fmla="*/ 119 w 143"/>
              <a:gd name="T89" fmla="*/ 2 h 138"/>
              <a:gd name="T90" fmla="*/ 113 w 143"/>
              <a:gd name="T91" fmla="*/ 1 h 138"/>
              <a:gd name="T92" fmla="*/ 106 w 143"/>
              <a:gd name="T93" fmla="*/ 2 h 138"/>
              <a:gd name="T94" fmla="*/ 96 w 143"/>
              <a:gd name="T95" fmla="*/ 3 h 138"/>
              <a:gd name="T96" fmla="*/ 70 w 143"/>
              <a:gd name="T97" fmla="*/ 5 h 138"/>
              <a:gd name="T98" fmla="*/ 59 w 143"/>
              <a:gd name="T99" fmla="*/ 11 h 138"/>
              <a:gd name="T100" fmla="*/ 49 w 143"/>
              <a:gd name="T101" fmla="*/ 16 h 138"/>
              <a:gd name="T102" fmla="*/ 46 w 143"/>
              <a:gd name="T103" fmla="*/ 17 h 138"/>
              <a:gd name="T104" fmla="*/ 47 w 143"/>
              <a:gd name="T105" fmla="*/ 20 h 138"/>
              <a:gd name="T106" fmla="*/ 49 w 143"/>
              <a:gd name="T107" fmla="*/ 2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3" h="138">
                <a:moveTo>
                  <a:pt x="49" y="27"/>
                </a:moveTo>
                <a:cubicBezTo>
                  <a:pt x="49" y="29"/>
                  <a:pt x="48" y="33"/>
                  <a:pt x="50" y="33"/>
                </a:cubicBezTo>
                <a:cubicBezTo>
                  <a:pt x="51" y="33"/>
                  <a:pt x="52" y="37"/>
                  <a:pt x="52" y="38"/>
                </a:cubicBezTo>
                <a:cubicBezTo>
                  <a:pt x="53" y="39"/>
                  <a:pt x="52" y="40"/>
                  <a:pt x="51" y="40"/>
                </a:cubicBezTo>
                <a:cubicBezTo>
                  <a:pt x="49" y="40"/>
                  <a:pt x="41" y="40"/>
                  <a:pt x="41" y="41"/>
                </a:cubicBezTo>
                <a:cubicBezTo>
                  <a:pt x="41" y="42"/>
                  <a:pt x="39" y="43"/>
                  <a:pt x="37" y="43"/>
                </a:cubicBezTo>
                <a:cubicBezTo>
                  <a:pt x="35" y="43"/>
                  <a:pt x="35" y="43"/>
                  <a:pt x="34" y="45"/>
                </a:cubicBezTo>
                <a:cubicBezTo>
                  <a:pt x="34" y="47"/>
                  <a:pt x="35" y="49"/>
                  <a:pt x="33" y="49"/>
                </a:cubicBezTo>
                <a:cubicBezTo>
                  <a:pt x="32" y="49"/>
                  <a:pt x="32" y="51"/>
                  <a:pt x="30" y="51"/>
                </a:cubicBezTo>
                <a:cubicBezTo>
                  <a:pt x="28" y="52"/>
                  <a:pt x="25" y="51"/>
                  <a:pt x="25" y="53"/>
                </a:cubicBezTo>
                <a:cubicBezTo>
                  <a:pt x="25" y="55"/>
                  <a:pt x="24" y="57"/>
                  <a:pt x="22" y="57"/>
                </a:cubicBezTo>
                <a:cubicBezTo>
                  <a:pt x="19" y="58"/>
                  <a:pt x="16" y="57"/>
                  <a:pt x="16" y="59"/>
                </a:cubicBezTo>
                <a:cubicBezTo>
                  <a:pt x="16" y="60"/>
                  <a:pt x="13" y="59"/>
                  <a:pt x="11" y="60"/>
                </a:cubicBezTo>
                <a:cubicBezTo>
                  <a:pt x="9" y="61"/>
                  <a:pt x="0" y="66"/>
                  <a:pt x="0" y="67"/>
                </a:cubicBezTo>
                <a:cubicBezTo>
                  <a:pt x="0" y="68"/>
                  <a:pt x="0" y="72"/>
                  <a:pt x="0" y="77"/>
                </a:cubicBezTo>
                <a:cubicBezTo>
                  <a:pt x="0" y="77"/>
                  <a:pt x="1" y="77"/>
                  <a:pt x="2" y="78"/>
                </a:cubicBezTo>
                <a:cubicBezTo>
                  <a:pt x="5" y="80"/>
                  <a:pt x="66" y="120"/>
                  <a:pt x="68" y="122"/>
                </a:cubicBezTo>
                <a:cubicBezTo>
                  <a:pt x="70" y="124"/>
                  <a:pt x="73" y="129"/>
                  <a:pt x="73" y="129"/>
                </a:cubicBezTo>
                <a:cubicBezTo>
                  <a:pt x="73" y="129"/>
                  <a:pt x="77" y="129"/>
                  <a:pt x="80" y="131"/>
                </a:cubicBezTo>
                <a:cubicBezTo>
                  <a:pt x="84" y="133"/>
                  <a:pt x="84" y="138"/>
                  <a:pt x="84" y="138"/>
                </a:cubicBezTo>
                <a:cubicBezTo>
                  <a:pt x="84" y="138"/>
                  <a:pt x="88" y="137"/>
                  <a:pt x="91" y="137"/>
                </a:cubicBezTo>
                <a:cubicBezTo>
                  <a:pt x="93" y="136"/>
                  <a:pt x="101" y="133"/>
                  <a:pt x="101" y="133"/>
                </a:cubicBezTo>
                <a:cubicBezTo>
                  <a:pt x="114" y="123"/>
                  <a:pt x="114" y="123"/>
                  <a:pt x="114" y="123"/>
                </a:cubicBezTo>
                <a:cubicBezTo>
                  <a:pt x="143" y="105"/>
                  <a:pt x="143" y="105"/>
                  <a:pt x="143" y="105"/>
                </a:cubicBezTo>
                <a:cubicBezTo>
                  <a:pt x="143" y="105"/>
                  <a:pt x="143" y="105"/>
                  <a:pt x="143" y="105"/>
                </a:cubicBezTo>
                <a:cubicBezTo>
                  <a:pt x="143" y="102"/>
                  <a:pt x="142" y="99"/>
                  <a:pt x="140" y="99"/>
                </a:cubicBezTo>
                <a:cubicBezTo>
                  <a:pt x="138" y="99"/>
                  <a:pt x="137" y="98"/>
                  <a:pt x="135" y="98"/>
                </a:cubicBezTo>
                <a:cubicBezTo>
                  <a:pt x="133" y="98"/>
                  <a:pt x="130" y="96"/>
                  <a:pt x="130" y="95"/>
                </a:cubicBezTo>
                <a:cubicBezTo>
                  <a:pt x="130" y="93"/>
                  <a:pt x="131" y="92"/>
                  <a:pt x="129" y="89"/>
                </a:cubicBezTo>
                <a:cubicBezTo>
                  <a:pt x="128" y="87"/>
                  <a:pt x="126" y="86"/>
                  <a:pt x="126" y="85"/>
                </a:cubicBezTo>
                <a:cubicBezTo>
                  <a:pt x="126" y="84"/>
                  <a:pt x="129" y="82"/>
                  <a:pt x="129" y="82"/>
                </a:cubicBezTo>
                <a:cubicBezTo>
                  <a:pt x="130" y="81"/>
                  <a:pt x="128" y="80"/>
                  <a:pt x="128" y="78"/>
                </a:cubicBezTo>
                <a:cubicBezTo>
                  <a:pt x="128" y="77"/>
                  <a:pt x="127" y="75"/>
                  <a:pt x="128" y="74"/>
                </a:cubicBezTo>
                <a:cubicBezTo>
                  <a:pt x="129" y="73"/>
                  <a:pt x="130" y="72"/>
                  <a:pt x="129" y="70"/>
                </a:cubicBezTo>
                <a:cubicBezTo>
                  <a:pt x="128" y="67"/>
                  <a:pt x="130" y="65"/>
                  <a:pt x="129" y="62"/>
                </a:cubicBezTo>
                <a:cubicBezTo>
                  <a:pt x="128" y="59"/>
                  <a:pt x="126" y="57"/>
                  <a:pt x="126" y="56"/>
                </a:cubicBezTo>
                <a:cubicBezTo>
                  <a:pt x="126" y="56"/>
                  <a:pt x="127" y="55"/>
                  <a:pt x="127" y="55"/>
                </a:cubicBezTo>
                <a:cubicBezTo>
                  <a:pt x="127" y="54"/>
                  <a:pt x="127" y="53"/>
                  <a:pt x="127" y="53"/>
                </a:cubicBezTo>
                <a:cubicBezTo>
                  <a:pt x="127" y="50"/>
                  <a:pt x="125" y="42"/>
                  <a:pt x="123" y="41"/>
                </a:cubicBezTo>
                <a:cubicBezTo>
                  <a:pt x="122" y="39"/>
                  <a:pt x="118" y="38"/>
                  <a:pt x="118" y="36"/>
                </a:cubicBezTo>
                <a:cubicBezTo>
                  <a:pt x="118" y="35"/>
                  <a:pt x="118" y="33"/>
                  <a:pt x="115" y="32"/>
                </a:cubicBezTo>
                <a:cubicBezTo>
                  <a:pt x="112" y="31"/>
                  <a:pt x="111" y="25"/>
                  <a:pt x="112" y="25"/>
                </a:cubicBezTo>
                <a:cubicBezTo>
                  <a:pt x="114" y="25"/>
                  <a:pt x="115" y="21"/>
                  <a:pt x="117" y="20"/>
                </a:cubicBezTo>
                <a:cubicBezTo>
                  <a:pt x="119" y="19"/>
                  <a:pt x="121" y="15"/>
                  <a:pt x="119" y="13"/>
                </a:cubicBezTo>
                <a:cubicBezTo>
                  <a:pt x="118" y="11"/>
                  <a:pt x="118" y="6"/>
                  <a:pt x="119" y="2"/>
                </a:cubicBezTo>
                <a:cubicBezTo>
                  <a:pt x="116" y="2"/>
                  <a:pt x="113" y="1"/>
                  <a:pt x="113" y="1"/>
                </a:cubicBezTo>
                <a:cubicBezTo>
                  <a:pt x="111" y="0"/>
                  <a:pt x="108" y="1"/>
                  <a:pt x="106" y="2"/>
                </a:cubicBezTo>
                <a:cubicBezTo>
                  <a:pt x="103" y="2"/>
                  <a:pt x="98" y="5"/>
                  <a:pt x="96" y="3"/>
                </a:cubicBezTo>
                <a:cubicBezTo>
                  <a:pt x="94" y="2"/>
                  <a:pt x="75" y="5"/>
                  <a:pt x="70" y="5"/>
                </a:cubicBezTo>
                <a:cubicBezTo>
                  <a:pt x="65" y="5"/>
                  <a:pt x="63" y="11"/>
                  <a:pt x="59" y="11"/>
                </a:cubicBezTo>
                <a:cubicBezTo>
                  <a:pt x="56" y="11"/>
                  <a:pt x="51" y="13"/>
                  <a:pt x="49" y="16"/>
                </a:cubicBezTo>
                <a:cubicBezTo>
                  <a:pt x="48" y="17"/>
                  <a:pt x="47" y="17"/>
                  <a:pt x="46" y="17"/>
                </a:cubicBezTo>
                <a:cubicBezTo>
                  <a:pt x="46" y="18"/>
                  <a:pt x="47" y="19"/>
                  <a:pt x="47" y="20"/>
                </a:cubicBezTo>
                <a:cubicBezTo>
                  <a:pt x="49" y="22"/>
                  <a:pt x="49" y="24"/>
                  <a:pt x="49" y="2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 name="Freeform 21"/>
          <p:cNvSpPr/>
          <p:nvPr/>
        </p:nvSpPr>
        <p:spPr bwMode="auto">
          <a:xfrm>
            <a:off x="4406380" y="2469010"/>
            <a:ext cx="298450" cy="285750"/>
          </a:xfrm>
          <a:custGeom>
            <a:avLst/>
            <a:gdLst>
              <a:gd name="T0" fmla="*/ 11 w 105"/>
              <a:gd name="T1" fmla="*/ 6 h 100"/>
              <a:gd name="T2" fmla="*/ 6 w 105"/>
              <a:gd name="T3" fmla="*/ 10 h 100"/>
              <a:gd name="T4" fmla="*/ 5 w 105"/>
              <a:gd name="T5" fmla="*/ 14 h 100"/>
              <a:gd name="T6" fmla="*/ 4 w 105"/>
              <a:gd name="T7" fmla="*/ 19 h 100"/>
              <a:gd name="T8" fmla="*/ 0 w 105"/>
              <a:gd name="T9" fmla="*/ 23 h 100"/>
              <a:gd name="T10" fmla="*/ 3 w 105"/>
              <a:gd name="T11" fmla="*/ 29 h 100"/>
              <a:gd name="T12" fmla="*/ 3 w 105"/>
              <a:gd name="T13" fmla="*/ 37 h 100"/>
              <a:gd name="T14" fmla="*/ 2 w 105"/>
              <a:gd name="T15" fmla="*/ 41 h 100"/>
              <a:gd name="T16" fmla="*/ 2 w 105"/>
              <a:gd name="T17" fmla="*/ 45 h 100"/>
              <a:gd name="T18" fmla="*/ 3 w 105"/>
              <a:gd name="T19" fmla="*/ 49 h 100"/>
              <a:gd name="T20" fmla="*/ 0 w 105"/>
              <a:gd name="T21" fmla="*/ 52 h 100"/>
              <a:gd name="T22" fmla="*/ 3 w 105"/>
              <a:gd name="T23" fmla="*/ 56 h 100"/>
              <a:gd name="T24" fmla="*/ 4 w 105"/>
              <a:gd name="T25" fmla="*/ 62 h 100"/>
              <a:gd name="T26" fmla="*/ 9 w 105"/>
              <a:gd name="T27" fmla="*/ 65 h 100"/>
              <a:gd name="T28" fmla="*/ 14 w 105"/>
              <a:gd name="T29" fmla="*/ 66 h 100"/>
              <a:gd name="T30" fmla="*/ 17 w 105"/>
              <a:gd name="T31" fmla="*/ 72 h 100"/>
              <a:gd name="T32" fmla="*/ 28 w 105"/>
              <a:gd name="T33" fmla="*/ 74 h 100"/>
              <a:gd name="T34" fmla="*/ 32 w 105"/>
              <a:gd name="T35" fmla="*/ 78 h 100"/>
              <a:gd name="T36" fmla="*/ 43 w 105"/>
              <a:gd name="T37" fmla="*/ 72 h 100"/>
              <a:gd name="T38" fmla="*/ 96 w 105"/>
              <a:gd name="T39" fmla="*/ 100 h 100"/>
              <a:gd name="T40" fmla="*/ 96 w 105"/>
              <a:gd name="T41" fmla="*/ 97 h 100"/>
              <a:gd name="T42" fmla="*/ 102 w 105"/>
              <a:gd name="T43" fmla="*/ 97 h 100"/>
              <a:gd name="T44" fmla="*/ 102 w 105"/>
              <a:gd name="T45" fmla="*/ 29 h 100"/>
              <a:gd name="T46" fmla="*/ 102 w 105"/>
              <a:gd name="T47" fmla="*/ 19 h 100"/>
              <a:gd name="T48" fmla="*/ 103 w 105"/>
              <a:gd name="T49" fmla="*/ 10 h 100"/>
              <a:gd name="T50" fmla="*/ 104 w 105"/>
              <a:gd name="T51" fmla="*/ 9 h 100"/>
              <a:gd name="T52" fmla="*/ 104 w 105"/>
              <a:gd name="T53" fmla="*/ 8 h 100"/>
              <a:gd name="T54" fmla="*/ 94 w 105"/>
              <a:gd name="T55" fmla="*/ 6 h 100"/>
              <a:gd name="T56" fmla="*/ 84 w 105"/>
              <a:gd name="T57" fmla="*/ 1 h 100"/>
              <a:gd name="T58" fmla="*/ 69 w 105"/>
              <a:gd name="T59" fmla="*/ 8 h 100"/>
              <a:gd name="T60" fmla="*/ 70 w 105"/>
              <a:gd name="T61" fmla="*/ 17 h 100"/>
              <a:gd name="T62" fmla="*/ 59 w 105"/>
              <a:gd name="T63" fmla="*/ 17 h 100"/>
              <a:gd name="T64" fmla="*/ 46 w 105"/>
              <a:gd name="T65" fmla="*/ 13 h 100"/>
              <a:gd name="T66" fmla="*/ 39 w 105"/>
              <a:gd name="T67" fmla="*/ 8 h 100"/>
              <a:gd name="T68" fmla="*/ 35 w 105"/>
              <a:gd name="T69" fmla="*/ 4 h 100"/>
              <a:gd name="T70" fmla="*/ 22 w 105"/>
              <a:gd name="T71" fmla="*/ 1 h 100"/>
              <a:gd name="T72" fmla="*/ 14 w 105"/>
              <a:gd name="T73" fmla="*/ 0 h 100"/>
              <a:gd name="T74" fmla="*/ 14 w 105"/>
              <a:gd name="T75" fmla="*/ 3 h 100"/>
              <a:gd name="T76" fmla="*/ 11 w 105"/>
              <a:gd name="T77" fmla="*/ 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5" h="100">
                <a:moveTo>
                  <a:pt x="11" y="6"/>
                </a:moveTo>
                <a:cubicBezTo>
                  <a:pt x="11" y="6"/>
                  <a:pt x="7" y="10"/>
                  <a:pt x="6" y="10"/>
                </a:cubicBezTo>
                <a:cubicBezTo>
                  <a:pt x="5" y="11"/>
                  <a:pt x="5" y="13"/>
                  <a:pt x="5" y="14"/>
                </a:cubicBezTo>
                <a:cubicBezTo>
                  <a:pt x="6" y="14"/>
                  <a:pt x="5" y="17"/>
                  <a:pt x="4" y="19"/>
                </a:cubicBezTo>
                <a:cubicBezTo>
                  <a:pt x="3" y="21"/>
                  <a:pt x="0" y="22"/>
                  <a:pt x="0" y="23"/>
                </a:cubicBezTo>
                <a:cubicBezTo>
                  <a:pt x="0" y="24"/>
                  <a:pt x="2" y="26"/>
                  <a:pt x="3" y="29"/>
                </a:cubicBezTo>
                <a:cubicBezTo>
                  <a:pt x="4" y="32"/>
                  <a:pt x="2" y="34"/>
                  <a:pt x="3" y="37"/>
                </a:cubicBezTo>
                <a:cubicBezTo>
                  <a:pt x="4" y="39"/>
                  <a:pt x="3" y="40"/>
                  <a:pt x="2" y="41"/>
                </a:cubicBezTo>
                <a:cubicBezTo>
                  <a:pt x="1" y="42"/>
                  <a:pt x="2" y="44"/>
                  <a:pt x="2" y="45"/>
                </a:cubicBezTo>
                <a:cubicBezTo>
                  <a:pt x="2" y="47"/>
                  <a:pt x="4" y="48"/>
                  <a:pt x="3" y="49"/>
                </a:cubicBezTo>
                <a:cubicBezTo>
                  <a:pt x="3" y="49"/>
                  <a:pt x="0" y="51"/>
                  <a:pt x="0" y="52"/>
                </a:cubicBezTo>
                <a:cubicBezTo>
                  <a:pt x="0" y="53"/>
                  <a:pt x="2" y="54"/>
                  <a:pt x="3" y="56"/>
                </a:cubicBezTo>
                <a:cubicBezTo>
                  <a:pt x="5" y="59"/>
                  <a:pt x="4" y="60"/>
                  <a:pt x="4" y="62"/>
                </a:cubicBezTo>
                <a:cubicBezTo>
                  <a:pt x="4" y="63"/>
                  <a:pt x="7" y="65"/>
                  <a:pt x="9" y="65"/>
                </a:cubicBezTo>
                <a:cubicBezTo>
                  <a:pt x="11" y="65"/>
                  <a:pt x="12" y="66"/>
                  <a:pt x="14" y="66"/>
                </a:cubicBezTo>
                <a:cubicBezTo>
                  <a:pt x="16" y="66"/>
                  <a:pt x="17" y="69"/>
                  <a:pt x="17" y="72"/>
                </a:cubicBezTo>
                <a:cubicBezTo>
                  <a:pt x="18" y="72"/>
                  <a:pt x="25" y="72"/>
                  <a:pt x="28" y="74"/>
                </a:cubicBezTo>
                <a:cubicBezTo>
                  <a:pt x="30" y="76"/>
                  <a:pt x="32" y="78"/>
                  <a:pt x="32" y="78"/>
                </a:cubicBezTo>
                <a:cubicBezTo>
                  <a:pt x="43" y="72"/>
                  <a:pt x="43" y="72"/>
                  <a:pt x="43" y="72"/>
                </a:cubicBezTo>
                <a:cubicBezTo>
                  <a:pt x="96" y="100"/>
                  <a:pt x="96" y="100"/>
                  <a:pt x="96" y="100"/>
                </a:cubicBezTo>
                <a:cubicBezTo>
                  <a:pt x="96" y="97"/>
                  <a:pt x="96" y="97"/>
                  <a:pt x="96" y="97"/>
                </a:cubicBezTo>
                <a:cubicBezTo>
                  <a:pt x="102" y="97"/>
                  <a:pt x="102" y="97"/>
                  <a:pt x="102" y="97"/>
                </a:cubicBezTo>
                <a:cubicBezTo>
                  <a:pt x="102" y="97"/>
                  <a:pt x="102" y="34"/>
                  <a:pt x="102" y="29"/>
                </a:cubicBezTo>
                <a:cubicBezTo>
                  <a:pt x="102" y="24"/>
                  <a:pt x="100" y="21"/>
                  <a:pt x="102" y="19"/>
                </a:cubicBezTo>
                <a:cubicBezTo>
                  <a:pt x="105" y="16"/>
                  <a:pt x="102" y="15"/>
                  <a:pt x="103" y="10"/>
                </a:cubicBezTo>
                <a:cubicBezTo>
                  <a:pt x="103" y="10"/>
                  <a:pt x="104" y="9"/>
                  <a:pt x="104" y="9"/>
                </a:cubicBezTo>
                <a:cubicBezTo>
                  <a:pt x="104" y="9"/>
                  <a:pt x="104" y="8"/>
                  <a:pt x="104" y="8"/>
                </a:cubicBezTo>
                <a:cubicBezTo>
                  <a:pt x="103" y="7"/>
                  <a:pt x="100" y="7"/>
                  <a:pt x="94" y="6"/>
                </a:cubicBezTo>
                <a:cubicBezTo>
                  <a:pt x="88" y="5"/>
                  <a:pt x="91" y="1"/>
                  <a:pt x="84" y="1"/>
                </a:cubicBezTo>
                <a:cubicBezTo>
                  <a:pt x="77" y="0"/>
                  <a:pt x="69" y="6"/>
                  <a:pt x="69" y="8"/>
                </a:cubicBezTo>
                <a:cubicBezTo>
                  <a:pt x="68" y="11"/>
                  <a:pt x="72" y="14"/>
                  <a:pt x="70" y="17"/>
                </a:cubicBezTo>
                <a:cubicBezTo>
                  <a:pt x="67" y="20"/>
                  <a:pt x="62" y="21"/>
                  <a:pt x="59" y="17"/>
                </a:cubicBezTo>
                <a:cubicBezTo>
                  <a:pt x="55" y="14"/>
                  <a:pt x="50" y="13"/>
                  <a:pt x="46" y="13"/>
                </a:cubicBezTo>
                <a:cubicBezTo>
                  <a:pt x="42" y="13"/>
                  <a:pt x="39" y="10"/>
                  <a:pt x="39" y="8"/>
                </a:cubicBezTo>
                <a:cubicBezTo>
                  <a:pt x="40" y="6"/>
                  <a:pt x="38" y="5"/>
                  <a:pt x="35" y="4"/>
                </a:cubicBezTo>
                <a:cubicBezTo>
                  <a:pt x="31" y="3"/>
                  <a:pt x="28" y="0"/>
                  <a:pt x="22" y="1"/>
                </a:cubicBezTo>
                <a:cubicBezTo>
                  <a:pt x="19" y="2"/>
                  <a:pt x="16" y="1"/>
                  <a:pt x="14" y="0"/>
                </a:cubicBezTo>
                <a:cubicBezTo>
                  <a:pt x="14" y="1"/>
                  <a:pt x="14" y="2"/>
                  <a:pt x="14" y="3"/>
                </a:cubicBezTo>
                <a:cubicBezTo>
                  <a:pt x="14" y="6"/>
                  <a:pt x="12" y="5"/>
                  <a:pt x="11"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 name="Freeform 22"/>
          <p:cNvSpPr/>
          <p:nvPr/>
        </p:nvSpPr>
        <p:spPr bwMode="auto">
          <a:xfrm>
            <a:off x="3890442" y="2867473"/>
            <a:ext cx="57150" cy="20638"/>
          </a:xfrm>
          <a:custGeom>
            <a:avLst/>
            <a:gdLst>
              <a:gd name="T0" fmla="*/ 10 w 20"/>
              <a:gd name="T1" fmla="*/ 4 h 7"/>
              <a:gd name="T2" fmla="*/ 16 w 20"/>
              <a:gd name="T3" fmla="*/ 6 h 7"/>
              <a:gd name="T4" fmla="*/ 20 w 20"/>
              <a:gd name="T5" fmla="*/ 5 h 7"/>
              <a:gd name="T6" fmla="*/ 16 w 20"/>
              <a:gd name="T7" fmla="*/ 4 h 7"/>
              <a:gd name="T8" fmla="*/ 10 w 20"/>
              <a:gd name="T9" fmla="*/ 1 h 7"/>
              <a:gd name="T10" fmla="*/ 1 w 20"/>
              <a:gd name="T11" fmla="*/ 3 h 7"/>
              <a:gd name="T12" fmla="*/ 0 w 20"/>
              <a:gd name="T13" fmla="*/ 7 h 7"/>
              <a:gd name="T14" fmla="*/ 2 w 20"/>
              <a:gd name="T15" fmla="*/ 7 h 7"/>
              <a:gd name="T16" fmla="*/ 10 w 20"/>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
                <a:moveTo>
                  <a:pt x="10" y="4"/>
                </a:moveTo>
                <a:cubicBezTo>
                  <a:pt x="11" y="3"/>
                  <a:pt x="14" y="6"/>
                  <a:pt x="16" y="6"/>
                </a:cubicBezTo>
                <a:cubicBezTo>
                  <a:pt x="18" y="6"/>
                  <a:pt x="20" y="5"/>
                  <a:pt x="20" y="5"/>
                </a:cubicBezTo>
                <a:cubicBezTo>
                  <a:pt x="20" y="5"/>
                  <a:pt x="20" y="4"/>
                  <a:pt x="16" y="4"/>
                </a:cubicBezTo>
                <a:cubicBezTo>
                  <a:pt x="13" y="4"/>
                  <a:pt x="13" y="0"/>
                  <a:pt x="10" y="1"/>
                </a:cubicBezTo>
                <a:cubicBezTo>
                  <a:pt x="7" y="3"/>
                  <a:pt x="5" y="3"/>
                  <a:pt x="1" y="3"/>
                </a:cubicBezTo>
                <a:cubicBezTo>
                  <a:pt x="1" y="4"/>
                  <a:pt x="0" y="5"/>
                  <a:pt x="0" y="7"/>
                </a:cubicBezTo>
                <a:cubicBezTo>
                  <a:pt x="1" y="7"/>
                  <a:pt x="2" y="7"/>
                  <a:pt x="2" y="7"/>
                </a:cubicBezTo>
                <a:cubicBezTo>
                  <a:pt x="4" y="6"/>
                  <a:pt x="8" y="6"/>
                  <a:pt x="10" y="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 name="Freeform 23"/>
          <p:cNvSpPr/>
          <p:nvPr/>
        </p:nvSpPr>
        <p:spPr bwMode="auto">
          <a:xfrm>
            <a:off x="3879330" y="2813498"/>
            <a:ext cx="114300" cy="92075"/>
          </a:xfrm>
          <a:custGeom>
            <a:avLst/>
            <a:gdLst>
              <a:gd name="T0" fmla="*/ 9 w 40"/>
              <a:gd name="T1" fmla="*/ 31 h 32"/>
              <a:gd name="T2" fmla="*/ 13 w 40"/>
              <a:gd name="T3" fmla="*/ 29 h 32"/>
              <a:gd name="T4" fmla="*/ 23 w 40"/>
              <a:gd name="T5" fmla="*/ 29 h 32"/>
              <a:gd name="T6" fmla="*/ 25 w 40"/>
              <a:gd name="T7" fmla="*/ 29 h 32"/>
              <a:gd name="T8" fmla="*/ 25 w 40"/>
              <a:gd name="T9" fmla="*/ 28 h 32"/>
              <a:gd name="T10" fmla="*/ 30 w 40"/>
              <a:gd name="T11" fmla="*/ 30 h 32"/>
              <a:gd name="T12" fmla="*/ 40 w 40"/>
              <a:gd name="T13" fmla="*/ 31 h 32"/>
              <a:gd name="T14" fmla="*/ 40 w 40"/>
              <a:gd name="T15" fmla="*/ 31 h 32"/>
              <a:gd name="T16" fmla="*/ 40 w 40"/>
              <a:gd name="T17" fmla="*/ 26 h 32"/>
              <a:gd name="T18" fmla="*/ 37 w 40"/>
              <a:gd name="T19" fmla="*/ 22 h 32"/>
              <a:gd name="T20" fmla="*/ 36 w 40"/>
              <a:gd name="T21" fmla="*/ 18 h 32"/>
              <a:gd name="T22" fmla="*/ 34 w 40"/>
              <a:gd name="T23" fmla="*/ 16 h 32"/>
              <a:gd name="T24" fmla="*/ 31 w 40"/>
              <a:gd name="T25" fmla="*/ 11 h 32"/>
              <a:gd name="T26" fmla="*/ 26 w 40"/>
              <a:gd name="T27" fmla="*/ 5 h 32"/>
              <a:gd name="T28" fmla="*/ 23 w 40"/>
              <a:gd name="T29" fmla="*/ 5 h 32"/>
              <a:gd name="T30" fmla="*/ 19 w 40"/>
              <a:gd name="T31" fmla="*/ 1 h 32"/>
              <a:gd name="T32" fmla="*/ 14 w 40"/>
              <a:gd name="T33" fmla="*/ 2 h 32"/>
              <a:gd name="T34" fmla="*/ 8 w 40"/>
              <a:gd name="T35" fmla="*/ 2 h 32"/>
              <a:gd name="T36" fmla="*/ 4 w 40"/>
              <a:gd name="T37" fmla="*/ 5 h 32"/>
              <a:gd name="T38" fmla="*/ 4 w 40"/>
              <a:gd name="T39" fmla="*/ 5 h 32"/>
              <a:gd name="T40" fmla="*/ 2 w 40"/>
              <a:gd name="T41" fmla="*/ 11 h 32"/>
              <a:gd name="T42" fmla="*/ 5 w 40"/>
              <a:gd name="T43" fmla="*/ 20 h 32"/>
              <a:gd name="T44" fmla="*/ 5 w 40"/>
              <a:gd name="T45" fmla="*/ 22 h 32"/>
              <a:gd name="T46" fmla="*/ 14 w 40"/>
              <a:gd name="T47" fmla="*/ 20 h 32"/>
              <a:gd name="T48" fmla="*/ 20 w 40"/>
              <a:gd name="T49" fmla="*/ 23 h 32"/>
              <a:gd name="T50" fmla="*/ 24 w 40"/>
              <a:gd name="T51" fmla="*/ 24 h 32"/>
              <a:gd name="T52" fmla="*/ 20 w 40"/>
              <a:gd name="T53" fmla="*/ 25 h 32"/>
              <a:gd name="T54" fmla="*/ 14 w 40"/>
              <a:gd name="T55" fmla="*/ 23 h 32"/>
              <a:gd name="T56" fmla="*/ 6 w 40"/>
              <a:gd name="T57" fmla="*/ 26 h 32"/>
              <a:gd name="T58" fmla="*/ 4 w 40"/>
              <a:gd name="T59" fmla="*/ 26 h 32"/>
              <a:gd name="T60" fmla="*/ 5 w 40"/>
              <a:gd name="T61" fmla="*/ 29 h 32"/>
              <a:gd name="T62" fmla="*/ 6 w 40"/>
              <a:gd name="T63" fmla="*/ 30 h 32"/>
              <a:gd name="T64" fmla="*/ 9 w 40"/>
              <a:gd name="T6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32">
                <a:moveTo>
                  <a:pt x="9" y="31"/>
                </a:moveTo>
                <a:cubicBezTo>
                  <a:pt x="10" y="31"/>
                  <a:pt x="13" y="29"/>
                  <a:pt x="13" y="29"/>
                </a:cubicBezTo>
                <a:cubicBezTo>
                  <a:pt x="13" y="29"/>
                  <a:pt x="21" y="29"/>
                  <a:pt x="23" y="29"/>
                </a:cubicBezTo>
                <a:cubicBezTo>
                  <a:pt x="23" y="29"/>
                  <a:pt x="24" y="29"/>
                  <a:pt x="25" y="29"/>
                </a:cubicBezTo>
                <a:cubicBezTo>
                  <a:pt x="25" y="29"/>
                  <a:pt x="25" y="28"/>
                  <a:pt x="25" y="28"/>
                </a:cubicBezTo>
                <a:cubicBezTo>
                  <a:pt x="25" y="28"/>
                  <a:pt x="29" y="29"/>
                  <a:pt x="30" y="30"/>
                </a:cubicBezTo>
                <a:cubicBezTo>
                  <a:pt x="30" y="31"/>
                  <a:pt x="36" y="32"/>
                  <a:pt x="40" y="31"/>
                </a:cubicBezTo>
                <a:cubicBezTo>
                  <a:pt x="40" y="31"/>
                  <a:pt x="40" y="31"/>
                  <a:pt x="40" y="31"/>
                </a:cubicBezTo>
                <a:cubicBezTo>
                  <a:pt x="40" y="29"/>
                  <a:pt x="40" y="27"/>
                  <a:pt x="40" y="26"/>
                </a:cubicBezTo>
                <a:cubicBezTo>
                  <a:pt x="40" y="25"/>
                  <a:pt x="38" y="23"/>
                  <a:pt x="37" y="22"/>
                </a:cubicBezTo>
                <a:cubicBezTo>
                  <a:pt x="35" y="21"/>
                  <a:pt x="36" y="18"/>
                  <a:pt x="36" y="18"/>
                </a:cubicBezTo>
                <a:cubicBezTo>
                  <a:pt x="34" y="16"/>
                  <a:pt x="34" y="16"/>
                  <a:pt x="34" y="16"/>
                </a:cubicBezTo>
                <a:cubicBezTo>
                  <a:pt x="34" y="16"/>
                  <a:pt x="33" y="12"/>
                  <a:pt x="31" y="11"/>
                </a:cubicBezTo>
                <a:cubicBezTo>
                  <a:pt x="28" y="10"/>
                  <a:pt x="26" y="5"/>
                  <a:pt x="26" y="5"/>
                </a:cubicBezTo>
                <a:cubicBezTo>
                  <a:pt x="23" y="5"/>
                  <a:pt x="23" y="5"/>
                  <a:pt x="23" y="5"/>
                </a:cubicBezTo>
                <a:cubicBezTo>
                  <a:pt x="23" y="5"/>
                  <a:pt x="21" y="2"/>
                  <a:pt x="19" y="1"/>
                </a:cubicBezTo>
                <a:cubicBezTo>
                  <a:pt x="17" y="0"/>
                  <a:pt x="14" y="2"/>
                  <a:pt x="14" y="2"/>
                </a:cubicBezTo>
                <a:cubicBezTo>
                  <a:pt x="14" y="2"/>
                  <a:pt x="10" y="2"/>
                  <a:pt x="8" y="2"/>
                </a:cubicBezTo>
                <a:cubicBezTo>
                  <a:pt x="5" y="1"/>
                  <a:pt x="6" y="5"/>
                  <a:pt x="4" y="5"/>
                </a:cubicBezTo>
                <a:cubicBezTo>
                  <a:pt x="4" y="5"/>
                  <a:pt x="4" y="5"/>
                  <a:pt x="4" y="5"/>
                </a:cubicBezTo>
                <a:cubicBezTo>
                  <a:pt x="3" y="7"/>
                  <a:pt x="3" y="9"/>
                  <a:pt x="2" y="11"/>
                </a:cubicBezTo>
                <a:cubicBezTo>
                  <a:pt x="0" y="14"/>
                  <a:pt x="3" y="19"/>
                  <a:pt x="5" y="20"/>
                </a:cubicBezTo>
                <a:cubicBezTo>
                  <a:pt x="5" y="21"/>
                  <a:pt x="5" y="21"/>
                  <a:pt x="5" y="22"/>
                </a:cubicBezTo>
                <a:cubicBezTo>
                  <a:pt x="9" y="22"/>
                  <a:pt x="11" y="22"/>
                  <a:pt x="14" y="20"/>
                </a:cubicBezTo>
                <a:cubicBezTo>
                  <a:pt x="17" y="19"/>
                  <a:pt x="17" y="23"/>
                  <a:pt x="20" y="23"/>
                </a:cubicBezTo>
                <a:cubicBezTo>
                  <a:pt x="24" y="23"/>
                  <a:pt x="24" y="24"/>
                  <a:pt x="24" y="24"/>
                </a:cubicBezTo>
                <a:cubicBezTo>
                  <a:pt x="24" y="24"/>
                  <a:pt x="22" y="25"/>
                  <a:pt x="20" y="25"/>
                </a:cubicBezTo>
                <a:cubicBezTo>
                  <a:pt x="18" y="25"/>
                  <a:pt x="15" y="22"/>
                  <a:pt x="14" y="23"/>
                </a:cubicBezTo>
                <a:cubicBezTo>
                  <a:pt x="12" y="25"/>
                  <a:pt x="8" y="25"/>
                  <a:pt x="6" y="26"/>
                </a:cubicBezTo>
                <a:cubicBezTo>
                  <a:pt x="6" y="26"/>
                  <a:pt x="5" y="26"/>
                  <a:pt x="4" y="26"/>
                </a:cubicBezTo>
                <a:cubicBezTo>
                  <a:pt x="4" y="27"/>
                  <a:pt x="4" y="28"/>
                  <a:pt x="5" y="29"/>
                </a:cubicBezTo>
                <a:cubicBezTo>
                  <a:pt x="5" y="29"/>
                  <a:pt x="5" y="30"/>
                  <a:pt x="6" y="30"/>
                </a:cubicBezTo>
                <a:cubicBezTo>
                  <a:pt x="9" y="29"/>
                  <a:pt x="8" y="31"/>
                  <a:pt x="9" y="3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 name="Freeform 24"/>
          <p:cNvSpPr/>
          <p:nvPr/>
        </p:nvSpPr>
        <p:spPr bwMode="auto">
          <a:xfrm>
            <a:off x="3896792" y="2896048"/>
            <a:ext cx="53975" cy="31750"/>
          </a:xfrm>
          <a:custGeom>
            <a:avLst/>
            <a:gdLst>
              <a:gd name="T0" fmla="*/ 9 w 19"/>
              <a:gd name="T1" fmla="*/ 10 h 11"/>
              <a:gd name="T2" fmla="*/ 15 w 19"/>
              <a:gd name="T3" fmla="*/ 7 h 11"/>
              <a:gd name="T4" fmla="*/ 18 w 19"/>
              <a:gd name="T5" fmla="*/ 6 h 11"/>
              <a:gd name="T6" fmla="*/ 17 w 19"/>
              <a:gd name="T7" fmla="*/ 3 h 11"/>
              <a:gd name="T8" fmla="*/ 19 w 19"/>
              <a:gd name="T9" fmla="*/ 0 h 11"/>
              <a:gd name="T10" fmla="*/ 17 w 19"/>
              <a:gd name="T11" fmla="*/ 0 h 11"/>
              <a:gd name="T12" fmla="*/ 7 w 19"/>
              <a:gd name="T13" fmla="*/ 0 h 11"/>
              <a:gd name="T14" fmla="*/ 3 w 19"/>
              <a:gd name="T15" fmla="*/ 2 h 11"/>
              <a:gd name="T16" fmla="*/ 0 w 19"/>
              <a:gd name="T17" fmla="*/ 1 h 11"/>
              <a:gd name="T18" fmla="*/ 5 w 19"/>
              <a:gd name="T19" fmla="*/ 5 h 11"/>
              <a:gd name="T20" fmla="*/ 8 w 19"/>
              <a:gd name="T21" fmla="*/ 10 h 11"/>
              <a:gd name="T22" fmla="*/ 9 w 19"/>
              <a:gd name="T23" fmla="*/ 11 h 11"/>
              <a:gd name="T24" fmla="*/ 9 w 19"/>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1">
                <a:moveTo>
                  <a:pt x="9" y="10"/>
                </a:moveTo>
                <a:cubicBezTo>
                  <a:pt x="11" y="9"/>
                  <a:pt x="14" y="6"/>
                  <a:pt x="15" y="7"/>
                </a:cubicBezTo>
                <a:cubicBezTo>
                  <a:pt x="16" y="7"/>
                  <a:pt x="18" y="6"/>
                  <a:pt x="18" y="6"/>
                </a:cubicBezTo>
                <a:cubicBezTo>
                  <a:pt x="18" y="5"/>
                  <a:pt x="15" y="3"/>
                  <a:pt x="17" y="3"/>
                </a:cubicBezTo>
                <a:cubicBezTo>
                  <a:pt x="18" y="2"/>
                  <a:pt x="19" y="1"/>
                  <a:pt x="19" y="0"/>
                </a:cubicBezTo>
                <a:cubicBezTo>
                  <a:pt x="18" y="0"/>
                  <a:pt x="17" y="0"/>
                  <a:pt x="17" y="0"/>
                </a:cubicBezTo>
                <a:cubicBezTo>
                  <a:pt x="15" y="0"/>
                  <a:pt x="7" y="0"/>
                  <a:pt x="7" y="0"/>
                </a:cubicBezTo>
                <a:cubicBezTo>
                  <a:pt x="7" y="0"/>
                  <a:pt x="4" y="2"/>
                  <a:pt x="3" y="2"/>
                </a:cubicBezTo>
                <a:cubicBezTo>
                  <a:pt x="2" y="2"/>
                  <a:pt x="3" y="0"/>
                  <a:pt x="0" y="1"/>
                </a:cubicBezTo>
                <a:cubicBezTo>
                  <a:pt x="1" y="3"/>
                  <a:pt x="1" y="4"/>
                  <a:pt x="5" y="5"/>
                </a:cubicBezTo>
                <a:cubicBezTo>
                  <a:pt x="9" y="6"/>
                  <a:pt x="5" y="8"/>
                  <a:pt x="8" y="10"/>
                </a:cubicBezTo>
                <a:cubicBezTo>
                  <a:pt x="8" y="11"/>
                  <a:pt x="9" y="11"/>
                  <a:pt x="9" y="11"/>
                </a:cubicBezTo>
                <a:cubicBezTo>
                  <a:pt x="9" y="11"/>
                  <a:pt x="9" y="10"/>
                  <a:pt x="9" y="1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 name="Freeform 25"/>
          <p:cNvSpPr/>
          <p:nvPr/>
        </p:nvSpPr>
        <p:spPr bwMode="auto">
          <a:xfrm>
            <a:off x="4503217" y="2924623"/>
            <a:ext cx="239713" cy="168275"/>
          </a:xfrm>
          <a:custGeom>
            <a:avLst/>
            <a:gdLst>
              <a:gd name="T0" fmla="*/ 78 w 84"/>
              <a:gd name="T1" fmla="*/ 34 h 59"/>
              <a:gd name="T2" fmla="*/ 75 w 84"/>
              <a:gd name="T3" fmla="*/ 29 h 59"/>
              <a:gd name="T4" fmla="*/ 71 w 84"/>
              <a:gd name="T5" fmla="*/ 25 h 59"/>
              <a:gd name="T6" fmla="*/ 68 w 84"/>
              <a:gd name="T7" fmla="*/ 21 h 59"/>
              <a:gd name="T8" fmla="*/ 62 w 84"/>
              <a:gd name="T9" fmla="*/ 18 h 59"/>
              <a:gd name="T10" fmla="*/ 62 w 84"/>
              <a:gd name="T11" fmla="*/ 16 h 59"/>
              <a:gd name="T12" fmla="*/ 59 w 84"/>
              <a:gd name="T13" fmla="*/ 16 h 59"/>
              <a:gd name="T14" fmla="*/ 60 w 84"/>
              <a:gd name="T15" fmla="*/ 13 h 59"/>
              <a:gd name="T16" fmla="*/ 59 w 84"/>
              <a:gd name="T17" fmla="*/ 7 h 59"/>
              <a:gd name="T18" fmla="*/ 54 w 84"/>
              <a:gd name="T19" fmla="*/ 1 h 59"/>
              <a:gd name="T20" fmla="*/ 53 w 84"/>
              <a:gd name="T21" fmla="*/ 1 h 59"/>
              <a:gd name="T22" fmla="*/ 47 w 84"/>
              <a:gd name="T23" fmla="*/ 3 h 59"/>
              <a:gd name="T24" fmla="*/ 46 w 84"/>
              <a:gd name="T25" fmla="*/ 6 h 59"/>
              <a:gd name="T26" fmla="*/ 39 w 84"/>
              <a:gd name="T27" fmla="*/ 13 h 59"/>
              <a:gd name="T28" fmla="*/ 29 w 84"/>
              <a:gd name="T29" fmla="*/ 15 h 59"/>
              <a:gd name="T30" fmla="*/ 29 w 84"/>
              <a:gd name="T31" fmla="*/ 19 h 59"/>
              <a:gd name="T32" fmla="*/ 23 w 84"/>
              <a:gd name="T33" fmla="*/ 22 h 59"/>
              <a:gd name="T34" fmla="*/ 15 w 84"/>
              <a:gd name="T35" fmla="*/ 24 h 59"/>
              <a:gd name="T36" fmla="*/ 11 w 84"/>
              <a:gd name="T37" fmla="*/ 24 h 59"/>
              <a:gd name="T38" fmla="*/ 7 w 84"/>
              <a:gd name="T39" fmla="*/ 26 h 59"/>
              <a:gd name="T40" fmla="*/ 6 w 84"/>
              <a:gd name="T41" fmla="*/ 25 h 59"/>
              <a:gd name="T42" fmla="*/ 3 w 84"/>
              <a:gd name="T43" fmla="*/ 29 h 59"/>
              <a:gd name="T44" fmla="*/ 0 w 84"/>
              <a:gd name="T45" fmla="*/ 36 h 59"/>
              <a:gd name="T46" fmla="*/ 0 w 84"/>
              <a:gd name="T47" fmla="*/ 42 h 59"/>
              <a:gd name="T48" fmla="*/ 2 w 84"/>
              <a:gd name="T49" fmla="*/ 47 h 59"/>
              <a:gd name="T50" fmla="*/ 4 w 84"/>
              <a:gd name="T51" fmla="*/ 52 h 59"/>
              <a:gd name="T52" fmla="*/ 5 w 84"/>
              <a:gd name="T53" fmla="*/ 54 h 59"/>
              <a:gd name="T54" fmla="*/ 9 w 84"/>
              <a:gd name="T55" fmla="*/ 58 h 59"/>
              <a:gd name="T56" fmla="*/ 11 w 84"/>
              <a:gd name="T57" fmla="*/ 59 h 59"/>
              <a:gd name="T58" fmla="*/ 11 w 84"/>
              <a:gd name="T59" fmla="*/ 59 h 59"/>
              <a:gd name="T60" fmla="*/ 12 w 84"/>
              <a:gd name="T61" fmla="*/ 54 h 59"/>
              <a:gd name="T62" fmla="*/ 16 w 84"/>
              <a:gd name="T63" fmla="*/ 53 h 59"/>
              <a:gd name="T64" fmla="*/ 19 w 84"/>
              <a:gd name="T65" fmla="*/ 52 h 59"/>
              <a:gd name="T66" fmla="*/ 25 w 84"/>
              <a:gd name="T67" fmla="*/ 53 h 59"/>
              <a:gd name="T68" fmla="*/ 25 w 84"/>
              <a:gd name="T69" fmla="*/ 48 h 59"/>
              <a:gd name="T70" fmla="*/ 32 w 84"/>
              <a:gd name="T71" fmla="*/ 43 h 59"/>
              <a:gd name="T72" fmla="*/ 38 w 84"/>
              <a:gd name="T73" fmla="*/ 46 h 59"/>
              <a:gd name="T74" fmla="*/ 51 w 84"/>
              <a:gd name="T75" fmla="*/ 49 h 59"/>
              <a:gd name="T76" fmla="*/ 53 w 84"/>
              <a:gd name="T77" fmla="*/ 44 h 59"/>
              <a:gd name="T78" fmla="*/ 59 w 84"/>
              <a:gd name="T79" fmla="*/ 44 h 59"/>
              <a:gd name="T80" fmla="*/ 66 w 84"/>
              <a:gd name="T81" fmla="*/ 42 h 59"/>
              <a:gd name="T82" fmla="*/ 71 w 84"/>
              <a:gd name="T83" fmla="*/ 41 h 59"/>
              <a:gd name="T84" fmla="*/ 79 w 84"/>
              <a:gd name="T85" fmla="*/ 42 h 59"/>
              <a:gd name="T86" fmla="*/ 84 w 84"/>
              <a:gd name="T87" fmla="*/ 41 h 59"/>
              <a:gd name="T88" fmla="*/ 82 w 84"/>
              <a:gd name="T89" fmla="*/ 37 h 59"/>
              <a:gd name="T90" fmla="*/ 78 w 84"/>
              <a:gd name="T91" fmla="*/ 3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 h="59">
                <a:moveTo>
                  <a:pt x="78" y="34"/>
                </a:moveTo>
                <a:cubicBezTo>
                  <a:pt x="78" y="32"/>
                  <a:pt x="78" y="31"/>
                  <a:pt x="75" y="29"/>
                </a:cubicBezTo>
                <a:cubicBezTo>
                  <a:pt x="73" y="27"/>
                  <a:pt x="71" y="27"/>
                  <a:pt x="71" y="25"/>
                </a:cubicBezTo>
                <a:cubicBezTo>
                  <a:pt x="71" y="24"/>
                  <a:pt x="70" y="24"/>
                  <a:pt x="68" y="21"/>
                </a:cubicBezTo>
                <a:cubicBezTo>
                  <a:pt x="66" y="18"/>
                  <a:pt x="62" y="18"/>
                  <a:pt x="62" y="18"/>
                </a:cubicBezTo>
                <a:cubicBezTo>
                  <a:pt x="62" y="16"/>
                  <a:pt x="62" y="16"/>
                  <a:pt x="62" y="16"/>
                </a:cubicBezTo>
                <a:cubicBezTo>
                  <a:pt x="59" y="16"/>
                  <a:pt x="59" y="16"/>
                  <a:pt x="59" y="16"/>
                </a:cubicBezTo>
                <a:cubicBezTo>
                  <a:pt x="59" y="16"/>
                  <a:pt x="57" y="15"/>
                  <a:pt x="60" y="13"/>
                </a:cubicBezTo>
                <a:cubicBezTo>
                  <a:pt x="62" y="12"/>
                  <a:pt x="60" y="9"/>
                  <a:pt x="59" y="7"/>
                </a:cubicBezTo>
                <a:cubicBezTo>
                  <a:pt x="59" y="6"/>
                  <a:pt x="55" y="2"/>
                  <a:pt x="54" y="1"/>
                </a:cubicBezTo>
                <a:cubicBezTo>
                  <a:pt x="54" y="1"/>
                  <a:pt x="53" y="1"/>
                  <a:pt x="53" y="1"/>
                </a:cubicBezTo>
                <a:cubicBezTo>
                  <a:pt x="52" y="0"/>
                  <a:pt x="49" y="1"/>
                  <a:pt x="47" y="3"/>
                </a:cubicBezTo>
                <a:cubicBezTo>
                  <a:pt x="46" y="4"/>
                  <a:pt x="47" y="5"/>
                  <a:pt x="46" y="6"/>
                </a:cubicBezTo>
                <a:cubicBezTo>
                  <a:pt x="45" y="7"/>
                  <a:pt x="41" y="10"/>
                  <a:pt x="39" y="13"/>
                </a:cubicBezTo>
                <a:cubicBezTo>
                  <a:pt x="37" y="16"/>
                  <a:pt x="31" y="14"/>
                  <a:pt x="29" y="15"/>
                </a:cubicBezTo>
                <a:cubicBezTo>
                  <a:pt x="28" y="16"/>
                  <a:pt x="30" y="18"/>
                  <a:pt x="29" y="19"/>
                </a:cubicBezTo>
                <a:cubicBezTo>
                  <a:pt x="28" y="20"/>
                  <a:pt x="24" y="21"/>
                  <a:pt x="23" y="22"/>
                </a:cubicBezTo>
                <a:cubicBezTo>
                  <a:pt x="22" y="23"/>
                  <a:pt x="17" y="22"/>
                  <a:pt x="15" y="24"/>
                </a:cubicBezTo>
                <a:cubicBezTo>
                  <a:pt x="14" y="26"/>
                  <a:pt x="12" y="22"/>
                  <a:pt x="11" y="24"/>
                </a:cubicBezTo>
                <a:cubicBezTo>
                  <a:pt x="9" y="26"/>
                  <a:pt x="8" y="26"/>
                  <a:pt x="7" y="26"/>
                </a:cubicBezTo>
                <a:cubicBezTo>
                  <a:pt x="7" y="26"/>
                  <a:pt x="7" y="25"/>
                  <a:pt x="6" y="25"/>
                </a:cubicBezTo>
                <a:cubicBezTo>
                  <a:pt x="5" y="26"/>
                  <a:pt x="3" y="28"/>
                  <a:pt x="3" y="29"/>
                </a:cubicBezTo>
                <a:cubicBezTo>
                  <a:pt x="2" y="32"/>
                  <a:pt x="0" y="35"/>
                  <a:pt x="0" y="36"/>
                </a:cubicBezTo>
                <a:cubicBezTo>
                  <a:pt x="0" y="38"/>
                  <a:pt x="0" y="40"/>
                  <a:pt x="0" y="42"/>
                </a:cubicBezTo>
                <a:cubicBezTo>
                  <a:pt x="0" y="44"/>
                  <a:pt x="1" y="46"/>
                  <a:pt x="2" y="47"/>
                </a:cubicBezTo>
                <a:cubicBezTo>
                  <a:pt x="4" y="49"/>
                  <a:pt x="4" y="52"/>
                  <a:pt x="4" y="52"/>
                </a:cubicBezTo>
                <a:cubicBezTo>
                  <a:pt x="4" y="52"/>
                  <a:pt x="4" y="52"/>
                  <a:pt x="5" y="54"/>
                </a:cubicBezTo>
                <a:cubicBezTo>
                  <a:pt x="6" y="55"/>
                  <a:pt x="9" y="57"/>
                  <a:pt x="9" y="58"/>
                </a:cubicBezTo>
                <a:cubicBezTo>
                  <a:pt x="10" y="59"/>
                  <a:pt x="10" y="59"/>
                  <a:pt x="11" y="59"/>
                </a:cubicBezTo>
                <a:cubicBezTo>
                  <a:pt x="11" y="59"/>
                  <a:pt x="11" y="59"/>
                  <a:pt x="11" y="59"/>
                </a:cubicBezTo>
                <a:cubicBezTo>
                  <a:pt x="13" y="57"/>
                  <a:pt x="12" y="54"/>
                  <a:pt x="12" y="54"/>
                </a:cubicBezTo>
                <a:cubicBezTo>
                  <a:pt x="16" y="53"/>
                  <a:pt x="16" y="53"/>
                  <a:pt x="16" y="53"/>
                </a:cubicBezTo>
                <a:cubicBezTo>
                  <a:pt x="19" y="52"/>
                  <a:pt x="19" y="52"/>
                  <a:pt x="19" y="52"/>
                </a:cubicBezTo>
                <a:cubicBezTo>
                  <a:pt x="25" y="53"/>
                  <a:pt x="25" y="53"/>
                  <a:pt x="25" y="53"/>
                </a:cubicBezTo>
                <a:cubicBezTo>
                  <a:pt x="25" y="48"/>
                  <a:pt x="25" y="48"/>
                  <a:pt x="25" y="48"/>
                </a:cubicBezTo>
                <a:cubicBezTo>
                  <a:pt x="25" y="48"/>
                  <a:pt x="29" y="43"/>
                  <a:pt x="32" y="43"/>
                </a:cubicBezTo>
                <a:cubicBezTo>
                  <a:pt x="35" y="43"/>
                  <a:pt x="38" y="46"/>
                  <a:pt x="38" y="46"/>
                </a:cubicBezTo>
                <a:cubicBezTo>
                  <a:pt x="51" y="49"/>
                  <a:pt x="51" y="49"/>
                  <a:pt x="51" y="49"/>
                </a:cubicBezTo>
                <a:cubicBezTo>
                  <a:pt x="51" y="49"/>
                  <a:pt x="52" y="45"/>
                  <a:pt x="53" y="44"/>
                </a:cubicBezTo>
                <a:cubicBezTo>
                  <a:pt x="54" y="44"/>
                  <a:pt x="57" y="45"/>
                  <a:pt x="59" y="44"/>
                </a:cubicBezTo>
                <a:cubicBezTo>
                  <a:pt x="60" y="44"/>
                  <a:pt x="63" y="42"/>
                  <a:pt x="66" y="42"/>
                </a:cubicBezTo>
                <a:cubicBezTo>
                  <a:pt x="69" y="42"/>
                  <a:pt x="70" y="44"/>
                  <a:pt x="71" y="41"/>
                </a:cubicBezTo>
                <a:cubicBezTo>
                  <a:pt x="73" y="39"/>
                  <a:pt x="79" y="42"/>
                  <a:pt x="79" y="42"/>
                </a:cubicBezTo>
                <a:cubicBezTo>
                  <a:pt x="84" y="41"/>
                  <a:pt x="84" y="41"/>
                  <a:pt x="84" y="41"/>
                </a:cubicBezTo>
                <a:cubicBezTo>
                  <a:pt x="82" y="37"/>
                  <a:pt x="82" y="37"/>
                  <a:pt x="82" y="37"/>
                </a:cubicBezTo>
                <a:cubicBezTo>
                  <a:pt x="82" y="37"/>
                  <a:pt x="78" y="35"/>
                  <a:pt x="78" y="3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 name="Freeform 26"/>
          <p:cNvSpPr/>
          <p:nvPr/>
        </p:nvSpPr>
        <p:spPr bwMode="auto">
          <a:xfrm>
            <a:off x="4273030" y="2867473"/>
            <a:ext cx="233363" cy="193675"/>
          </a:xfrm>
          <a:custGeom>
            <a:avLst/>
            <a:gdLst>
              <a:gd name="T0" fmla="*/ 51 w 82"/>
              <a:gd name="T1" fmla="*/ 50 h 68"/>
              <a:gd name="T2" fmla="*/ 55 w 82"/>
              <a:gd name="T3" fmla="*/ 49 h 68"/>
              <a:gd name="T4" fmla="*/ 59 w 82"/>
              <a:gd name="T5" fmla="*/ 53 h 68"/>
              <a:gd name="T6" fmla="*/ 62 w 82"/>
              <a:gd name="T7" fmla="*/ 50 h 68"/>
              <a:gd name="T8" fmla="*/ 67 w 82"/>
              <a:gd name="T9" fmla="*/ 39 h 68"/>
              <a:gd name="T10" fmla="*/ 71 w 82"/>
              <a:gd name="T11" fmla="*/ 35 h 68"/>
              <a:gd name="T12" fmla="*/ 72 w 82"/>
              <a:gd name="T13" fmla="*/ 31 h 68"/>
              <a:gd name="T14" fmla="*/ 73 w 82"/>
              <a:gd name="T15" fmla="*/ 27 h 68"/>
              <a:gd name="T16" fmla="*/ 77 w 82"/>
              <a:gd name="T17" fmla="*/ 19 h 68"/>
              <a:gd name="T18" fmla="*/ 81 w 82"/>
              <a:gd name="T19" fmla="*/ 17 h 68"/>
              <a:gd name="T20" fmla="*/ 81 w 82"/>
              <a:gd name="T21" fmla="*/ 13 h 68"/>
              <a:gd name="T22" fmla="*/ 78 w 82"/>
              <a:gd name="T23" fmla="*/ 10 h 68"/>
              <a:gd name="T24" fmla="*/ 78 w 82"/>
              <a:gd name="T25" fmla="*/ 6 h 68"/>
              <a:gd name="T26" fmla="*/ 76 w 82"/>
              <a:gd name="T27" fmla="*/ 4 h 68"/>
              <a:gd name="T28" fmla="*/ 73 w 82"/>
              <a:gd name="T29" fmla="*/ 2 h 68"/>
              <a:gd name="T30" fmla="*/ 68 w 82"/>
              <a:gd name="T31" fmla="*/ 7 h 68"/>
              <a:gd name="T32" fmla="*/ 63 w 82"/>
              <a:gd name="T33" fmla="*/ 5 h 68"/>
              <a:gd name="T34" fmla="*/ 54 w 82"/>
              <a:gd name="T35" fmla="*/ 5 h 68"/>
              <a:gd name="T36" fmla="*/ 49 w 82"/>
              <a:gd name="T37" fmla="*/ 8 h 68"/>
              <a:gd name="T38" fmla="*/ 42 w 82"/>
              <a:gd name="T39" fmla="*/ 8 h 68"/>
              <a:gd name="T40" fmla="*/ 37 w 82"/>
              <a:gd name="T41" fmla="*/ 5 h 68"/>
              <a:gd name="T42" fmla="*/ 31 w 82"/>
              <a:gd name="T43" fmla="*/ 7 h 68"/>
              <a:gd name="T44" fmla="*/ 27 w 82"/>
              <a:gd name="T45" fmla="*/ 3 h 68"/>
              <a:gd name="T46" fmla="*/ 22 w 82"/>
              <a:gd name="T47" fmla="*/ 2 h 68"/>
              <a:gd name="T48" fmla="*/ 18 w 82"/>
              <a:gd name="T49" fmla="*/ 3 h 68"/>
              <a:gd name="T50" fmla="*/ 11 w 82"/>
              <a:gd name="T51" fmla="*/ 3 h 68"/>
              <a:gd name="T52" fmla="*/ 10 w 82"/>
              <a:gd name="T53" fmla="*/ 9 h 68"/>
              <a:gd name="T54" fmla="*/ 7 w 82"/>
              <a:gd name="T55" fmla="*/ 14 h 68"/>
              <a:gd name="T56" fmla="*/ 6 w 82"/>
              <a:gd name="T57" fmla="*/ 15 h 68"/>
              <a:gd name="T58" fmla="*/ 7 w 82"/>
              <a:gd name="T59" fmla="*/ 20 h 68"/>
              <a:gd name="T60" fmla="*/ 6 w 82"/>
              <a:gd name="T61" fmla="*/ 29 h 68"/>
              <a:gd name="T62" fmla="*/ 3 w 82"/>
              <a:gd name="T63" fmla="*/ 33 h 68"/>
              <a:gd name="T64" fmla="*/ 1 w 82"/>
              <a:gd name="T65" fmla="*/ 38 h 68"/>
              <a:gd name="T66" fmla="*/ 1 w 82"/>
              <a:gd name="T67" fmla="*/ 46 h 68"/>
              <a:gd name="T68" fmla="*/ 3 w 82"/>
              <a:gd name="T69" fmla="*/ 52 h 68"/>
              <a:gd name="T70" fmla="*/ 3 w 82"/>
              <a:gd name="T71" fmla="*/ 52 h 68"/>
              <a:gd name="T72" fmla="*/ 13 w 82"/>
              <a:gd name="T73" fmla="*/ 55 h 68"/>
              <a:gd name="T74" fmla="*/ 20 w 82"/>
              <a:gd name="T75" fmla="*/ 62 h 68"/>
              <a:gd name="T76" fmla="*/ 23 w 82"/>
              <a:gd name="T77" fmla="*/ 67 h 68"/>
              <a:gd name="T78" fmla="*/ 30 w 82"/>
              <a:gd name="T79" fmla="*/ 66 h 68"/>
              <a:gd name="T80" fmla="*/ 40 w 82"/>
              <a:gd name="T81" fmla="*/ 65 h 68"/>
              <a:gd name="T82" fmla="*/ 41 w 82"/>
              <a:gd name="T83" fmla="*/ 65 h 68"/>
              <a:gd name="T84" fmla="*/ 43 w 82"/>
              <a:gd name="T85" fmla="*/ 57 h 68"/>
              <a:gd name="T86" fmla="*/ 51 w 82"/>
              <a:gd name="T87" fmla="*/ 5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2" h="68">
                <a:moveTo>
                  <a:pt x="51" y="50"/>
                </a:moveTo>
                <a:cubicBezTo>
                  <a:pt x="51" y="50"/>
                  <a:pt x="53" y="50"/>
                  <a:pt x="55" y="49"/>
                </a:cubicBezTo>
                <a:cubicBezTo>
                  <a:pt x="56" y="48"/>
                  <a:pt x="59" y="51"/>
                  <a:pt x="59" y="53"/>
                </a:cubicBezTo>
                <a:cubicBezTo>
                  <a:pt x="60" y="55"/>
                  <a:pt x="61" y="52"/>
                  <a:pt x="62" y="50"/>
                </a:cubicBezTo>
                <a:cubicBezTo>
                  <a:pt x="64" y="47"/>
                  <a:pt x="67" y="41"/>
                  <a:pt x="67" y="39"/>
                </a:cubicBezTo>
                <a:cubicBezTo>
                  <a:pt x="67" y="38"/>
                  <a:pt x="71" y="36"/>
                  <a:pt x="71" y="35"/>
                </a:cubicBezTo>
                <a:cubicBezTo>
                  <a:pt x="71" y="34"/>
                  <a:pt x="71" y="32"/>
                  <a:pt x="72" y="31"/>
                </a:cubicBezTo>
                <a:cubicBezTo>
                  <a:pt x="73" y="31"/>
                  <a:pt x="73" y="28"/>
                  <a:pt x="73" y="27"/>
                </a:cubicBezTo>
                <a:cubicBezTo>
                  <a:pt x="73" y="26"/>
                  <a:pt x="77" y="20"/>
                  <a:pt x="77" y="19"/>
                </a:cubicBezTo>
                <a:cubicBezTo>
                  <a:pt x="78" y="19"/>
                  <a:pt x="81" y="19"/>
                  <a:pt x="81" y="17"/>
                </a:cubicBezTo>
                <a:cubicBezTo>
                  <a:pt x="81" y="15"/>
                  <a:pt x="82" y="13"/>
                  <a:pt x="81" y="13"/>
                </a:cubicBezTo>
                <a:cubicBezTo>
                  <a:pt x="80" y="12"/>
                  <a:pt x="78" y="11"/>
                  <a:pt x="78" y="10"/>
                </a:cubicBezTo>
                <a:cubicBezTo>
                  <a:pt x="78" y="9"/>
                  <a:pt x="78" y="8"/>
                  <a:pt x="78" y="6"/>
                </a:cubicBezTo>
                <a:cubicBezTo>
                  <a:pt x="77" y="6"/>
                  <a:pt x="77" y="4"/>
                  <a:pt x="76" y="4"/>
                </a:cubicBezTo>
                <a:cubicBezTo>
                  <a:pt x="75" y="3"/>
                  <a:pt x="75" y="2"/>
                  <a:pt x="73" y="2"/>
                </a:cubicBezTo>
                <a:cubicBezTo>
                  <a:pt x="72" y="3"/>
                  <a:pt x="70" y="6"/>
                  <a:pt x="68" y="7"/>
                </a:cubicBezTo>
                <a:cubicBezTo>
                  <a:pt x="67" y="7"/>
                  <a:pt x="64" y="6"/>
                  <a:pt x="63" y="5"/>
                </a:cubicBezTo>
                <a:cubicBezTo>
                  <a:pt x="62" y="5"/>
                  <a:pt x="56" y="5"/>
                  <a:pt x="54" y="5"/>
                </a:cubicBezTo>
                <a:cubicBezTo>
                  <a:pt x="52" y="5"/>
                  <a:pt x="50" y="7"/>
                  <a:pt x="49" y="8"/>
                </a:cubicBezTo>
                <a:cubicBezTo>
                  <a:pt x="47" y="9"/>
                  <a:pt x="43" y="9"/>
                  <a:pt x="42" y="8"/>
                </a:cubicBezTo>
                <a:cubicBezTo>
                  <a:pt x="41" y="8"/>
                  <a:pt x="38" y="5"/>
                  <a:pt x="37" y="5"/>
                </a:cubicBezTo>
                <a:cubicBezTo>
                  <a:pt x="36" y="5"/>
                  <a:pt x="33" y="6"/>
                  <a:pt x="31" y="7"/>
                </a:cubicBezTo>
                <a:cubicBezTo>
                  <a:pt x="29" y="8"/>
                  <a:pt x="29" y="5"/>
                  <a:pt x="27" y="3"/>
                </a:cubicBezTo>
                <a:cubicBezTo>
                  <a:pt x="26" y="2"/>
                  <a:pt x="23" y="3"/>
                  <a:pt x="22" y="2"/>
                </a:cubicBezTo>
                <a:cubicBezTo>
                  <a:pt x="20" y="0"/>
                  <a:pt x="19" y="3"/>
                  <a:pt x="18" y="3"/>
                </a:cubicBezTo>
                <a:cubicBezTo>
                  <a:pt x="16" y="3"/>
                  <a:pt x="13" y="2"/>
                  <a:pt x="11" y="3"/>
                </a:cubicBezTo>
                <a:cubicBezTo>
                  <a:pt x="10" y="4"/>
                  <a:pt x="10" y="8"/>
                  <a:pt x="10" y="9"/>
                </a:cubicBezTo>
                <a:cubicBezTo>
                  <a:pt x="9" y="9"/>
                  <a:pt x="7" y="12"/>
                  <a:pt x="7" y="14"/>
                </a:cubicBezTo>
                <a:cubicBezTo>
                  <a:pt x="7" y="14"/>
                  <a:pt x="7" y="15"/>
                  <a:pt x="6" y="15"/>
                </a:cubicBezTo>
                <a:cubicBezTo>
                  <a:pt x="6" y="17"/>
                  <a:pt x="7" y="19"/>
                  <a:pt x="7" y="20"/>
                </a:cubicBezTo>
                <a:cubicBezTo>
                  <a:pt x="7" y="21"/>
                  <a:pt x="8" y="28"/>
                  <a:pt x="6" y="29"/>
                </a:cubicBezTo>
                <a:cubicBezTo>
                  <a:pt x="5" y="31"/>
                  <a:pt x="3" y="33"/>
                  <a:pt x="3" y="33"/>
                </a:cubicBezTo>
                <a:cubicBezTo>
                  <a:pt x="3" y="33"/>
                  <a:pt x="1" y="35"/>
                  <a:pt x="1" y="38"/>
                </a:cubicBezTo>
                <a:cubicBezTo>
                  <a:pt x="0" y="42"/>
                  <a:pt x="1" y="44"/>
                  <a:pt x="1" y="46"/>
                </a:cubicBezTo>
                <a:cubicBezTo>
                  <a:pt x="1" y="48"/>
                  <a:pt x="2" y="50"/>
                  <a:pt x="3" y="52"/>
                </a:cubicBezTo>
                <a:cubicBezTo>
                  <a:pt x="3" y="52"/>
                  <a:pt x="3" y="52"/>
                  <a:pt x="3" y="52"/>
                </a:cubicBezTo>
                <a:cubicBezTo>
                  <a:pt x="4" y="53"/>
                  <a:pt x="10" y="54"/>
                  <a:pt x="13" y="55"/>
                </a:cubicBezTo>
                <a:cubicBezTo>
                  <a:pt x="16" y="55"/>
                  <a:pt x="20" y="60"/>
                  <a:pt x="20" y="62"/>
                </a:cubicBezTo>
                <a:cubicBezTo>
                  <a:pt x="20" y="63"/>
                  <a:pt x="22" y="67"/>
                  <a:pt x="23" y="67"/>
                </a:cubicBezTo>
                <a:cubicBezTo>
                  <a:pt x="25" y="68"/>
                  <a:pt x="29" y="66"/>
                  <a:pt x="30" y="66"/>
                </a:cubicBezTo>
                <a:cubicBezTo>
                  <a:pt x="32" y="66"/>
                  <a:pt x="38" y="66"/>
                  <a:pt x="40" y="65"/>
                </a:cubicBezTo>
                <a:cubicBezTo>
                  <a:pt x="40" y="65"/>
                  <a:pt x="40" y="65"/>
                  <a:pt x="41" y="65"/>
                </a:cubicBezTo>
                <a:cubicBezTo>
                  <a:pt x="42" y="61"/>
                  <a:pt x="43" y="57"/>
                  <a:pt x="43" y="57"/>
                </a:cubicBezTo>
                <a:cubicBezTo>
                  <a:pt x="43" y="57"/>
                  <a:pt x="50" y="50"/>
                  <a:pt x="51" y="5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 name="Freeform 27"/>
          <p:cNvSpPr/>
          <p:nvPr/>
        </p:nvSpPr>
        <p:spPr bwMode="auto">
          <a:xfrm>
            <a:off x="4234930" y="2899223"/>
            <a:ext cx="60325" cy="122238"/>
          </a:xfrm>
          <a:custGeom>
            <a:avLst/>
            <a:gdLst>
              <a:gd name="T0" fmla="*/ 14 w 21"/>
              <a:gd name="T1" fmla="*/ 27 h 43"/>
              <a:gd name="T2" fmla="*/ 16 w 21"/>
              <a:gd name="T3" fmla="*/ 22 h 43"/>
              <a:gd name="T4" fmla="*/ 19 w 21"/>
              <a:gd name="T5" fmla="*/ 18 h 43"/>
              <a:gd name="T6" fmla="*/ 20 w 21"/>
              <a:gd name="T7" fmla="*/ 9 h 43"/>
              <a:gd name="T8" fmla="*/ 19 w 21"/>
              <a:gd name="T9" fmla="*/ 4 h 43"/>
              <a:gd name="T10" fmla="*/ 17 w 21"/>
              <a:gd name="T11" fmla="*/ 4 h 43"/>
              <a:gd name="T12" fmla="*/ 15 w 21"/>
              <a:gd name="T13" fmla="*/ 0 h 43"/>
              <a:gd name="T14" fmla="*/ 12 w 21"/>
              <a:gd name="T15" fmla="*/ 4 h 43"/>
              <a:gd name="T16" fmla="*/ 10 w 21"/>
              <a:gd name="T17" fmla="*/ 6 h 43"/>
              <a:gd name="T18" fmla="*/ 5 w 21"/>
              <a:gd name="T19" fmla="*/ 8 h 43"/>
              <a:gd name="T20" fmla="*/ 1 w 21"/>
              <a:gd name="T21" fmla="*/ 10 h 43"/>
              <a:gd name="T22" fmla="*/ 0 w 21"/>
              <a:gd name="T23" fmla="*/ 10 h 43"/>
              <a:gd name="T24" fmla="*/ 3 w 21"/>
              <a:gd name="T25" fmla="*/ 17 h 43"/>
              <a:gd name="T26" fmla="*/ 5 w 21"/>
              <a:gd name="T27" fmla="*/ 22 h 43"/>
              <a:gd name="T28" fmla="*/ 6 w 21"/>
              <a:gd name="T29" fmla="*/ 30 h 43"/>
              <a:gd name="T30" fmla="*/ 7 w 21"/>
              <a:gd name="T31" fmla="*/ 43 h 43"/>
              <a:gd name="T32" fmla="*/ 11 w 21"/>
              <a:gd name="T33" fmla="*/ 42 h 43"/>
              <a:gd name="T34" fmla="*/ 16 w 21"/>
              <a:gd name="T35" fmla="*/ 41 h 43"/>
              <a:gd name="T36" fmla="*/ 14 w 21"/>
              <a:gd name="T37" fmla="*/ 35 h 43"/>
              <a:gd name="T38" fmla="*/ 14 w 21"/>
              <a:gd name="T39" fmla="*/ 2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 h="43">
                <a:moveTo>
                  <a:pt x="14" y="27"/>
                </a:moveTo>
                <a:cubicBezTo>
                  <a:pt x="14" y="24"/>
                  <a:pt x="16" y="22"/>
                  <a:pt x="16" y="22"/>
                </a:cubicBezTo>
                <a:cubicBezTo>
                  <a:pt x="16" y="22"/>
                  <a:pt x="18" y="20"/>
                  <a:pt x="19" y="18"/>
                </a:cubicBezTo>
                <a:cubicBezTo>
                  <a:pt x="21" y="17"/>
                  <a:pt x="20" y="10"/>
                  <a:pt x="20" y="9"/>
                </a:cubicBezTo>
                <a:cubicBezTo>
                  <a:pt x="20" y="8"/>
                  <a:pt x="19" y="6"/>
                  <a:pt x="19" y="4"/>
                </a:cubicBezTo>
                <a:cubicBezTo>
                  <a:pt x="19" y="4"/>
                  <a:pt x="18" y="4"/>
                  <a:pt x="17" y="4"/>
                </a:cubicBezTo>
                <a:cubicBezTo>
                  <a:pt x="15" y="3"/>
                  <a:pt x="17" y="1"/>
                  <a:pt x="15" y="0"/>
                </a:cubicBezTo>
                <a:cubicBezTo>
                  <a:pt x="13" y="0"/>
                  <a:pt x="12" y="2"/>
                  <a:pt x="12" y="4"/>
                </a:cubicBezTo>
                <a:cubicBezTo>
                  <a:pt x="13" y="5"/>
                  <a:pt x="11" y="5"/>
                  <a:pt x="10" y="6"/>
                </a:cubicBezTo>
                <a:cubicBezTo>
                  <a:pt x="10" y="7"/>
                  <a:pt x="6" y="8"/>
                  <a:pt x="5" y="8"/>
                </a:cubicBezTo>
                <a:cubicBezTo>
                  <a:pt x="3" y="8"/>
                  <a:pt x="2" y="10"/>
                  <a:pt x="1" y="10"/>
                </a:cubicBezTo>
                <a:cubicBezTo>
                  <a:pt x="1" y="10"/>
                  <a:pt x="0" y="10"/>
                  <a:pt x="0" y="10"/>
                </a:cubicBezTo>
                <a:cubicBezTo>
                  <a:pt x="0" y="16"/>
                  <a:pt x="1" y="15"/>
                  <a:pt x="3" y="17"/>
                </a:cubicBezTo>
                <a:cubicBezTo>
                  <a:pt x="6" y="18"/>
                  <a:pt x="4" y="21"/>
                  <a:pt x="5" y="22"/>
                </a:cubicBezTo>
                <a:cubicBezTo>
                  <a:pt x="6" y="23"/>
                  <a:pt x="6" y="26"/>
                  <a:pt x="6" y="30"/>
                </a:cubicBezTo>
                <a:cubicBezTo>
                  <a:pt x="6" y="32"/>
                  <a:pt x="6" y="38"/>
                  <a:pt x="7" y="43"/>
                </a:cubicBezTo>
                <a:cubicBezTo>
                  <a:pt x="8" y="42"/>
                  <a:pt x="10" y="42"/>
                  <a:pt x="11" y="42"/>
                </a:cubicBezTo>
                <a:cubicBezTo>
                  <a:pt x="13" y="42"/>
                  <a:pt x="15" y="39"/>
                  <a:pt x="16" y="41"/>
                </a:cubicBezTo>
                <a:cubicBezTo>
                  <a:pt x="15" y="39"/>
                  <a:pt x="14" y="37"/>
                  <a:pt x="14" y="35"/>
                </a:cubicBezTo>
                <a:cubicBezTo>
                  <a:pt x="14" y="33"/>
                  <a:pt x="13" y="31"/>
                  <a:pt x="14" y="2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 name="Freeform 28"/>
          <p:cNvSpPr/>
          <p:nvPr/>
        </p:nvSpPr>
        <p:spPr bwMode="auto">
          <a:xfrm>
            <a:off x="4219055" y="2924623"/>
            <a:ext cx="36513" cy="103188"/>
          </a:xfrm>
          <a:custGeom>
            <a:avLst/>
            <a:gdLst>
              <a:gd name="T0" fmla="*/ 11 w 13"/>
              <a:gd name="T1" fmla="*/ 13 h 36"/>
              <a:gd name="T2" fmla="*/ 9 w 13"/>
              <a:gd name="T3" fmla="*/ 8 h 36"/>
              <a:gd name="T4" fmla="*/ 6 w 13"/>
              <a:gd name="T5" fmla="*/ 1 h 36"/>
              <a:gd name="T6" fmla="*/ 1 w 13"/>
              <a:gd name="T7" fmla="*/ 0 h 36"/>
              <a:gd name="T8" fmla="*/ 0 w 13"/>
              <a:gd name="T9" fmla="*/ 1 h 36"/>
              <a:gd name="T10" fmla="*/ 1 w 13"/>
              <a:gd name="T11" fmla="*/ 5 h 36"/>
              <a:gd name="T12" fmla="*/ 3 w 13"/>
              <a:gd name="T13" fmla="*/ 9 h 36"/>
              <a:gd name="T14" fmla="*/ 3 w 13"/>
              <a:gd name="T15" fmla="*/ 19 h 36"/>
              <a:gd name="T16" fmla="*/ 5 w 13"/>
              <a:gd name="T17" fmla="*/ 28 h 36"/>
              <a:gd name="T18" fmla="*/ 7 w 13"/>
              <a:gd name="T19" fmla="*/ 36 h 36"/>
              <a:gd name="T20" fmla="*/ 9 w 13"/>
              <a:gd name="T21" fmla="*/ 35 h 36"/>
              <a:gd name="T22" fmla="*/ 13 w 13"/>
              <a:gd name="T23" fmla="*/ 34 h 36"/>
              <a:gd name="T24" fmla="*/ 12 w 13"/>
              <a:gd name="T25" fmla="*/ 21 h 36"/>
              <a:gd name="T26" fmla="*/ 11 w 13"/>
              <a:gd name="T27"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36">
                <a:moveTo>
                  <a:pt x="11" y="13"/>
                </a:moveTo>
                <a:cubicBezTo>
                  <a:pt x="10" y="12"/>
                  <a:pt x="12" y="9"/>
                  <a:pt x="9" y="8"/>
                </a:cubicBezTo>
                <a:cubicBezTo>
                  <a:pt x="7" y="6"/>
                  <a:pt x="6" y="7"/>
                  <a:pt x="6" y="1"/>
                </a:cubicBezTo>
                <a:cubicBezTo>
                  <a:pt x="4" y="1"/>
                  <a:pt x="2" y="1"/>
                  <a:pt x="1" y="0"/>
                </a:cubicBezTo>
                <a:cubicBezTo>
                  <a:pt x="0" y="0"/>
                  <a:pt x="0" y="0"/>
                  <a:pt x="0" y="1"/>
                </a:cubicBezTo>
                <a:cubicBezTo>
                  <a:pt x="0" y="3"/>
                  <a:pt x="1" y="5"/>
                  <a:pt x="1" y="5"/>
                </a:cubicBezTo>
                <a:cubicBezTo>
                  <a:pt x="2" y="6"/>
                  <a:pt x="3" y="7"/>
                  <a:pt x="3" y="9"/>
                </a:cubicBezTo>
                <a:cubicBezTo>
                  <a:pt x="3" y="11"/>
                  <a:pt x="2" y="16"/>
                  <a:pt x="3" y="19"/>
                </a:cubicBezTo>
                <a:cubicBezTo>
                  <a:pt x="4" y="21"/>
                  <a:pt x="5" y="25"/>
                  <a:pt x="5" y="28"/>
                </a:cubicBezTo>
                <a:cubicBezTo>
                  <a:pt x="5" y="30"/>
                  <a:pt x="6" y="34"/>
                  <a:pt x="7" y="36"/>
                </a:cubicBezTo>
                <a:cubicBezTo>
                  <a:pt x="8" y="36"/>
                  <a:pt x="8" y="36"/>
                  <a:pt x="9" y="35"/>
                </a:cubicBezTo>
                <a:cubicBezTo>
                  <a:pt x="10" y="34"/>
                  <a:pt x="11" y="34"/>
                  <a:pt x="13" y="34"/>
                </a:cubicBezTo>
                <a:cubicBezTo>
                  <a:pt x="12" y="29"/>
                  <a:pt x="12" y="23"/>
                  <a:pt x="12" y="21"/>
                </a:cubicBezTo>
                <a:cubicBezTo>
                  <a:pt x="12" y="17"/>
                  <a:pt x="12" y="14"/>
                  <a:pt x="11" y="1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 name="Freeform 29"/>
          <p:cNvSpPr/>
          <p:nvPr/>
        </p:nvSpPr>
        <p:spPr bwMode="auto">
          <a:xfrm>
            <a:off x="4388917" y="2884935"/>
            <a:ext cx="146050" cy="228600"/>
          </a:xfrm>
          <a:custGeom>
            <a:avLst/>
            <a:gdLst>
              <a:gd name="T0" fmla="*/ 21 w 51"/>
              <a:gd name="T1" fmla="*/ 76 h 80"/>
              <a:gd name="T2" fmla="*/ 39 w 51"/>
              <a:gd name="T3" fmla="*/ 76 h 80"/>
              <a:gd name="T4" fmla="*/ 49 w 51"/>
              <a:gd name="T5" fmla="*/ 80 h 80"/>
              <a:gd name="T6" fmla="*/ 51 w 51"/>
              <a:gd name="T7" fmla="*/ 73 h 80"/>
              <a:gd name="T8" fmla="*/ 49 w 51"/>
              <a:gd name="T9" fmla="*/ 72 h 80"/>
              <a:gd name="T10" fmla="*/ 45 w 51"/>
              <a:gd name="T11" fmla="*/ 68 h 80"/>
              <a:gd name="T12" fmla="*/ 44 w 51"/>
              <a:gd name="T13" fmla="*/ 66 h 80"/>
              <a:gd name="T14" fmla="*/ 42 w 51"/>
              <a:gd name="T15" fmla="*/ 61 h 80"/>
              <a:gd name="T16" fmla="*/ 40 w 51"/>
              <a:gd name="T17" fmla="*/ 56 h 80"/>
              <a:gd name="T18" fmla="*/ 40 w 51"/>
              <a:gd name="T19" fmla="*/ 50 h 80"/>
              <a:gd name="T20" fmla="*/ 43 w 51"/>
              <a:gd name="T21" fmla="*/ 43 h 80"/>
              <a:gd name="T22" fmla="*/ 46 w 51"/>
              <a:gd name="T23" fmla="*/ 39 h 80"/>
              <a:gd name="T24" fmla="*/ 44 w 51"/>
              <a:gd name="T25" fmla="*/ 34 h 80"/>
              <a:gd name="T26" fmla="*/ 39 w 51"/>
              <a:gd name="T27" fmla="*/ 28 h 80"/>
              <a:gd name="T28" fmla="*/ 37 w 51"/>
              <a:gd name="T29" fmla="*/ 23 h 80"/>
              <a:gd name="T30" fmla="*/ 43 w 51"/>
              <a:gd name="T31" fmla="*/ 23 h 80"/>
              <a:gd name="T32" fmla="*/ 46 w 51"/>
              <a:gd name="T33" fmla="*/ 22 h 80"/>
              <a:gd name="T34" fmla="*/ 43 w 51"/>
              <a:gd name="T35" fmla="*/ 13 h 80"/>
              <a:gd name="T36" fmla="*/ 42 w 51"/>
              <a:gd name="T37" fmla="*/ 7 h 80"/>
              <a:gd name="T38" fmla="*/ 38 w 51"/>
              <a:gd name="T39" fmla="*/ 0 h 80"/>
              <a:gd name="T40" fmla="*/ 37 w 51"/>
              <a:gd name="T41" fmla="*/ 0 h 80"/>
              <a:gd name="T42" fmla="*/ 37 w 51"/>
              <a:gd name="T43" fmla="*/ 4 h 80"/>
              <a:gd name="T44" fmla="*/ 40 w 51"/>
              <a:gd name="T45" fmla="*/ 7 h 80"/>
              <a:gd name="T46" fmla="*/ 40 w 51"/>
              <a:gd name="T47" fmla="*/ 11 h 80"/>
              <a:gd name="T48" fmla="*/ 36 w 51"/>
              <a:gd name="T49" fmla="*/ 13 h 80"/>
              <a:gd name="T50" fmla="*/ 32 w 51"/>
              <a:gd name="T51" fmla="*/ 21 h 80"/>
              <a:gd name="T52" fmla="*/ 31 w 51"/>
              <a:gd name="T53" fmla="*/ 25 h 80"/>
              <a:gd name="T54" fmla="*/ 30 w 51"/>
              <a:gd name="T55" fmla="*/ 29 h 80"/>
              <a:gd name="T56" fmla="*/ 26 w 51"/>
              <a:gd name="T57" fmla="*/ 33 h 80"/>
              <a:gd name="T58" fmla="*/ 21 w 51"/>
              <a:gd name="T59" fmla="*/ 44 h 80"/>
              <a:gd name="T60" fmla="*/ 18 w 51"/>
              <a:gd name="T61" fmla="*/ 47 h 80"/>
              <a:gd name="T62" fmla="*/ 14 w 51"/>
              <a:gd name="T63" fmla="*/ 43 h 80"/>
              <a:gd name="T64" fmla="*/ 10 w 51"/>
              <a:gd name="T65" fmla="*/ 44 h 80"/>
              <a:gd name="T66" fmla="*/ 2 w 51"/>
              <a:gd name="T67" fmla="*/ 51 h 80"/>
              <a:gd name="T68" fmla="*/ 0 w 51"/>
              <a:gd name="T69" fmla="*/ 59 h 80"/>
              <a:gd name="T70" fmla="*/ 3 w 51"/>
              <a:gd name="T71" fmla="*/ 63 h 80"/>
              <a:gd name="T72" fmla="*/ 8 w 51"/>
              <a:gd name="T73" fmla="*/ 64 h 80"/>
              <a:gd name="T74" fmla="*/ 10 w 51"/>
              <a:gd name="T75" fmla="*/ 71 h 80"/>
              <a:gd name="T76" fmla="*/ 8 w 51"/>
              <a:gd name="T77" fmla="*/ 77 h 80"/>
              <a:gd name="T78" fmla="*/ 18 w 51"/>
              <a:gd name="T79" fmla="*/ 77 h 80"/>
              <a:gd name="T80" fmla="*/ 21 w 51"/>
              <a:gd name="T81"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 h="80">
                <a:moveTo>
                  <a:pt x="21" y="76"/>
                </a:moveTo>
                <a:cubicBezTo>
                  <a:pt x="21" y="76"/>
                  <a:pt x="37" y="77"/>
                  <a:pt x="39" y="76"/>
                </a:cubicBezTo>
                <a:cubicBezTo>
                  <a:pt x="41" y="76"/>
                  <a:pt x="49" y="80"/>
                  <a:pt x="49" y="80"/>
                </a:cubicBezTo>
                <a:cubicBezTo>
                  <a:pt x="49" y="80"/>
                  <a:pt x="49" y="76"/>
                  <a:pt x="51" y="73"/>
                </a:cubicBezTo>
                <a:cubicBezTo>
                  <a:pt x="50" y="73"/>
                  <a:pt x="50" y="73"/>
                  <a:pt x="49" y="72"/>
                </a:cubicBezTo>
                <a:cubicBezTo>
                  <a:pt x="49" y="71"/>
                  <a:pt x="46" y="69"/>
                  <a:pt x="45" y="68"/>
                </a:cubicBezTo>
                <a:cubicBezTo>
                  <a:pt x="44" y="66"/>
                  <a:pt x="44" y="66"/>
                  <a:pt x="44" y="66"/>
                </a:cubicBezTo>
                <a:cubicBezTo>
                  <a:pt x="44" y="66"/>
                  <a:pt x="44" y="63"/>
                  <a:pt x="42" y="61"/>
                </a:cubicBezTo>
                <a:cubicBezTo>
                  <a:pt x="41" y="60"/>
                  <a:pt x="40" y="58"/>
                  <a:pt x="40" y="56"/>
                </a:cubicBezTo>
                <a:cubicBezTo>
                  <a:pt x="40" y="54"/>
                  <a:pt x="40" y="52"/>
                  <a:pt x="40" y="50"/>
                </a:cubicBezTo>
                <a:cubicBezTo>
                  <a:pt x="40" y="49"/>
                  <a:pt x="42" y="46"/>
                  <a:pt x="43" y="43"/>
                </a:cubicBezTo>
                <a:cubicBezTo>
                  <a:pt x="43" y="42"/>
                  <a:pt x="45" y="40"/>
                  <a:pt x="46" y="39"/>
                </a:cubicBezTo>
                <a:cubicBezTo>
                  <a:pt x="46" y="38"/>
                  <a:pt x="45" y="36"/>
                  <a:pt x="44" y="34"/>
                </a:cubicBezTo>
                <a:cubicBezTo>
                  <a:pt x="44" y="32"/>
                  <a:pt x="41" y="31"/>
                  <a:pt x="39" y="28"/>
                </a:cubicBezTo>
                <a:cubicBezTo>
                  <a:pt x="36" y="26"/>
                  <a:pt x="37" y="24"/>
                  <a:pt x="37" y="23"/>
                </a:cubicBezTo>
                <a:cubicBezTo>
                  <a:pt x="37" y="22"/>
                  <a:pt x="40" y="22"/>
                  <a:pt x="43" y="23"/>
                </a:cubicBezTo>
                <a:cubicBezTo>
                  <a:pt x="45" y="23"/>
                  <a:pt x="47" y="22"/>
                  <a:pt x="46" y="22"/>
                </a:cubicBezTo>
                <a:cubicBezTo>
                  <a:pt x="45" y="21"/>
                  <a:pt x="43" y="16"/>
                  <a:pt x="43" y="13"/>
                </a:cubicBezTo>
                <a:cubicBezTo>
                  <a:pt x="43" y="10"/>
                  <a:pt x="42" y="9"/>
                  <a:pt x="42" y="7"/>
                </a:cubicBezTo>
                <a:cubicBezTo>
                  <a:pt x="42" y="5"/>
                  <a:pt x="40" y="0"/>
                  <a:pt x="38" y="0"/>
                </a:cubicBezTo>
                <a:cubicBezTo>
                  <a:pt x="38" y="0"/>
                  <a:pt x="38" y="0"/>
                  <a:pt x="37" y="0"/>
                </a:cubicBezTo>
                <a:cubicBezTo>
                  <a:pt x="37" y="2"/>
                  <a:pt x="37" y="3"/>
                  <a:pt x="37" y="4"/>
                </a:cubicBezTo>
                <a:cubicBezTo>
                  <a:pt x="37" y="5"/>
                  <a:pt x="39" y="6"/>
                  <a:pt x="40" y="7"/>
                </a:cubicBezTo>
                <a:cubicBezTo>
                  <a:pt x="41" y="7"/>
                  <a:pt x="40" y="9"/>
                  <a:pt x="40" y="11"/>
                </a:cubicBezTo>
                <a:cubicBezTo>
                  <a:pt x="40" y="13"/>
                  <a:pt x="37" y="13"/>
                  <a:pt x="36" y="13"/>
                </a:cubicBezTo>
                <a:cubicBezTo>
                  <a:pt x="36" y="14"/>
                  <a:pt x="32" y="20"/>
                  <a:pt x="32" y="21"/>
                </a:cubicBezTo>
                <a:cubicBezTo>
                  <a:pt x="32" y="22"/>
                  <a:pt x="32" y="25"/>
                  <a:pt x="31" y="25"/>
                </a:cubicBezTo>
                <a:cubicBezTo>
                  <a:pt x="30" y="26"/>
                  <a:pt x="30" y="28"/>
                  <a:pt x="30" y="29"/>
                </a:cubicBezTo>
                <a:cubicBezTo>
                  <a:pt x="30" y="30"/>
                  <a:pt x="26" y="32"/>
                  <a:pt x="26" y="33"/>
                </a:cubicBezTo>
                <a:cubicBezTo>
                  <a:pt x="26" y="35"/>
                  <a:pt x="23" y="41"/>
                  <a:pt x="21" y="44"/>
                </a:cubicBezTo>
                <a:cubicBezTo>
                  <a:pt x="20" y="46"/>
                  <a:pt x="19" y="49"/>
                  <a:pt x="18" y="47"/>
                </a:cubicBezTo>
                <a:cubicBezTo>
                  <a:pt x="18" y="45"/>
                  <a:pt x="15" y="42"/>
                  <a:pt x="14" y="43"/>
                </a:cubicBezTo>
                <a:cubicBezTo>
                  <a:pt x="12" y="44"/>
                  <a:pt x="10" y="44"/>
                  <a:pt x="10" y="44"/>
                </a:cubicBezTo>
                <a:cubicBezTo>
                  <a:pt x="9" y="44"/>
                  <a:pt x="2" y="51"/>
                  <a:pt x="2" y="51"/>
                </a:cubicBezTo>
                <a:cubicBezTo>
                  <a:pt x="2" y="51"/>
                  <a:pt x="1" y="55"/>
                  <a:pt x="0" y="59"/>
                </a:cubicBezTo>
                <a:cubicBezTo>
                  <a:pt x="1" y="59"/>
                  <a:pt x="2" y="61"/>
                  <a:pt x="3" y="63"/>
                </a:cubicBezTo>
                <a:cubicBezTo>
                  <a:pt x="4" y="65"/>
                  <a:pt x="7" y="63"/>
                  <a:pt x="8" y="64"/>
                </a:cubicBezTo>
                <a:cubicBezTo>
                  <a:pt x="9" y="64"/>
                  <a:pt x="10" y="69"/>
                  <a:pt x="10" y="71"/>
                </a:cubicBezTo>
                <a:cubicBezTo>
                  <a:pt x="9" y="72"/>
                  <a:pt x="8" y="75"/>
                  <a:pt x="8" y="77"/>
                </a:cubicBezTo>
                <a:cubicBezTo>
                  <a:pt x="18" y="77"/>
                  <a:pt x="18" y="77"/>
                  <a:pt x="18" y="77"/>
                </a:cubicBezTo>
                <a:lnTo>
                  <a:pt x="21" y="76"/>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 name="Freeform 30"/>
          <p:cNvSpPr/>
          <p:nvPr/>
        </p:nvSpPr>
        <p:spPr bwMode="auto">
          <a:xfrm>
            <a:off x="4050780" y="2934148"/>
            <a:ext cx="119063" cy="125413"/>
          </a:xfrm>
          <a:custGeom>
            <a:avLst/>
            <a:gdLst>
              <a:gd name="T0" fmla="*/ 40 w 42"/>
              <a:gd name="T1" fmla="*/ 37 h 44"/>
              <a:gd name="T2" fmla="*/ 37 w 42"/>
              <a:gd name="T3" fmla="*/ 29 h 44"/>
              <a:gd name="T4" fmla="*/ 40 w 42"/>
              <a:gd name="T5" fmla="*/ 22 h 44"/>
              <a:gd name="T6" fmla="*/ 42 w 42"/>
              <a:gd name="T7" fmla="*/ 18 h 44"/>
              <a:gd name="T8" fmla="*/ 40 w 42"/>
              <a:gd name="T9" fmla="*/ 7 h 44"/>
              <a:gd name="T10" fmla="*/ 39 w 42"/>
              <a:gd name="T11" fmla="*/ 6 h 44"/>
              <a:gd name="T12" fmla="*/ 30 w 42"/>
              <a:gd name="T13" fmla="*/ 7 h 44"/>
              <a:gd name="T14" fmla="*/ 24 w 42"/>
              <a:gd name="T15" fmla="*/ 5 h 44"/>
              <a:gd name="T16" fmla="*/ 19 w 42"/>
              <a:gd name="T17" fmla="*/ 3 h 44"/>
              <a:gd name="T18" fmla="*/ 17 w 42"/>
              <a:gd name="T19" fmla="*/ 2 h 44"/>
              <a:gd name="T20" fmla="*/ 13 w 42"/>
              <a:gd name="T21" fmla="*/ 2 h 44"/>
              <a:gd name="T22" fmla="*/ 9 w 42"/>
              <a:gd name="T23" fmla="*/ 4 h 44"/>
              <a:gd name="T24" fmla="*/ 6 w 42"/>
              <a:gd name="T25" fmla="*/ 3 h 44"/>
              <a:gd name="T26" fmla="*/ 3 w 42"/>
              <a:gd name="T27" fmla="*/ 4 h 44"/>
              <a:gd name="T28" fmla="*/ 3 w 42"/>
              <a:gd name="T29" fmla="*/ 9 h 44"/>
              <a:gd name="T30" fmla="*/ 5 w 42"/>
              <a:gd name="T31" fmla="*/ 12 h 44"/>
              <a:gd name="T32" fmla="*/ 6 w 42"/>
              <a:gd name="T33" fmla="*/ 17 h 44"/>
              <a:gd name="T34" fmla="*/ 3 w 42"/>
              <a:gd name="T35" fmla="*/ 17 h 44"/>
              <a:gd name="T36" fmla="*/ 3 w 42"/>
              <a:gd name="T37" fmla="*/ 21 h 44"/>
              <a:gd name="T38" fmla="*/ 1 w 42"/>
              <a:gd name="T39" fmla="*/ 25 h 44"/>
              <a:gd name="T40" fmla="*/ 1 w 42"/>
              <a:gd name="T41" fmla="*/ 30 h 44"/>
              <a:gd name="T42" fmla="*/ 3 w 42"/>
              <a:gd name="T43" fmla="*/ 32 h 44"/>
              <a:gd name="T44" fmla="*/ 8 w 42"/>
              <a:gd name="T45" fmla="*/ 37 h 44"/>
              <a:gd name="T46" fmla="*/ 6 w 42"/>
              <a:gd name="T47" fmla="*/ 44 h 44"/>
              <a:gd name="T48" fmla="*/ 26 w 42"/>
              <a:gd name="T49" fmla="*/ 39 h 44"/>
              <a:gd name="T50" fmla="*/ 40 w 42"/>
              <a:gd name="T51" fmla="*/ 40 h 44"/>
              <a:gd name="T52" fmla="*/ 40 w 42"/>
              <a:gd name="T53" fmla="*/ 3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 h="44">
                <a:moveTo>
                  <a:pt x="40" y="37"/>
                </a:moveTo>
                <a:cubicBezTo>
                  <a:pt x="39" y="35"/>
                  <a:pt x="37" y="30"/>
                  <a:pt x="37" y="29"/>
                </a:cubicBezTo>
                <a:cubicBezTo>
                  <a:pt x="37" y="28"/>
                  <a:pt x="40" y="24"/>
                  <a:pt x="40" y="22"/>
                </a:cubicBezTo>
                <a:cubicBezTo>
                  <a:pt x="39" y="20"/>
                  <a:pt x="42" y="19"/>
                  <a:pt x="42" y="18"/>
                </a:cubicBezTo>
                <a:cubicBezTo>
                  <a:pt x="42" y="17"/>
                  <a:pt x="42" y="11"/>
                  <a:pt x="40" y="7"/>
                </a:cubicBezTo>
                <a:cubicBezTo>
                  <a:pt x="39" y="7"/>
                  <a:pt x="39" y="7"/>
                  <a:pt x="39" y="6"/>
                </a:cubicBezTo>
                <a:cubicBezTo>
                  <a:pt x="37" y="5"/>
                  <a:pt x="32" y="5"/>
                  <a:pt x="30" y="7"/>
                </a:cubicBezTo>
                <a:cubicBezTo>
                  <a:pt x="29" y="9"/>
                  <a:pt x="25" y="6"/>
                  <a:pt x="24" y="5"/>
                </a:cubicBezTo>
                <a:cubicBezTo>
                  <a:pt x="24" y="4"/>
                  <a:pt x="21" y="1"/>
                  <a:pt x="19" y="3"/>
                </a:cubicBezTo>
                <a:cubicBezTo>
                  <a:pt x="17" y="4"/>
                  <a:pt x="16" y="4"/>
                  <a:pt x="17" y="2"/>
                </a:cubicBezTo>
                <a:cubicBezTo>
                  <a:pt x="17" y="0"/>
                  <a:pt x="14" y="1"/>
                  <a:pt x="13" y="2"/>
                </a:cubicBezTo>
                <a:cubicBezTo>
                  <a:pt x="13" y="4"/>
                  <a:pt x="10" y="5"/>
                  <a:pt x="9" y="4"/>
                </a:cubicBezTo>
                <a:cubicBezTo>
                  <a:pt x="8" y="3"/>
                  <a:pt x="7" y="1"/>
                  <a:pt x="6" y="3"/>
                </a:cubicBezTo>
                <a:cubicBezTo>
                  <a:pt x="5" y="4"/>
                  <a:pt x="4" y="4"/>
                  <a:pt x="3" y="4"/>
                </a:cubicBezTo>
                <a:cubicBezTo>
                  <a:pt x="3" y="6"/>
                  <a:pt x="2" y="9"/>
                  <a:pt x="3" y="9"/>
                </a:cubicBezTo>
                <a:cubicBezTo>
                  <a:pt x="5" y="10"/>
                  <a:pt x="5" y="11"/>
                  <a:pt x="5" y="12"/>
                </a:cubicBezTo>
                <a:cubicBezTo>
                  <a:pt x="4" y="13"/>
                  <a:pt x="7" y="16"/>
                  <a:pt x="6" y="17"/>
                </a:cubicBezTo>
                <a:cubicBezTo>
                  <a:pt x="5" y="18"/>
                  <a:pt x="3" y="16"/>
                  <a:pt x="3" y="17"/>
                </a:cubicBezTo>
                <a:cubicBezTo>
                  <a:pt x="2" y="19"/>
                  <a:pt x="4" y="20"/>
                  <a:pt x="3" y="21"/>
                </a:cubicBezTo>
                <a:cubicBezTo>
                  <a:pt x="2" y="22"/>
                  <a:pt x="1" y="23"/>
                  <a:pt x="1" y="25"/>
                </a:cubicBezTo>
                <a:cubicBezTo>
                  <a:pt x="2" y="27"/>
                  <a:pt x="1" y="29"/>
                  <a:pt x="1" y="30"/>
                </a:cubicBezTo>
                <a:cubicBezTo>
                  <a:pt x="0" y="31"/>
                  <a:pt x="1" y="31"/>
                  <a:pt x="3" y="32"/>
                </a:cubicBezTo>
                <a:cubicBezTo>
                  <a:pt x="5" y="33"/>
                  <a:pt x="8" y="35"/>
                  <a:pt x="8" y="37"/>
                </a:cubicBezTo>
                <a:cubicBezTo>
                  <a:pt x="8" y="39"/>
                  <a:pt x="7" y="40"/>
                  <a:pt x="6" y="44"/>
                </a:cubicBezTo>
                <a:cubicBezTo>
                  <a:pt x="10" y="44"/>
                  <a:pt x="18" y="41"/>
                  <a:pt x="26" y="39"/>
                </a:cubicBezTo>
                <a:cubicBezTo>
                  <a:pt x="32" y="38"/>
                  <a:pt x="37" y="39"/>
                  <a:pt x="40" y="40"/>
                </a:cubicBezTo>
                <a:cubicBezTo>
                  <a:pt x="40" y="39"/>
                  <a:pt x="40" y="37"/>
                  <a:pt x="40" y="3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 name="Freeform 31"/>
          <p:cNvSpPr/>
          <p:nvPr/>
        </p:nvSpPr>
        <p:spPr bwMode="auto">
          <a:xfrm>
            <a:off x="4155555" y="2927798"/>
            <a:ext cx="82550" cy="125413"/>
          </a:xfrm>
          <a:custGeom>
            <a:avLst/>
            <a:gdLst>
              <a:gd name="T0" fmla="*/ 25 w 29"/>
              <a:gd name="T1" fmla="*/ 18 h 44"/>
              <a:gd name="T2" fmla="*/ 25 w 29"/>
              <a:gd name="T3" fmla="*/ 8 h 44"/>
              <a:gd name="T4" fmla="*/ 23 w 29"/>
              <a:gd name="T5" fmla="*/ 4 h 44"/>
              <a:gd name="T6" fmla="*/ 22 w 29"/>
              <a:gd name="T7" fmla="*/ 0 h 44"/>
              <a:gd name="T8" fmla="*/ 20 w 29"/>
              <a:gd name="T9" fmla="*/ 1 h 44"/>
              <a:gd name="T10" fmla="*/ 3 w 29"/>
              <a:gd name="T11" fmla="*/ 1 h 44"/>
              <a:gd name="T12" fmla="*/ 4 w 29"/>
              <a:gd name="T13" fmla="*/ 8 h 44"/>
              <a:gd name="T14" fmla="*/ 3 w 29"/>
              <a:gd name="T15" fmla="*/ 9 h 44"/>
              <a:gd name="T16" fmla="*/ 5 w 29"/>
              <a:gd name="T17" fmla="*/ 20 h 44"/>
              <a:gd name="T18" fmla="*/ 3 w 29"/>
              <a:gd name="T19" fmla="*/ 24 h 44"/>
              <a:gd name="T20" fmla="*/ 0 w 29"/>
              <a:gd name="T21" fmla="*/ 31 h 44"/>
              <a:gd name="T22" fmla="*/ 3 w 29"/>
              <a:gd name="T23" fmla="*/ 39 h 44"/>
              <a:gd name="T24" fmla="*/ 3 w 29"/>
              <a:gd name="T25" fmla="*/ 42 h 44"/>
              <a:gd name="T26" fmla="*/ 8 w 29"/>
              <a:gd name="T27" fmla="*/ 44 h 44"/>
              <a:gd name="T28" fmla="*/ 21 w 29"/>
              <a:gd name="T29" fmla="*/ 39 h 44"/>
              <a:gd name="T30" fmla="*/ 29 w 29"/>
              <a:gd name="T31" fmla="*/ 35 h 44"/>
              <a:gd name="T32" fmla="*/ 27 w 29"/>
              <a:gd name="T33" fmla="*/ 27 h 44"/>
              <a:gd name="T34" fmla="*/ 25 w 29"/>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4">
                <a:moveTo>
                  <a:pt x="25" y="18"/>
                </a:moveTo>
                <a:cubicBezTo>
                  <a:pt x="24" y="15"/>
                  <a:pt x="25" y="10"/>
                  <a:pt x="25" y="8"/>
                </a:cubicBezTo>
                <a:cubicBezTo>
                  <a:pt x="25" y="6"/>
                  <a:pt x="24" y="5"/>
                  <a:pt x="23" y="4"/>
                </a:cubicBezTo>
                <a:cubicBezTo>
                  <a:pt x="23" y="4"/>
                  <a:pt x="22" y="2"/>
                  <a:pt x="22" y="0"/>
                </a:cubicBezTo>
                <a:cubicBezTo>
                  <a:pt x="20" y="0"/>
                  <a:pt x="20" y="2"/>
                  <a:pt x="20" y="1"/>
                </a:cubicBezTo>
                <a:cubicBezTo>
                  <a:pt x="19" y="0"/>
                  <a:pt x="3" y="0"/>
                  <a:pt x="3" y="1"/>
                </a:cubicBezTo>
                <a:cubicBezTo>
                  <a:pt x="2" y="2"/>
                  <a:pt x="4" y="7"/>
                  <a:pt x="4" y="8"/>
                </a:cubicBezTo>
                <a:cubicBezTo>
                  <a:pt x="4" y="8"/>
                  <a:pt x="3" y="9"/>
                  <a:pt x="3" y="9"/>
                </a:cubicBezTo>
                <a:cubicBezTo>
                  <a:pt x="5" y="13"/>
                  <a:pt x="5" y="19"/>
                  <a:pt x="5" y="20"/>
                </a:cubicBezTo>
                <a:cubicBezTo>
                  <a:pt x="5" y="21"/>
                  <a:pt x="2" y="22"/>
                  <a:pt x="3" y="24"/>
                </a:cubicBezTo>
                <a:cubicBezTo>
                  <a:pt x="3" y="26"/>
                  <a:pt x="0" y="30"/>
                  <a:pt x="0" y="31"/>
                </a:cubicBezTo>
                <a:cubicBezTo>
                  <a:pt x="0" y="32"/>
                  <a:pt x="2" y="37"/>
                  <a:pt x="3" y="39"/>
                </a:cubicBezTo>
                <a:cubicBezTo>
                  <a:pt x="3" y="39"/>
                  <a:pt x="3" y="41"/>
                  <a:pt x="3" y="42"/>
                </a:cubicBezTo>
                <a:cubicBezTo>
                  <a:pt x="6" y="43"/>
                  <a:pt x="7" y="44"/>
                  <a:pt x="8" y="44"/>
                </a:cubicBezTo>
                <a:cubicBezTo>
                  <a:pt x="9" y="44"/>
                  <a:pt x="18" y="40"/>
                  <a:pt x="21" y="39"/>
                </a:cubicBezTo>
                <a:cubicBezTo>
                  <a:pt x="24" y="37"/>
                  <a:pt x="27" y="36"/>
                  <a:pt x="29" y="35"/>
                </a:cubicBezTo>
                <a:cubicBezTo>
                  <a:pt x="28" y="33"/>
                  <a:pt x="27" y="29"/>
                  <a:pt x="27" y="27"/>
                </a:cubicBezTo>
                <a:cubicBezTo>
                  <a:pt x="27" y="24"/>
                  <a:pt x="26" y="20"/>
                  <a:pt x="25" y="1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 name="Freeform 32"/>
          <p:cNvSpPr/>
          <p:nvPr/>
        </p:nvSpPr>
        <p:spPr bwMode="auto">
          <a:xfrm>
            <a:off x="3922192" y="2894460"/>
            <a:ext cx="147638" cy="112713"/>
          </a:xfrm>
          <a:custGeom>
            <a:avLst/>
            <a:gdLst>
              <a:gd name="T0" fmla="*/ 17 w 52"/>
              <a:gd name="T1" fmla="*/ 21 h 40"/>
              <a:gd name="T2" fmla="*/ 20 w 52"/>
              <a:gd name="T3" fmla="*/ 21 h 40"/>
              <a:gd name="T4" fmla="*/ 26 w 52"/>
              <a:gd name="T5" fmla="*/ 20 h 40"/>
              <a:gd name="T6" fmla="*/ 31 w 52"/>
              <a:gd name="T7" fmla="*/ 26 h 40"/>
              <a:gd name="T8" fmla="*/ 32 w 52"/>
              <a:gd name="T9" fmla="*/ 31 h 40"/>
              <a:gd name="T10" fmla="*/ 32 w 52"/>
              <a:gd name="T11" fmla="*/ 31 h 40"/>
              <a:gd name="T12" fmla="*/ 37 w 52"/>
              <a:gd name="T13" fmla="*/ 30 h 40"/>
              <a:gd name="T14" fmla="*/ 39 w 52"/>
              <a:gd name="T15" fmla="*/ 36 h 40"/>
              <a:gd name="T16" fmla="*/ 42 w 52"/>
              <a:gd name="T17" fmla="*/ 38 h 40"/>
              <a:gd name="T18" fmla="*/ 45 w 52"/>
              <a:gd name="T19" fmla="*/ 36 h 40"/>
              <a:gd name="T20" fmla="*/ 46 w 52"/>
              <a:gd name="T21" fmla="*/ 37 h 40"/>
              <a:gd name="T22" fmla="*/ 48 w 52"/>
              <a:gd name="T23" fmla="*/ 35 h 40"/>
              <a:gd name="T24" fmla="*/ 48 w 52"/>
              <a:gd name="T25" fmla="*/ 31 h 40"/>
              <a:gd name="T26" fmla="*/ 51 w 52"/>
              <a:gd name="T27" fmla="*/ 31 h 40"/>
              <a:gd name="T28" fmla="*/ 50 w 52"/>
              <a:gd name="T29" fmla="*/ 26 h 40"/>
              <a:gd name="T30" fmla="*/ 48 w 52"/>
              <a:gd name="T31" fmla="*/ 23 h 40"/>
              <a:gd name="T32" fmla="*/ 48 w 52"/>
              <a:gd name="T33" fmla="*/ 18 h 40"/>
              <a:gd name="T34" fmla="*/ 48 w 52"/>
              <a:gd name="T35" fmla="*/ 17 h 40"/>
              <a:gd name="T36" fmla="*/ 46 w 52"/>
              <a:gd name="T37" fmla="*/ 13 h 40"/>
              <a:gd name="T38" fmla="*/ 46 w 52"/>
              <a:gd name="T39" fmla="*/ 10 h 40"/>
              <a:gd name="T40" fmla="*/ 43 w 52"/>
              <a:gd name="T41" fmla="*/ 7 h 40"/>
              <a:gd name="T42" fmla="*/ 41 w 52"/>
              <a:gd name="T43" fmla="*/ 2 h 40"/>
              <a:gd name="T44" fmla="*/ 36 w 52"/>
              <a:gd name="T45" fmla="*/ 6 h 40"/>
              <a:gd name="T46" fmla="*/ 31 w 52"/>
              <a:gd name="T47" fmla="*/ 5 h 40"/>
              <a:gd name="T48" fmla="*/ 27 w 52"/>
              <a:gd name="T49" fmla="*/ 6 h 40"/>
              <a:gd name="T50" fmla="*/ 25 w 52"/>
              <a:gd name="T51" fmla="*/ 4 h 40"/>
              <a:gd name="T52" fmla="*/ 25 w 52"/>
              <a:gd name="T53" fmla="*/ 3 h 40"/>
              <a:gd name="T54" fmla="*/ 25 w 52"/>
              <a:gd name="T55" fmla="*/ 3 h 40"/>
              <a:gd name="T56" fmla="*/ 15 w 52"/>
              <a:gd name="T57" fmla="*/ 2 h 40"/>
              <a:gd name="T58" fmla="*/ 10 w 52"/>
              <a:gd name="T59" fmla="*/ 0 h 40"/>
              <a:gd name="T60" fmla="*/ 8 w 52"/>
              <a:gd name="T61" fmla="*/ 4 h 40"/>
              <a:gd name="T62" fmla="*/ 9 w 52"/>
              <a:gd name="T63" fmla="*/ 7 h 40"/>
              <a:gd name="T64" fmla="*/ 6 w 52"/>
              <a:gd name="T65" fmla="*/ 8 h 40"/>
              <a:gd name="T66" fmla="*/ 0 w 52"/>
              <a:gd name="T67" fmla="*/ 11 h 40"/>
              <a:gd name="T68" fmla="*/ 0 w 52"/>
              <a:gd name="T69" fmla="*/ 12 h 40"/>
              <a:gd name="T70" fmla="*/ 5 w 52"/>
              <a:gd name="T71" fmla="*/ 18 h 40"/>
              <a:gd name="T72" fmla="*/ 12 w 52"/>
              <a:gd name="T73" fmla="*/ 26 h 40"/>
              <a:gd name="T74" fmla="*/ 17 w 52"/>
              <a:gd name="T75"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0">
                <a:moveTo>
                  <a:pt x="17" y="21"/>
                </a:moveTo>
                <a:cubicBezTo>
                  <a:pt x="17" y="20"/>
                  <a:pt x="19" y="20"/>
                  <a:pt x="20" y="21"/>
                </a:cubicBezTo>
                <a:cubicBezTo>
                  <a:pt x="22" y="21"/>
                  <a:pt x="24" y="20"/>
                  <a:pt x="26" y="20"/>
                </a:cubicBezTo>
                <a:cubicBezTo>
                  <a:pt x="27" y="20"/>
                  <a:pt x="31" y="25"/>
                  <a:pt x="31" y="26"/>
                </a:cubicBezTo>
                <a:cubicBezTo>
                  <a:pt x="31" y="28"/>
                  <a:pt x="31" y="29"/>
                  <a:pt x="32" y="31"/>
                </a:cubicBezTo>
                <a:cubicBezTo>
                  <a:pt x="32" y="31"/>
                  <a:pt x="32" y="31"/>
                  <a:pt x="32" y="31"/>
                </a:cubicBezTo>
                <a:cubicBezTo>
                  <a:pt x="35" y="30"/>
                  <a:pt x="37" y="30"/>
                  <a:pt x="37" y="30"/>
                </a:cubicBezTo>
                <a:cubicBezTo>
                  <a:pt x="38" y="30"/>
                  <a:pt x="39" y="34"/>
                  <a:pt x="39" y="36"/>
                </a:cubicBezTo>
                <a:cubicBezTo>
                  <a:pt x="39" y="38"/>
                  <a:pt x="41" y="40"/>
                  <a:pt x="42" y="38"/>
                </a:cubicBezTo>
                <a:cubicBezTo>
                  <a:pt x="43" y="37"/>
                  <a:pt x="45" y="35"/>
                  <a:pt x="45" y="36"/>
                </a:cubicBezTo>
                <a:cubicBezTo>
                  <a:pt x="45" y="37"/>
                  <a:pt x="46" y="37"/>
                  <a:pt x="46" y="37"/>
                </a:cubicBezTo>
                <a:cubicBezTo>
                  <a:pt x="47" y="36"/>
                  <a:pt x="48" y="36"/>
                  <a:pt x="48" y="35"/>
                </a:cubicBezTo>
                <a:cubicBezTo>
                  <a:pt x="49" y="34"/>
                  <a:pt x="47" y="33"/>
                  <a:pt x="48" y="31"/>
                </a:cubicBezTo>
                <a:cubicBezTo>
                  <a:pt x="48" y="30"/>
                  <a:pt x="50" y="32"/>
                  <a:pt x="51" y="31"/>
                </a:cubicBezTo>
                <a:cubicBezTo>
                  <a:pt x="52" y="30"/>
                  <a:pt x="49" y="27"/>
                  <a:pt x="50" y="26"/>
                </a:cubicBezTo>
                <a:cubicBezTo>
                  <a:pt x="50" y="25"/>
                  <a:pt x="50" y="24"/>
                  <a:pt x="48" y="23"/>
                </a:cubicBezTo>
                <a:cubicBezTo>
                  <a:pt x="47" y="23"/>
                  <a:pt x="48" y="20"/>
                  <a:pt x="48" y="18"/>
                </a:cubicBezTo>
                <a:cubicBezTo>
                  <a:pt x="48" y="17"/>
                  <a:pt x="48" y="17"/>
                  <a:pt x="48" y="17"/>
                </a:cubicBezTo>
                <a:cubicBezTo>
                  <a:pt x="47" y="15"/>
                  <a:pt x="47" y="13"/>
                  <a:pt x="46" y="13"/>
                </a:cubicBezTo>
                <a:cubicBezTo>
                  <a:pt x="44" y="13"/>
                  <a:pt x="45" y="11"/>
                  <a:pt x="46" y="10"/>
                </a:cubicBezTo>
                <a:cubicBezTo>
                  <a:pt x="47" y="10"/>
                  <a:pt x="43" y="9"/>
                  <a:pt x="43" y="7"/>
                </a:cubicBezTo>
                <a:cubicBezTo>
                  <a:pt x="43" y="6"/>
                  <a:pt x="42" y="2"/>
                  <a:pt x="41" y="2"/>
                </a:cubicBezTo>
                <a:cubicBezTo>
                  <a:pt x="40" y="2"/>
                  <a:pt x="37" y="6"/>
                  <a:pt x="36" y="6"/>
                </a:cubicBezTo>
                <a:cubicBezTo>
                  <a:pt x="35" y="6"/>
                  <a:pt x="32" y="3"/>
                  <a:pt x="31" y="5"/>
                </a:cubicBezTo>
                <a:cubicBezTo>
                  <a:pt x="30" y="7"/>
                  <a:pt x="29" y="4"/>
                  <a:pt x="27" y="6"/>
                </a:cubicBezTo>
                <a:cubicBezTo>
                  <a:pt x="26" y="7"/>
                  <a:pt x="25" y="4"/>
                  <a:pt x="25" y="4"/>
                </a:cubicBezTo>
                <a:cubicBezTo>
                  <a:pt x="25" y="4"/>
                  <a:pt x="25" y="3"/>
                  <a:pt x="25" y="3"/>
                </a:cubicBezTo>
                <a:cubicBezTo>
                  <a:pt x="25" y="3"/>
                  <a:pt x="25" y="3"/>
                  <a:pt x="25" y="3"/>
                </a:cubicBezTo>
                <a:cubicBezTo>
                  <a:pt x="21" y="4"/>
                  <a:pt x="15" y="3"/>
                  <a:pt x="15" y="2"/>
                </a:cubicBezTo>
                <a:cubicBezTo>
                  <a:pt x="14" y="1"/>
                  <a:pt x="10" y="0"/>
                  <a:pt x="10" y="0"/>
                </a:cubicBezTo>
                <a:cubicBezTo>
                  <a:pt x="10" y="0"/>
                  <a:pt x="10" y="3"/>
                  <a:pt x="8" y="4"/>
                </a:cubicBezTo>
                <a:cubicBezTo>
                  <a:pt x="6" y="4"/>
                  <a:pt x="9" y="6"/>
                  <a:pt x="9" y="7"/>
                </a:cubicBezTo>
                <a:cubicBezTo>
                  <a:pt x="9" y="7"/>
                  <a:pt x="7" y="8"/>
                  <a:pt x="6" y="8"/>
                </a:cubicBezTo>
                <a:cubicBezTo>
                  <a:pt x="5" y="7"/>
                  <a:pt x="2" y="10"/>
                  <a:pt x="0" y="11"/>
                </a:cubicBezTo>
                <a:cubicBezTo>
                  <a:pt x="0" y="11"/>
                  <a:pt x="0" y="12"/>
                  <a:pt x="0" y="12"/>
                </a:cubicBezTo>
                <a:cubicBezTo>
                  <a:pt x="2" y="14"/>
                  <a:pt x="2" y="16"/>
                  <a:pt x="5" y="18"/>
                </a:cubicBezTo>
                <a:cubicBezTo>
                  <a:pt x="7" y="20"/>
                  <a:pt x="10" y="22"/>
                  <a:pt x="12" y="26"/>
                </a:cubicBezTo>
                <a:cubicBezTo>
                  <a:pt x="14" y="25"/>
                  <a:pt x="17" y="22"/>
                  <a:pt x="17" y="2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 name="Freeform 33"/>
          <p:cNvSpPr/>
          <p:nvPr/>
        </p:nvSpPr>
        <p:spPr bwMode="auto">
          <a:xfrm>
            <a:off x="3990455" y="2978598"/>
            <a:ext cx="82550" cy="80963"/>
          </a:xfrm>
          <a:custGeom>
            <a:avLst/>
            <a:gdLst>
              <a:gd name="T0" fmla="*/ 24 w 29"/>
              <a:gd name="T1" fmla="*/ 16 h 28"/>
              <a:gd name="T2" fmla="*/ 22 w 29"/>
              <a:gd name="T3" fmla="*/ 14 h 28"/>
              <a:gd name="T4" fmla="*/ 22 w 29"/>
              <a:gd name="T5" fmla="*/ 9 h 28"/>
              <a:gd name="T6" fmla="*/ 22 w 29"/>
              <a:gd name="T7" fmla="*/ 7 h 28"/>
              <a:gd name="T8" fmla="*/ 21 w 29"/>
              <a:gd name="T9" fmla="*/ 6 h 28"/>
              <a:gd name="T10" fmla="*/ 18 w 29"/>
              <a:gd name="T11" fmla="*/ 8 h 28"/>
              <a:gd name="T12" fmla="*/ 15 w 29"/>
              <a:gd name="T13" fmla="*/ 6 h 28"/>
              <a:gd name="T14" fmla="*/ 13 w 29"/>
              <a:gd name="T15" fmla="*/ 0 h 28"/>
              <a:gd name="T16" fmla="*/ 8 w 29"/>
              <a:gd name="T17" fmla="*/ 1 h 28"/>
              <a:gd name="T18" fmla="*/ 8 w 29"/>
              <a:gd name="T19" fmla="*/ 4 h 28"/>
              <a:gd name="T20" fmla="*/ 2 w 29"/>
              <a:gd name="T21" fmla="*/ 9 h 28"/>
              <a:gd name="T22" fmla="*/ 0 w 29"/>
              <a:gd name="T23" fmla="*/ 11 h 28"/>
              <a:gd name="T24" fmla="*/ 9 w 29"/>
              <a:gd name="T25" fmla="*/ 17 h 28"/>
              <a:gd name="T26" fmla="*/ 25 w 29"/>
              <a:gd name="T27" fmla="*/ 27 h 28"/>
              <a:gd name="T28" fmla="*/ 27 w 29"/>
              <a:gd name="T29" fmla="*/ 28 h 28"/>
              <a:gd name="T30" fmla="*/ 29 w 29"/>
              <a:gd name="T31" fmla="*/ 21 h 28"/>
              <a:gd name="T32" fmla="*/ 24 w 29"/>
              <a:gd name="T33"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8">
                <a:moveTo>
                  <a:pt x="24" y="16"/>
                </a:moveTo>
                <a:cubicBezTo>
                  <a:pt x="22" y="15"/>
                  <a:pt x="21" y="15"/>
                  <a:pt x="22" y="14"/>
                </a:cubicBezTo>
                <a:cubicBezTo>
                  <a:pt x="22" y="13"/>
                  <a:pt x="23" y="11"/>
                  <a:pt x="22" y="9"/>
                </a:cubicBezTo>
                <a:cubicBezTo>
                  <a:pt x="22" y="8"/>
                  <a:pt x="22" y="8"/>
                  <a:pt x="22" y="7"/>
                </a:cubicBezTo>
                <a:cubicBezTo>
                  <a:pt x="22" y="7"/>
                  <a:pt x="21" y="7"/>
                  <a:pt x="21" y="6"/>
                </a:cubicBezTo>
                <a:cubicBezTo>
                  <a:pt x="21" y="5"/>
                  <a:pt x="19" y="7"/>
                  <a:pt x="18" y="8"/>
                </a:cubicBezTo>
                <a:cubicBezTo>
                  <a:pt x="17" y="10"/>
                  <a:pt x="15" y="8"/>
                  <a:pt x="15" y="6"/>
                </a:cubicBezTo>
                <a:cubicBezTo>
                  <a:pt x="15" y="4"/>
                  <a:pt x="14" y="0"/>
                  <a:pt x="13" y="0"/>
                </a:cubicBezTo>
                <a:cubicBezTo>
                  <a:pt x="13" y="0"/>
                  <a:pt x="11" y="0"/>
                  <a:pt x="8" y="1"/>
                </a:cubicBezTo>
                <a:cubicBezTo>
                  <a:pt x="8" y="2"/>
                  <a:pt x="8" y="3"/>
                  <a:pt x="8" y="4"/>
                </a:cubicBezTo>
                <a:cubicBezTo>
                  <a:pt x="7" y="6"/>
                  <a:pt x="4" y="8"/>
                  <a:pt x="2" y="9"/>
                </a:cubicBezTo>
                <a:cubicBezTo>
                  <a:pt x="2" y="9"/>
                  <a:pt x="1" y="10"/>
                  <a:pt x="0" y="11"/>
                </a:cubicBezTo>
                <a:cubicBezTo>
                  <a:pt x="3" y="13"/>
                  <a:pt x="7" y="15"/>
                  <a:pt x="9" y="17"/>
                </a:cubicBezTo>
                <a:cubicBezTo>
                  <a:pt x="14" y="21"/>
                  <a:pt x="22" y="26"/>
                  <a:pt x="25" y="27"/>
                </a:cubicBezTo>
                <a:cubicBezTo>
                  <a:pt x="26" y="28"/>
                  <a:pt x="27" y="28"/>
                  <a:pt x="27" y="28"/>
                </a:cubicBezTo>
                <a:cubicBezTo>
                  <a:pt x="28" y="24"/>
                  <a:pt x="29" y="23"/>
                  <a:pt x="29" y="21"/>
                </a:cubicBezTo>
                <a:cubicBezTo>
                  <a:pt x="29" y="19"/>
                  <a:pt x="26" y="17"/>
                  <a:pt x="24" y="1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 name="Freeform 34"/>
          <p:cNvSpPr/>
          <p:nvPr/>
        </p:nvSpPr>
        <p:spPr bwMode="auto">
          <a:xfrm>
            <a:off x="3957117" y="2950023"/>
            <a:ext cx="58738" cy="60325"/>
          </a:xfrm>
          <a:custGeom>
            <a:avLst/>
            <a:gdLst>
              <a:gd name="T0" fmla="*/ 20 w 21"/>
              <a:gd name="T1" fmla="*/ 14 h 21"/>
              <a:gd name="T2" fmla="*/ 20 w 21"/>
              <a:gd name="T3" fmla="*/ 11 h 21"/>
              <a:gd name="T4" fmla="*/ 19 w 21"/>
              <a:gd name="T5" fmla="*/ 6 h 21"/>
              <a:gd name="T6" fmla="*/ 14 w 21"/>
              <a:gd name="T7" fmla="*/ 0 h 21"/>
              <a:gd name="T8" fmla="*/ 8 w 21"/>
              <a:gd name="T9" fmla="*/ 1 h 21"/>
              <a:gd name="T10" fmla="*/ 5 w 21"/>
              <a:gd name="T11" fmla="*/ 1 h 21"/>
              <a:gd name="T12" fmla="*/ 0 w 21"/>
              <a:gd name="T13" fmla="*/ 6 h 21"/>
              <a:gd name="T14" fmla="*/ 1 w 21"/>
              <a:gd name="T15" fmla="*/ 9 h 21"/>
              <a:gd name="T16" fmla="*/ 7 w 21"/>
              <a:gd name="T17" fmla="*/ 18 h 21"/>
              <a:gd name="T18" fmla="*/ 12 w 21"/>
              <a:gd name="T19" fmla="*/ 21 h 21"/>
              <a:gd name="T20" fmla="*/ 14 w 21"/>
              <a:gd name="T21" fmla="*/ 19 h 21"/>
              <a:gd name="T22" fmla="*/ 20 w 21"/>
              <a:gd name="T23" fmla="*/ 1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1">
                <a:moveTo>
                  <a:pt x="20" y="14"/>
                </a:moveTo>
                <a:cubicBezTo>
                  <a:pt x="20" y="13"/>
                  <a:pt x="21" y="12"/>
                  <a:pt x="20" y="11"/>
                </a:cubicBezTo>
                <a:cubicBezTo>
                  <a:pt x="19" y="9"/>
                  <a:pt x="19" y="8"/>
                  <a:pt x="19" y="6"/>
                </a:cubicBezTo>
                <a:cubicBezTo>
                  <a:pt x="19" y="5"/>
                  <a:pt x="15" y="0"/>
                  <a:pt x="14" y="0"/>
                </a:cubicBezTo>
                <a:cubicBezTo>
                  <a:pt x="12" y="0"/>
                  <a:pt x="10" y="1"/>
                  <a:pt x="8" y="1"/>
                </a:cubicBezTo>
                <a:cubicBezTo>
                  <a:pt x="7" y="0"/>
                  <a:pt x="5" y="0"/>
                  <a:pt x="5" y="1"/>
                </a:cubicBezTo>
                <a:cubicBezTo>
                  <a:pt x="5" y="2"/>
                  <a:pt x="2" y="5"/>
                  <a:pt x="0" y="6"/>
                </a:cubicBezTo>
                <a:cubicBezTo>
                  <a:pt x="1" y="7"/>
                  <a:pt x="1" y="8"/>
                  <a:pt x="1" y="9"/>
                </a:cubicBezTo>
                <a:cubicBezTo>
                  <a:pt x="3" y="15"/>
                  <a:pt x="5" y="16"/>
                  <a:pt x="7" y="18"/>
                </a:cubicBezTo>
                <a:cubicBezTo>
                  <a:pt x="8" y="19"/>
                  <a:pt x="10" y="20"/>
                  <a:pt x="12" y="21"/>
                </a:cubicBezTo>
                <a:cubicBezTo>
                  <a:pt x="13" y="20"/>
                  <a:pt x="14" y="19"/>
                  <a:pt x="14" y="19"/>
                </a:cubicBezTo>
                <a:cubicBezTo>
                  <a:pt x="16" y="18"/>
                  <a:pt x="19" y="16"/>
                  <a:pt x="20" y="1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 name="Freeform 35"/>
          <p:cNvSpPr/>
          <p:nvPr/>
        </p:nvSpPr>
        <p:spPr bwMode="auto">
          <a:xfrm>
            <a:off x="3885680" y="2586485"/>
            <a:ext cx="165100" cy="133350"/>
          </a:xfrm>
          <a:custGeom>
            <a:avLst/>
            <a:gdLst>
              <a:gd name="T0" fmla="*/ 27 w 58"/>
              <a:gd name="T1" fmla="*/ 36 h 47"/>
              <a:gd name="T2" fmla="*/ 34 w 58"/>
              <a:gd name="T3" fmla="*/ 31 h 47"/>
              <a:gd name="T4" fmla="*/ 34 w 58"/>
              <a:gd name="T5" fmla="*/ 12 h 47"/>
              <a:gd name="T6" fmla="*/ 57 w 58"/>
              <a:gd name="T7" fmla="*/ 12 h 47"/>
              <a:gd name="T8" fmla="*/ 57 w 58"/>
              <a:gd name="T9" fmla="*/ 3 h 47"/>
              <a:gd name="T10" fmla="*/ 52 w 58"/>
              <a:gd name="T11" fmla="*/ 0 h 47"/>
              <a:gd name="T12" fmla="*/ 27 w 58"/>
              <a:gd name="T13" fmla="*/ 0 h 47"/>
              <a:gd name="T14" fmla="*/ 23 w 58"/>
              <a:gd name="T15" fmla="*/ 6 h 47"/>
              <a:gd name="T16" fmla="*/ 14 w 58"/>
              <a:gd name="T17" fmla="*/ 19 h 47"/>
              <a:gd name="T18" fmla="*/ 2 w 58"/>
              <a:gd name="T19" fmla="*/ 40 h 47"/>
              <a:gd name="T20" fmla="*/ 0 w 58"/>
              <a:gd name="T21" fmla="*/ 47 h 47"/>
              <a:gd name="T22" fmla="*/ 27 w 58"/>
              <a:gd name="T23" fmla="*/ 47 h 47"/>
              <a:gd name="T24" fmla="*/ 27 w 58"/>
              <a:gd name="T25"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47">
                <a:moveTo>
                  <a:pt x="27" y="36"/>
                </a:moveTo>
                <a:cubicBezTo>
                  <a:pt x="27" y="34"/>
                  <a:pt x="34" y="32"/>
                  <a:pt x="34" y="31"/>
                </a:cubicBezTo>
                <a:cubicBezTo>
                  <a:pt x="34" y="29"/>
                  <a:pt x="34" y="12"/>
                  <a:pt x="34" y="12"/>
                </a:cubicBezTo>
                <a:cubicBezTo>
                  <a:pt x="34" y="12"/>
                  <a:pt x="56" y="13"/>
                  <a:pt x="57" y="12"/>
                </a:cubicBezTo>
                <a:cubicBezTo>
                  <a:pt x="57" y="12"/>
                  <a:pt x="57" y="7"/>
                  <a:pt x="57" y="3"/>
                </a:cubicBezTo>
                <a:cubicBezTo>
                  <a:pt x="56" y="1"/>
                  <a:pt x="58" y="0"/>
                  <a:pt x="52" y="0"/>
                </a:cubicBezTo>
                <a:cubicBezTo>
                  <a:pt x="48" y="0"/>
                  <a:pt x="35" y="0"/>
                  <a:pt x="27" y="0"/>
                </a:cubicBezTo>
                <a:cubicBezTo>
                  <a:pt x="25" y="2"/>
                  <a:pt x="24" y="4"/>
                  <a:pt x="23" y="6"/>
                </a:cubicBezTo>
                <a:cubicBezTo>
                  <a:pt x="22" y="9"/>
                  <a:pt x="14" y="14"/>
                  <a:pt x="14" y="19"/>
                </a:cubicBezTo>
                <a:cubicBezTo>
                  <a:pt x="13" y="23"/>
                  <a:pt x="6" y="31"/>
                  <a:pt x="2" y="40"/>
                </a:cubicBezTo>
                <a:cubicBezTo>
                  <a:pt x="0" y="43"/>
                  <a:pt x="0" y="45"/>
                  <a:pt x="0" y="47"/>
                </a:cubicBezTo>
                <a:cubicBezTo>
                  <a:pt x="27" y="47"/>
                  <a:pt x="27" y="47"/>
                  <a:pt x="27" y="47"/>
                </a:cubicBezTo>
                <a:cubicBezTo>
                  <a:pt x="27" y="47"/>
                  <a:pt x="27" y="38"/>
                  <a:pt x="27" y="3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 name="Freeform 36"/>
          <p:cNvSpPr/>
          <p:nvPr/>
        </p:nvSpPr>
        <p:spPr bwMode="auto">
          <a:xfrm>
            <a:off x="3882505" y="2594423"/>
            <a:ext cx="239713" cy="258763"/>
          </a:xfrm>
          <a:custGeom>
            <a:avLst/>
            <a:gdLst>
              <a:gd name="T0" fmla="*/ 7 w 84"/>
              <a:gd name="T1" fmla="*/ 79 h 91"/>
              <a:gd name="T2" fmla="*/ 13 w 84"/>
              <a:gd name="T3" fmla="*/ 79 h 91"/>
              <a:gd name="T4" fmla="*/ 18 w 84"/>
              <a:gd name="T5" fmla="*/ 78 h 91"/>
              <a:gd name="T6" fmla="*/ 22 w 84"/>
              <a:gd name="T7" fmla="*/ 82 h 91"/>
              <a:gd name="T8" fmla="*/ 25 w 84"/>
              <a:gd name="T9" fmla="*/ 82 h 91"/>
              <a:gd name="T10" fmla="*/ 30 w 84"/>
              <a:gd name="T11" fmla="*/ 88 h 91"/>
              <a:gd name="T12" fmla="*/ 33 w 84"/>
              <a:gd name="T13" fmla="*/ 91 h 91"/>
              <a:gd name="T14" fmla="*/ 36 w 84"/>
              <a:gd name="T15" fmla="*/ 89 h 91"/>
              <a:gd name="T16" fmla="*/ 40 w 84"/>
              <a:gd name="T17" fmla="*/ 87 h 91"/>
              <a:gd name="T18" fmla="*/ 44 w 84"/>
              <a:gd name="T19" fmla="*/ 87 h 91"/>
              <a:gd name="T20" fmla="*/ 49 w 84"/>
              <a:gd name="T21" fmla="*/ 87 h 91"/>
              <a:gd name="T22" fmla="*/ 53 w 84"/>
              <a:gd name="T23" fmla="*/ 86 h 91"/>
              <a:gd name="T24" fmla="*/ 80 w 84"/>
              <a:gd name="T25" fmla="*/ 86 h 91"/>
              <a:gd name="T26" fmla="*/ 81 w 84"/>
              <a:gd name="T27" fmla="*/ 80 h 91"/>
              <a:gd name="T28" fmla="*/ 79 w 84"/>
              <a:gd name="T29" fmla="*/ 78 h 91"/>
              <a:gd name="T30" fmla="*/ 72 w 84"/>
              <a:gd name="T31" fmla="*/ 17 h 91"/>
              <a:gd name="T32" fmla="*/ 84 w 84"/>
              <a:gd name="T33" fmla="*/ 17 h 91"/>
              <a:gd name="T34" fmla="*/ 60 w 84"/>
              <a:gd name="T35" fmla="*/ 1 h 91"/>
              <a:gd name="T36" fmla="*/ 58 w 84"/>
              <a:gd name="T37" fmla="*/ 0 h 91"/>
              <a:gd name="T38" fmla="*/ 58 w 84"/>
              <a:gd name="T39" fmla="*/ 9 h 91"/>
              <a:gd name="T40" fmla="*/ 35 w 84"/>
              <a:gd name="T41" fmla="*/ 9 h 91"/>
              <a:gd name="T42" fmla="*/ 35 w 84"/>
              <a:gd name="T43" fmla="*/ 28 h 91"/>
              <a:gd name="T44" fmla="*/ 28 w 84"/>
              <a:gd name="T45" fmla="*/ 33 h 91"/>
              <a:gd name="T46" fmla="*/ 28 w 84"/>
              <a:gd name="T47" fmla="*/ 44 h 91"/>
              <a:gd name="T48" fmla="*/ 1 w 84"/>
              <a:gd name="T49" fmla="*/ 44 h 91"/>
              <a:gd name="T50" fmla="*/ 4 w 84"/>
              <a:gd name="T51" fmla="*/ 52 h 91"/>
              <a:gd name="T52" fmla="*/ 6 w 84"/>
              <a:gd name="T53" fmla="*/ 63 h 91"/>
              <a:gd name="T54" fmla="*/ 4 w 84"/>
              <a:gd name="T55" fmla="*/ 76 h 91"/>
              <a:gd name="T56" fmla="*/ 3 w 84"/>
              <a:gd name="T57" fmla="*/ 82 h 91"/>
              <a:gd name="T58" fmla="*/ 3 w 84"/>
              <a:gd name="T59" fmla="*/ 82 h 91"/>
              <a:gd name="T60" fmla="*/ 7 w 84"/>
              <a:gd name="T61"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4" h="91">
                <a:moveTo>
                  <a:pt x="7" y="79"/>
                </a:moveTo>
                <a:cubicBezTo>
                  <a:pt x="9" y="79"/>
                  <a:pt x="13" y="79"/>
                  <a:pt x="13" y="79"/>
                </a:cubicBezTo>
                <a:cubicBezTo>
                  <a:pt x="13" y="79"/>
                  <a:pt x="16" y="77"/>
                  <a:pt x="18" y="78"/>
                </a:cubicBezTo>
                <a:cubicBezTo>
                  <a:pt x="20" y="79"/>
                  <a:pt x="22" y="82"/>
                  <a:pt x="22" y="82"/>
                </a:cubicBezTo>
                <a:cubicBezTo>
                  <a:pt x="25" y="82"/>
                  <a:pt x="25" y="82"/>
                  <a:pt x="25" y="82"/>
                </a:cubicBezTo>
                <a:cubicBezTo>
                  <a:pt x="25" y="82"/>
                  <a:pt x="27" y="87"/>
                  <a:pt x="30" y="88"/>
                </a:cubicBezTo>
                <a:cubicBezTo>
                  <a:pt x="31" y="88"/>
                  <a:pt x="32" y="90"/>
                  <a:pt x="33" y="91"/>
                </a:cubicBezTo>
                <a:cubicBezTo>
                  <a:pt x="35" y="91"/>
                  <a:pt x="36" y="90"/>
                  <a:pt x="36" y="89"/>
                </a:cubicBezTo>
                <a:cubicBezTo>
                  <a:pt x="36" y="87"/>
                  <a:pt x="37" y="85"/>
                  <a:pt x="40" y="87"/>
                </a:cubicBezTo>
                <a:cubicBezTo>
                  <a:pt x="44" y="90"/>
                  <a:pt x="44" y="88"/>
                  <a:pt x="44" y="87"/>
                </a:cubicBezTo>
                <a:cubicBezTo>
                  <a:pt x="45" y="86"/>
                  <a:pt x="47" y="87"/>
                  <a:pt x="49" y="87"/>
                </a:cubicBezTo>
                <a:cubicBezTo>
                  <a:pt x="51" y="87"/>
                  <a:pt x="53" y="86"/>
                  <a:pt x="53" y="86"/>
                </a:cubicBezTo>
                <a:cubicBezTo>
                  <a:pt x="53" y="86"/>
                  <a:pt x="79" y="86"/>
                  <a:pt x="80" y="86"/>
                </a:cubicBezTo>
                <a:cubicBezTo>
                  <a:pt x="81" y="85"/>
                  <a:pt x="81" y="80"/>
                  <a:pt x="81" y="80"/>
                </a:cubicBezTo>
                <a:cubicBezTo>
                  <a:pt x="79" y="78"/>
                  <a:pt x="79" y="78"/>
                  <a:pt x="79" y="78"/>
                </a:cubicBezTo>
                <a:cubicBezTo>
                  <a:pt x="72" y="17"/>
                  <a:pt x="72" y="17"/>
                  <a:pt x="72" y="17"/>
                </a:cubicBezTo>
                <a:cubicBezTo>
                  <a:pt x="84" y="17"/>
                  <a:pt x="84" y="17"/>
                  <a:pt x="84" y="17"/>
                </a:cubicBezTo>
                <a:cubicBezTo>
                  <a:pt x="71" y="9"/>
                  <a:pt x="61" y="2"/>
                  <a:pt x="60" y="1"/>
                </a:cubicBezTo>
                <a:cubicBezTo>
                  <a:pt x="59" y="0"/>
                  <a:pt x="58" y="0"/>
                  <a:pt x="58" y="0"/>
                </a:cubicBezTo>
                <a:cubicBezTo>
                  <a:pt x="58" y="4"/>
                  <a:pt x="58" y="9"/>
                  <a:pt x="58" y="9"/>
                </a:cubicBezTo>
                <a:cubicBezTo>
                  <a:pt x="57" y="10"/>
                  <a:pt x="35" y="9"/>
                  <a:pt x="35" y="9"/>
                </a:cubicBezTo>
                <a:cubicBezTo>
                  <a:pt x="35" y="9"/>
                  <a:pt x="35" y="26"/>
                  <a:pt x="35" y="28"/>
                </a:cubicBezTo>
                <a:cubicBezTo>
                  <a:pt x="35" y="29"/>
                  <a:pt x="28" y="31"/>
                  <a:pt x="28" y="33"/>
                </a:cubicBezTo>
                <a:cubicBezTo>
                  <a:pt x="28" y="35"/>
                  <a:pt x="28" y="44"/>
                  <a:pt x="28" y="44"/>
                </a:cubicBezTo>
                <a:cubicBezTo>
                  <a:pt x="1" y="44"/>
                  <a:pt x="1" y="44"/>
                  <a:pt x="1" y="44"/>
                </a:cubicBezTo>
                <a:cubicBezTo>
                  <a:pt x="0" y="48"/>
                  <a:pt x="3" y="50"/>
                  <a:pt x="4" y="52"/>
                </a:cubicBezTo>
                <a:cubicBezTo>
                  <a:pt x="7" y="54"/>
                  <a:pt x="3" y="58"/>
                  <a:pt x="6" y="63"/>
                </a:cubicBezTo>
                <a:cubicBezTo>
                  <a:pt x="9" y="67"/>
                  <a:pt x="5" y="74"/>
                  <a:pt x="4" y="76"/>
                </a:cubicBezTo>
                <a:cubicBezTo>
                  <a:pt x="3" y="78"/>
                  <a:pt x="3" y="80"/>
                  <a:pt x="3" y="82"/>
                </a:cubicBezTo>
                <a:cubicBezTo>
                  <a:pt x="3" y="82"/>
                  <a:pt x="3" y="82"/>
                  <a:pt x="3" y="82"/>
                </a:cubicBezTo>
                <a:cubicBezTo>
                  <a:pt x="5" y="82"/>
                  <a:pt x="4" y="78"/>
                  <a:pt x="7" y="7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 name="Freeform 37"/>
          <p:cNvSpPr/>
          <p:nvPr/>
        </p:nvSpPr>
        <p:spPr bwMode="auto">
          <a:xfrm>
            <a:off x="3976167" y="2643635"/>
            <a:ext cx="327025" cy="304800"/>
          </a:xfrm>
          <a:custGeom>
            <a:avLst/>
            <a:gdLst>
              <a:gd name="T0" fmla="*/ 109 w 115"/>
              <a:gd name="T1" fmla="*/ 44 h 107"/>
              <a:gd name="T2" fmla="*/ 105 w 115"/>
              <a:gd name="T3" fmla="*/ 37 h 107"/>
              <a:gd name="T4" fmla="*/ 98 w 115"/>
              <a:gd name="T5" fmla="*/ 35 h 107"/>
              <a:gd name="T6" fmla="*/ 93 w 115"/>
              <a:gd name="T7" fmla="*/ 28 h 107"/>
              <a:gd name="T8" fmla="*/ 51 w 115"/>
              <a:gd name="T9" fmla="*/ 0 h 107"/>
              <a:gd name="T10" fmla="*/ 39 w 115"/>
              <a:gd name="T11" fmla="*/ 0 h 107"/>
              <a:gd name="T12" fmla="*/ 46 w 115"/>
              <a:gd name="T13" fmla="*/ 61 h 107"/>
              <a:gd name="T14" fmla="*/ 48 w 115"/>
              <a:gd name="T15" fmla="*/ 63 h 107"/>
              <a:gd name="T16" fmla="*/ 47 w 115"/>
              <a:gd name="T17" fmla="*/ 69 h 107"/>
              <a:gd name="T18" fmla="*/ 20 w 115"/>
              <a:gd name="T19" fmla="*/ 69 h 107"/>
              <a:gd name="T20" fmla="*/ 16 w 115"/>
              <a:gd name="T21" fmla="*/ 70 h 107"/>
              <a:gd name="T22" fmla="*/ 11 w 115"/>
              <a:gd name="T23" fmla="*/ 70 h 107"/>
              <a:gd name="T24" fmla="*/ 7 w 115"/>
              <a:gd name="T25" fmla="*/ 70 h 107"/>
              <a:gd name="T26" fmla="*/ 3 w 115"/>
              <a:gd name="T27" fmla="*/ 72 h 107"/>
              <a:gd name="T28" fmla="*/ 0 w 115"/>
              <a:gd name="T29" fmla="*/ 74 h 107"/>
              <a:gd name="T30" fmla="*/ 0 w 115"/>
              <a:gd name="T31" fmla="*/ 76 h 107"/>
              <a:gd name="T32" fmla="*/ 2 w 115"/>
              <a:gd name="T33" fmla="*/ 78 h 107"/>
              <a:gd name="T34" fmla="*/ 3 w 115"/>
              <a:gd name="T35" fmla="*/ 82 h 107"/>
              <a:gd name="T36" fmla="*/ 6 w 115"/>
              <a:gd name="T37" fmla="*/ 86 h 107"/>
              <a:gd name="T38" fmla="*/ 6 w 115"/>
              <a:gd name="T39" fmla="*/ 92 h 107"/>
              <a:gd name="T40" fmla="*/ 8 w 115"/>
              <a:gd name="T41" fmla="*/ 94 h 107"/>
              <a:gd name="T42" fmla="*/ 12 w 115"/>
              <a:gd name="T43" fmla="*/ 93 h 107"/>
              <a:gd name="T44" fmla="*/ 17 w 115"/>
              <a:gd name="T45" fmla="*/ 94 h 107"/>
              <a:gd name="T46" fmla="*/ 22 w 115"/>
              <a:gd name="T47" fmla="*/ 90 h 107"/>
              <a:gd name="T48" fmla="*/ 24 w 115"/>
              <a:gd name="T49" fmla="*/ 95 h 107"/>
              <a:gd name="T50" fmla="*/ 27 w 115"/>
              <a:gd name="T51" fmla="*/ 98 h 107"/>
              <a:gd name="T52" fmla="*/ 27 w 115"/>
              <a:gd name="T53" fmla="*/ 101 h 107"/>
              <a:gd name="T54" fmla="*/ 29 w 115"/>
              <a:gd name="T55" fmla="*/ 105 h 107"/>
              <a:gd name="T56" fmla="*/ 32 w 115"/>
              <a:gd name="T57" fmla="*/ 105 h 107"/>
              <a:gd name="T58" fmla="*/ 35 w 115"/>
              <a:gd name="T59" fmla="*/ 106 h 107"/>
              <a:gd name="T60" fmla="*/ 39 w 115"/>
              <a:gd name="T61" fmla="*/ 104 h 107"/>
              <a:gd name="T62" fmla="*/ 43 w 115"/>
              <a:gd name="T63" fmla="*/ 104 h 107"/>
              <a:gd name="T64" fmla="*/ 45 w 115"/>
              <a:gd name="T65" fmla="*/ 105 h 107"/>
              <a:gd name="T66" fmla="*/ 47 w 115"/>
              <a:gd name="T67" fmla="*/ 104 h 107"/>
              <a:gd name="T68" fmla="*/ 49 w 115"/>
              <a:gd name="T69" fmla="*/ 99 h 107"/>
              <a:gd name="T70" fmla="*/ 48 w 115"/>
              <a:gd name="T71" fmla="*/ 95 h 107"/>
              <a:gd name="T72" fmla="*/ 54 w 115"/>
              <a:gd name="T73" fmla="*/ 92 h 107"/>
              <a:gd name="T74" fmla="*/ 56 w 115"/>
              <a:gd name="T75" fmla="*/ 88 h 107"/>
              <a:gd name="T76" fmla="*/ 58 w 115"/>
              <a:gd name="T77" fmla="*/ 83 h 107"/>
              <a:gd name="T78" fmla="*/ 63 w 115"/>
              <a:gd name="T79" fmla="*/ 83 h 107"/>
              <a:gd name="T80" fmla="*/ 66 w 115"/>
              <a:gd name="T81" fmla="*/ 80 h 107"/>
              <a:gd name="T82" fmla="*/ 69 w 115"/>
              <a:gd name="T83" fmla="*/ 78 h 107"/>
              <a:gd name="T84" fmla="*/ 72 w 115"/>
              <a:gd name="T85" fmla="*/ 77 h 107"/>
              <a:gd name="T86" fmla="*/ 78 w 115"/>
              <a:gd name="T87" fmla="*/ 74 h 107"/>
              <a:gd name="T88" fmla="*/ 83 w 115"/>
              <a:gd name="T89" fmla="*/ 72 h 107"/>
              <a:gd name="T90" fmla="*/ 91 w 115"/>
              <a:gd name="T91" fmla="*/ 72 h 107"/>
              <a:gd name="T92" fmla="*/ 97 w 115"/>
              <a:gd name="T93" fmla="*/ 71 h 107"/>
              <a:gd name="T94" fmla="*/ 108 w 115"/>
              <a:gd name="T95" fmla="*/ 69 h 107"/>
              <a:gd name="T96" fmla="*/ 112 w 115"/>
              <a:gd name="T97" fmla="*/ 66 h 107"/>
              <a:gd name="T98" fmla="*/ 114 w 115"/>
              <a:gd name="T99" fmla="*/ 61 h 107"/>
              <a:gd name="T100" fmla="*/ 115 w 115"/>
              <a:gd name="T101" fmla="*/ 43 h 107"/>
              <a:gd name="T102" fmla="*/ 109 w 115"/>
              <a:gd name="T103" fmla="*/ 4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 h="107">
                <a:moveTo>
                  <a:pt x="109" y="44"/>
                </a:moveTo>
                <a:cubicBezTo>
                  <a:pt x="109" y="44"/>
                  <a:pt x="109" y="39"/>
                  <a:pt x="105" y="37"/>
                </a:cubicBezTo>
                <a:cubicBezTo>
                  <a:pt x="102" y="35"/>
                  <a:pt x="98" y="35"/>
                  <a:pt x="98" y="35"/>
                </a:cubicBezTo>
                <a:cubicBezTo>
                  <a:pt x="98" y="35"/>
                  <a:pt x="95" y="30"/>
                  <a:pt x="93" y="28"/>
                </a:cubicBezTo>
                <a:cubicBezTo>
                  <a:pt x="92" y="27"/>
                  <a:pt x="70" y="12"/>
                  <a:pt x="51" y="0"/>
                </a:cubicBezTo>
                <a:cubicBezTo>
                  <a:pt x="39" y="0"/>
                  <a:pt x="39" y="0"/>
                  <a:pt x="39" y="0"/>
                </a:cubicBezTo>
                <a:cubicBezTo>
                  <a:pt x="46" y="61"/>
                  <a:pt x="46" y="61"/>
                  <a:pt x="46" y="61"/>
                </a:cubicBezTo>
                <a:cubicBezTo>
                  <a:pt x="48" y="63"/>
                  <a:pt x="48" y="63"/>
                  <a:pt x="48" y="63"/>
                </a:cubicBezTo>
                <a:cubicBezTo>
                  <a:pt x="48" y="63"/>
                  <a:pt x="48" y="68"/>
                  <a:pt x="47" y="69"/>
                </a:cubicBezTo>
                <a:cubicBezTo>
                  <a:pt x="46" y="69"/>
                  <a:pt x="20" y="69"/>
                  <a:pt x="20" y="69"/>
                </a:cubicBezTo>
                <a:cubicBezTo>
                  <a:pt x="20" y="69"/>
                  <a:pt x="18" y="70"/>
                  <a:pt x="16" y="70"/>
                </a:cubicBezTo>
                <a:cubicBezTo>
                  <a:pt x="14" y="70"/>
                  <a:pt x="12" y="69"/>
                  <a:pt x="11" y="70"/>
                </a:cubicBezTo>
                <a:cubicBezTo>
                  <a:pt x="11" y="71"/>
                  <a:pt x="11" y="73"/>
                  <a:pt x="7" y="70"/>
                </a:cubicBezTo>
                <a:cubicBezTo>
                  <a:pt x="4" y="68"/>
                  <a:pt x="3" y="70"/>
                  <a:pt x="3" y="72"/>
                </a:cubicBezTo>
                <a:cubicBezTo>
                  <a:pt x="3" y="73"/>
                  <a:pt x="2" y="74"/>
                  <a:pt x="0" y="74"/>
                </a:cubicBezTo>
                <a:cubicBezTo>
                  <a:pt x="0" y="75"/>
                  <a:pt x="0" y="76"/>
                  <a:pt x="0" y="76"/>
                </a:cubicBezTo>
                <a:cubicBezTo>
                  <a:pt x="2" y="78"/>
                  <a:pt x="2" y="78"/>
                  <a:pt x="2" y="78"/>
                </a:cubicBezTo>
                <a:cubicBezTo>
                  <a:pt x="2" y="78"/>
                  <a:pt x="1" y="81"/>
                  <a:pt x="3" y="82"/>
                </a:cubicBezTo>
                <a:cubicBezTo>
                  <a:pt x="4" y="83"/>
                  <a:pt x="6" y="85"/>
                  <a:pt x="6" y="86"/>
                </a:cubicBezTo>
                <a:cubicBezTo>
                  <a:pt x="7" y="87"/>
                  <a:pt x="6" y="92"/>
                  <a:pt x="6" y="92"/>
                </a:cubicBezTo>
                <a:cubicBezTo>
                  <a:pt x="6" y="92"/>
                  <a:pt x="7" y="95"/>
                  <a:pt x="8" y="94"/>
                </a:cubicBezTo>
                <a:cubicBezTo>
                  <a:pt x="10" y="92"/>
                  <a:pt x="11" y="95"/>
                  <a:pt x="12" y="93"/>
                </a:cubicBezTo>
                <a:cubicBezTo>
                  <a:pt x="13" y="91"/>
                  <a:pt x="16" y="94"/>
                  <a:pt x="17" y="94"/>
                </a:cubicBezTo>
                <a:cubicBezTo>
                  <a:pt x="18" y="94"/>
                  <a:pt x="21" y="90"/>
                  <a:pt x="22" y="90"/>
                </a:cubicBezTo>
                <a:cubicBezTo>
                  <a:pt x="23" y="90"/>
                  <a:pt x="24" y="94"/>
                  <a:pt x="24" y="95"/>
                </a:cubicBezTo>
                <a:cubicBezTo>
                  <a:pt x="24" y="97"/>
                  <a:pt x="28" y="98"/>
                  <a:pt x="27" y="98"/>
                </a:cubicBezTo>
                <a:cubicBezTo>
                  <a:pt x="26" y="99"/>
                  <a:pt x="25" y="101"/>
                  <a:pt x="27" y="101"/>
                </a:cubicBezTo>
                <a:cubicBezTo>
                  <a:pt x="28" y="101"/>
                  <a:pt x="28" y="103"/>
                  <a:pt x="29" y="105"/>
                </a:cubicBezTo>
                <a:cubicBezTo>
                  <a:pt x="29" y="106"/>
                  <a:pt x="31" y="107"/>
                  <a:pt x="32" y="105"/>
                </a:cubicBezTo>
                <a:cubicBezTo>
                  <a:pt x="33" y="103"/>
                  <a:pt x="34" y="105"/>
                  <a:pt x="35" y="106"/>
                </a:cubicBezTo>
                <a:cubicBezTo>
                  <a:pt x="36" y="107"/>
                  <a:pt x="39" y="106"/>
                  <a:pt x="39" y="104"/>
                </a:cubicBezTo>
                <a:cubicBezTo>
                  <a:pt x="40" y="103"/>
                  <a:pt x="43" y="102"/>
                  <a:pt x="43" y="104"/>
                </a:cubicBezTo>
                <a:cubicBezTo>
                  <a:pt x="42" y="106"/>
                  <a:pt x="43" y="106"/>
                  <a:pt x="45" y="105"/>
                </a:cubicBezTo>
                <a:cubicBezTo>
                  <a:pt x="46" y="104"/>
                  <a:pt x="46" y="104"/>
                  <a:pt x="47" y="104"/>
                </a:cubicBezTo>
                <a:cubicBezTo>
                  <a:pt x="48" y="102"/>
                  <a:pt x="49" y="100"/>
                  <a:pt x="49" y="99"/>
                </a:cubicBezTo>
                <a:cubicBezTo>
                  <a:pt x="50" y="98"/>
                  <a:pt x="47" y="95"/>
                  <a:pt x="48" y="95"/>
                </a:cubicBezTo>
                <a:cubicBezTo>
                  <a:pt x="50" y="94"/>
                  <a:pt x="53" y="95"/>
                  <a:pt x="54" y="92"/>
                </a:cubicBezTo>
                <a:cubicBezTo>
                  <a:pt x="55" y="89"/>
                  <a:pt x="56" y="88"/>
                  <a:pt x="56" y="88"/>
                </a:cubicBezTo>
                <a:cubicBezTo>
                  <a:pt x="56" y="88"/>
                  <a:pt x="57" y="82"/>
                  <a:pt x="58" y="83"/>
                </a:cubicBezTo>
                <a:cubicBezTo>
                  <a:pt x="60" y="84"/>
                  <a:pt x="63" y="85"/>
                  <a:pt x="63" y="83"/>
                </a:cubicBezTo>
                <a:cubicBezTo>
                  <a:pt x="63" y="80"/>
                  <a:pt x="65" y="82"/>
                  <a:pt x="66" y="80"/>
                </a:cubicBezTo>
                <a:cubicBezTo>
                  <a:pt x="66" y="77"/>
                  <a:pt x="68" y="78"/>
                  <a:pt x="69" y="78"/>
                </a:cubicBezTo>
                <a:cubicBezTo>
                  <a:pt x="70" y="78"/>
                  <a:pt x="72" y="78"/>
                  <a:pt x="72" y="77"/>
                </a:cubicBezTo>
                <a:cubicBezTo>
                  <a:pt x="72" y="75"/>
                  <a:pt x="75" y="76"/>
                  <a:pt x="78" y="74"/>
                </a:cubicBezTo>
                <a:cubicBezTo>
                  <a:pt x="80" y="72"/>
                  <a:pt x="82" y="71"/>
                  <a:pt x="83" y="72"/>
                </a:cubicBezTo>
                <a:cubicBezTo>
                  <a:pt x="84" y="73"/>
                  <a:pt x="90" y="73"/>
                  <a:pt x="91" y="72"/>
                </a:cubicBezTo>
                <a:cubicBezTo>
                  <a:pt x="92" y="72"/>
                  <a:pt x="94" y="70"/>
                  <a:pt x="97" y="71"/>
                </a:cubicBezTo>
                <a:cubicBezTo>
                  <a:pt x="99" y="71"/>
                  <a:pt x="105" y="69"/>
                  <a:pt x="108" y="69"/>
                </a:cubicBezTo>
                <a:cubicBezTo>
                  <a:pt x="110" y="69"/>
                  <a:pt x="111" y="67"/>
                  <a:pt x="112" y="66"/>
                </a:cubicBezTo>
                <a:cubicBezTo>
                  <a:pt x="113" y="66"/>
                  <a:pt x="113" y="62"/>
                  <a:pt x="114" y="61"/>
                </a:cubicBezTo>
                <a:cubicBezTo>
                  <a:pt x="115" y="61"/>
                  <a:pt x="115" y="48"/>
                  <a:pt x="115" y="43"/>
                </a:cubicBezTo>
                <a:cubicBezTo>
                  <a:pt x="112" y="44"/>
                  <a:pt x="109" y="44"/>
                  <a:pt x="109" y="4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 name="Freeform 38"/>
          <p:cNvSpPr/>
          <p:nvPr/>
        </p:nvSpPr>
        <p:spPr bwMode="auto">
          <a:xfrm>
            <a:off x="4109517" y="2845248"/>
            <a:ext cx="163513" cy="114300"/>
          </a:xfrm>
          <a:custGeom>
            <a:avLst/>
            <a:gdLst>
              <a:gd name="T0" fmla="*/ 56 w 57"/>
              <a:gd name="T1" fmla="*/ 23 h 40"/>
              <a:gd name="T2" fmla="*/ 53 w 57"/>
              <a:gd name="T3" fmla="*/ 21 h 40"/>
              <a:gd name="T4" fmla="*/ 53 w 57"/>
              <a:gd name="T5" fmla="*/ 18 h 40"/>
              <a:gd name="T6" fmla="*/ 49 w 57"/>
              <a:gd name="T7" fmla="*/ 18 h 40"/>
              <a:gd name="T8" fmla="*/ 47 w 57"/>
              <a:gd name="T9" fmla="*/ 16 h 40"/>
              <a:gd name="T10" fmla="*/ 46 w 57"/>
              <a:gd name="T11" fmla="*/ 13 h 40"/>
              <a:gd name="T12" fmla="*/ 42 w 57"/>
              <a:gd name="T13" fmla="*/ 9 h 40"/>
              <a:gd name="T14" fmla="*/ 40 w 57"/>
              <a:gd name="T15" fmla="*/ 5 h 40"/>
              <a:gd name="T16" fmla="*/ 40 w 57"/>
              <a:gd name="T17" fmla="*/ 2 h 40"/>
              <a:gd name="T18" fmla="*/ 36 w 57"/>
              <a:gd name="T19" fmla="*/ 1 h 40"/>
              <a:gd name="T20" fmla="*/ 31 w 57"/>
              <a:gd name="T21" fmla="*/ 3 h 40"/>
              <a:gd name="T22" fmla="*/ 25 w 57"/>
              <a:gd name="T23" fmla="*/ 6 h 40"/>
              <a:gd name="T24" fmla="*/ 22 w 57"/>
              <a:gd name="T25" fmla="*/ 7 h 40"/>
              <a:gd name="T26" fmla="*/ 19 w 57"/>
              <a:gd name="T27" fmla="*/ 9 h 40"/>
              <a:gd name="T28" fmla="*/ 16 w 57"/>
              <a:gd name="T29" fmla="*/ 12 h 40"/>
              <a:gd name="T30" fmla="*/ 11 w 57"/>
              <a:gd name="T31" fmla="*/ 12 h 40"/>
              <a:gd name="T32" fmla="*/ 9 w 57"/>
              <a:gd name="T33" fmla="*/ 17 h 40"/>
              <a:gd name="T34" fmla="*/ 7 w 57"/>
              <a:gd name="T35" fmla="*/ 21 h 40"/>
              <a:gd name="T36" fmla="*/ 1 w 57"/>
              <a:gd name="T37" fmla="*/ 24 h 40"/>
              <a:gd name="T38" fmla="*/ 2 w 57"/>
              <a:gd name="T39" fmla="*/ 28 h 40"/>
              <a:gd name="T40" fmla="*/ 0 w 57"/>
              <a:gd name="T41" fmla="*/ 33 h 40"/>
              <a:gd name="T42" fmla="*/ 3 w 57"/>
              <a:gd name="T43" fmla="*/ 36 h 40"/>
              <a:gd name="T44" fmla="*/ 9 w 57"/>
              <a:gd name="T45" fmla="*/ 38 h 40"/>
              <a:gd name="T46" fmla="*/ 18 w 57"/>
              <a:gd name="T47" fmla="*/ 37 h 40"/>
              <a:gd name="T48" fmla="*/ 20 w 57"/>
              <a:gd name="T49" fmla="*/ 37 h 40"/>
              <a:gd name="T50" fmla="*/ 19 w 57"/>
              <a:gd name="T51" fmla="*/ 30 h 40"/>
              <a:gd name="T52" fmla="*/ 36 w 57"/>
              <a:gd name="T53" fmla="*/ 30 h 40"/>
              <a:gd name="T54" fmla="*/ 39 w 57"/>
              <a:gd name="T55" fmla="*/ 28 h 40"/>
              <a:gd name="T56" fmla="*/ 45 w 57"/>
              <a:gd name="T57" fmla="*/ 29 h 40"/>
              <a:gd name="T58" fmla="*/ 49 w 57"/>
              <a:gd name="T59" fmla="*/ 27 h 40"/>
              <a:gd name="T60" fmla="*/ 54 w 57"/>
              <a:gd name="T61" fmla="*/ 25 h 40"/>
              <a:gd name="T62" fmla="*/ 56 w 57"/>
              <a:gd name="T63" fmla="*/ 23 h 40"/>
              <a:gd name="T64" fmla="*/ 56 w 57"/>
              <a:gd name="T65"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40">
                <a:moveTo>
                  <a:pt x="56" y="23"/>
                </a:moveTo>
                <a:cubicBezTo>
                  <a:pt x="55" y="22"/>
                  <a:pt x="54" y="21"/>
                  <a:pt x="53" y="21"/>
                </a:cubicBezTo>
                <a:cubicBezTo>
                  <a:pt x="53" y="21"/>
                  <a:pt x="53" y="18"/>
                  <a:pt x="53" y="18"/>
                </a:cubicBezTo>
                <a:cubicBezTo>
                  <a:pt x="53" y="17"/>
                  <a:pt x="51" y="18"/>
                  <a:pt x="49" y="18"/>
                </a:cubicBezTo>
                <a:cubicBezTo>
                  <a:pt x="48" y="18"/>
                  <a:pt x="48" y="16"/>
                  <a:pt x="47" y="16"/>
                </a:cubicBezTo>
                <a:cubicBezTo>
                  <a:pt x="46" y="16"/>
                  <a:pt x="46" y="14"/>
                  <a:pt x="46" y="13"/>
                </a:cubicBezTo>
                <a:cubicBezTo>
                  <a:pt x="46" y="12"/>
                  <a:pt x="44" y="10"/>
                  <a:pt x="42" y="9"/>
                </a:cubicBezTo>
                <a:cubicBezTo>
                  <a:pt x="41" y="8"/>
                  <a:pt x="41" y="6"/>
                  <a:pt x="40" y="5"/>
                </a:cubicBezTo>
                <a:cubicBezTo>
                  <a:pt x="40" y="5"/>
                  <a:pt x="40" y="3"/>
                  <a:pt x="40" y="2"/>
                </a:cubicBezTo>
                <a:cubicBezTo>
                  <a:pt x="38" y="2"/>
                  <a:pt x="36" y="1"/>
                  <a:pt x="36" y="1"/>
                </a:cubicBezTo>
                <a:cubicBezTo>
                  <a:pt x="35" y="0"/>
                  <a:pt x="33" y="1"/>
                  <a:pt x="31" y="3"/>
                </a:cubicBezTo>
                <a:cubicBezTo>
                  <a:pt x="28" y="5"/>
                  <a:pt x="25" y="4"/>
                  <a:pt x="25" y="6"/>
                </a:cubicBezTo>
                <a:cubicBezTo>
                  <a:pt x="25" y="7"/>
                  <a:pt x="23" y="7"/>
                  <a:pt x="22" y="7"/>
                </a:cubicBezTo>
                <a:cubicBezTo>
                  <a:pt x="21" y="7"/>
                  <a:pt x="19" y="6"/>
                  <a:pt x="19" y="9"/>
                </a:cubicBezTo>
                <a:cubicBezTo>
                  <a:pt x="18" y="11"/>
                  <a:pt x="16" y="9"/>
                  <a:pt x="16" y="12"/>
                </a:cubicBezTo>
                <a:cubicBezTo>
                  <a:pt x="16" y="14"/>
                  <a:pt x="13" y="13"/>
                  <a:pt x="11" y="12"/>
                </a:cubicBezTo>
                <a:cubicBezTo>
                  <a:pt x="10" y="11"/>
                  <a:pt x="9" y="17"/>
                  <a:pt x="9" y="17"/>
                </a:cubicBezTo>
                <a:cubicBezTo>
                  <a:pt x="9" y="17"/>
                  <a:pt x="8" y="18"/>
                  <a:pt x="7" y="21"/>
                </a:cubicBezTo>
                <a:cubicBezTo>
                  <a:pt x="6" y="24"/>
                  <a:pt x="3" y="23"/>
                  <a:pt x="1" y="24"/>
                </a:cubicBezTo>
                <a:cubicBezTo>
                  <a:pt x="0" y="24"/>
                  <a:pt x="3" y="27"/>
                  <a:pt x="2" y="28"/>
                </a:cubicBezTo>
                <a:cubicBezTo>
                  <a:pt x="2" y="29"/>
                  <a:pt x="1" y="31"/>
                  <a:pt x="0" y="33"/>
                </a:cubicBezTo>
                <a:cubicBezTo>
                  <a:pt x="1" y="34"/>
                  <a:pt x="3" y="35"/>
                  <a:pt x="3" y="36"/>
                </a:cubicBezTo>
                <a:cubicBezTo>
                  <a:pt x="4" y="37"/>
                  <a:pt x="8" y="40"/>
                  <a:pt x="9" y="38"/>
                </a:cubicBezTo>
                <a:cubicBezTo>
                  <a:pt x="11" y="36"/>
                  <a:pt x="16" y="36"/>
                  <a:pt x="18" y="37"/>
                </a:cubicBezTo>
                <a:cubicBezTo>
                  <a:pt x="19" y="39"/>
                  <a:pt x="20" y="38"/>
                  <a:pt x="20" y="37"/>
                </a:cubicBezTo>
                <a:cubicBezTo>
                  <a:pt x="20" y="36"/>
                  <a:pt x="18" y="31"/>
                  <a:pt x="19" y="30"/>
                </a:cubicBezTo>
                <a:cubicBezTo>
                  <a:pt x="19" y="29"/>
                  <a:pt x="35" y="29"/>
                  <a:pt x="36" y="30"/>
                </a:cubicBezTo>
                <a:cubicBezTo>
                  <a:pt x="36" y="31"/>
                  <a:pt x="36" y="28"/>
                  <a:pt x="39" y="28"/>
                </a:cubicBezTo>
                <a:cubicBezTo>
                  <a:pt x="41" y="29"/>
                  <a:pt x="44" y="30"/>
                  <a:pt x="45" y="29"/>
                </a:cubicBezTo>
                <a:cubicBezTo>
                  <a:pt x="46" y="29"/>
                  <a:pt x="47" y="27"/>
                  <a:pt x="49" y="27"/>
                </a:cubicBezTo>
                <a:cubicBezTo>
                  <a:pt x="50" y="27"/>
                  <a:pt x="54" y="26"/>
                  <a:pt x="54" y="25"/>
                </a:cubicBezTo>
                <a:cubicBezTo>
                  <a:pt x="55" y="24"/>
                  <a:pt x="57" y="24"/>
                  <a:pt x="56" y="23"/>
                </a:cubicBezTo>
                <a:cubicBezTo>
                  <a:pt x="56" y="23"/>
                  <a:pt x="56" y="23"/>
                  <a:pt x="56" y="2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 name="Freeform 39"/>
          <p:cNvSpPr/>
          <p:nvPr/>
        </p:nvSpPr>
        <p:spPr bwMode="auto">
          <a:xfrm>
            <a:off x="4223817" y="2673798"/>
            <a:ext cx="304800" cy="239713"/>
          </a:xfrm>
          <a:custGeom>
            <a:avLst/>
            <a:gdLst>
              <a:gd name="T0" fmla="*/ 102 w 107"/>
              <a:gd name="T1" fmla="*/ 12 h 84"/>
              <a:gd name="T2" fmla="*/ 101 w 107"/>
              <a:gd name="T3" fmla="*/ 3 h 84"/>
              <a:gd name="T4" fmla="*/ 96 w 107"/>
              <a:gd name="T5" fmla="*/ 6 h 84"/>
              <a:gd name="T6" fmla="*/ 92 w 107"/>
              <a:gd name="T7" fmla="*/ 2 h 84"/>
              <a:gd name="T8" fmla="*/ 81 w 107"/>
              <a:gd name="T9" fmla="*/ 0 h 84"/>
              <a:gd name="T10" fmla="*/ 52 w 107"/>
              <a:gd name="T11" fmla="*/ 18 h 84"/>
              <a:gd name="T12" fmla="*/ 39 w 107"/>
              <a:gd name="T13" fmla="*/ 28 h 84"/>
              <a:gd name="T14" fmla="*/ 29 w 107"/>
              <a:gd name="T15" fmla="*/ 32 h 84"/>
              <a:gd name="T16" fmla="*/ 28 w 107"/>
              <a:gd name="T17" fmla="*/ 32 h 84"/>
              <a:gd name="T18" fmla="*/ 27 w 107"/>
              <a:gd name="T19" fmla="*/ 50 h 84"/>
              <a:gd name="T20" fmla="*/ 25 w 107"/>
              <a:gd name="T21" fmla="*/ 55 h 84"/>
              <a:gd name="T22" fmla="*/ 21 w 107"/>
              <a:gd name="T23" fmla="*/ 58 h 84"/>
              <a:gd name="T24" fmla="*/ 10 w 107"/>
              <a:gd name="T25" fmla="*/ 60 h 84"/>
              <a:gd name="T26" fmla="*/ 4 w 107"/>
              <a:gd name="T27" fmla="*/ 61 h 84"/>
              <a:gd name="T28" fmla="*/ 0 w 107"/>
              <a:gd name="T29" fmla="*/ 62 h 84"/>
              <a:gd name="T30" fmla="*/ 0 w 107"/>
              <a:gd name="T31" fmla="*/ 65 h 84"/>
              <a:gd name="T32" fmla="*/ 2 w 107"/>
              <a:gd name="T33" fmla="*/ 69 h 84"/>
              <a:gd name="T34" fmla="*/ 6 w 107"/>
              <a:gd name="T35" fmla="*/ 73 h 84"/>
              <a:gd name="T36" fmla="*/ 7 w 107"/>
              <a:gd name="T37" fmla="*/ 76 h 84"/>
              <a:gd name="T38" fmla="*/ 9 w 107"/>
              <a:gd name="T39" fmla="*/ 78 h 84"/>
              <a:gd name="T40" fmla="*/ 13 w 107"/>
              <a:gd name="T41" fmla="*/ 78 h 84"/>
              <a:gd name="T42" fmla="*/ 13 w 107"/>
              <a:gd name="T43" fmla="*/ 81 h 84"/>
              <a:gd name="T44" fmla="*/ 16 w 107"/>
              <a:gd name="T45" fmla="*/ 83 h 84"/>
              <a:gd name="T46" fmla="*/ 19 w 107"/>
              <a:gd name="T47" fmla="*/ 79 h 84"/>
              <a:gd name="T48" fmla="*/ 21 w 107"/>
              <a:gd name="T49" fmla="*/ 83 h 84"/>
              <a:gd name="T50" fmla="*/ 24 w 107"/>
              <a:gd name="T51" fmla="*/ 82 h 84"/>
              <a:gd name="T52" fmla="*/ 27 w 107"/>
              <a:gd name="T53" fmla="*/ 77 h 84"/>
              <a:gd name="T54" fmla="*/ 28 w 107"/>
              <a:gd name="T55" fmla="*/ 71 h 84"/>
              <a:gd name="T56" fmla="*/ 35 w 107"/>
              <a:gd name="T57" fmla="*/ 71 h 84"/>
              <a:gd name="T58" fmla="*/ 39 w 107"/>
              <a:gd name="T59" fmla="*/ 70 h 84"/>
              <a:gd name="T60" fmla="*/ 44 w 107"/>
              <a:gd name="T61" fmla="*/ 71 h 84"/>
              <a:gd name="T62" fmla="*/ 48 w 107"/>
              <a:gd name="T63" fmla="*/ 75 h 84"/>
              <a:gd name="T64" fmla="*/ 54 w 107"/>
              <a:gd name="T65" fmla="*/ 73 h 84"/>
              <a:gd name="T66" fmla="*/ 59 w 107"/>
              <a:gd name="T67" fmla="*/ 76 h 84"/>
              <a:gd name="T68" fmla="*/ 66 w 107"/>
              <a:gd name="T69" fmla="*/ 76 h 84"/>
              <a:gd name="T70" fmla="*/ 71 w 107"/>
              <a:gd name="T71" fmla="*/ 73 h 84"/>
              <a:gd name="T72" fmla="*/ 80 w 107"/>
              <a:gd name="T73" fmla="*/ 73 h 84"/>
              <a:gd name="T74" fmla="*/ 85 w 107"/>
              <a:gd name="T75" fmla="*/ 75 h 84"/>
              <a:gd name="T76" fmla="*/ 90 w 107"/>
              <a:gd name="T77" fmla="*/ 70 h 84"/>
              <a:gd name="T78" fmla="*/ 91 w 107"/>
              <a:gd name="T79" fmla="*/ 70 h 84"/>
              <a:gd name="T80" fmla="*/ 91 w 107"/>
              <a:gd name="T81" fmla="*/ 68 h 84"/>
              <a:gd name="T82" fmla="*/ 93 w 107"/>
              <a:gd name="T83" fmla="*/ 62 h 84"/>
              <a:gd name="T84" fmla="*/ 104 w 107"/>
              <a:gd name="T85" fmla="*/ 48 h 84"/>
              <a:gd name="T86" fmla="*/ 105 w 107"/>
              <a:gd name="T87" fmla="*/ 31 h 84"/>
              <a:gd name="T88" fmla="*/ 106 w 107"/>
              <a:gd name="T89" fmla="*/ 24 h 84"/>
              <a:gd name="T90" fmla="*/ 105 w 107"/>
              <a:gd name="T91" fmla="*/ 18 h 84"/>
              <a:gd name="T92" fmla="*/ 102 w 107"/>
              <a:gd name="T93"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7" h="84">
                <a:moveTo>
                  <a:pt x="102" y="12"/>
                </a:moveTo>
                <a:cubicBezTo>
                  <a:pt x="102" y="11"/>
                  <a:pt x="102" y="7"/>
                  <a:pt x="101" y="3"/>
                </a:cubicBezTo>
                <a:cubicBezTo>
                  <a:pt x="96" y="6"/>
                  <a:pt x="96" y="6"/>
                  <a:pt x="96" y="6"/>
                </a:cubicBezTo>
                <a:cubicBezTo>
                  <a:pt x="96" y="6"/>
                  <a:pt x="94" y="4"/>
                  <a:pt x="92" y="2"/>
                </a:cubicBezTo>
                <a:cubicBezTo>
                  <a:pt x="89" y="0"/>
                  <a:pt x="81" y="0"/>
                  <a:pt x="81" y="0"/>
                </a:cubicBezTo>
                <a:cubicBezTo>
                  <a:pt x="52" y="18"/>
                  <a:pt x="52" y="18"/>
                  <a:pt x="52" y="18"/>
                </a:cubicBezTo>
                <a:cubicBezTo>
                  <a:pt x="39" y="28"/>
                  <a:pt x="39" y="28"/>
                  <a:pt x="39" y="28"/>
                </a:cubicBezTo>
                <a:cubicBezTo>
                  <a:pt x="39" y="28"/>
                  <a:pt x="31" y="31"/>
                  <a:pt x="29" y="32"/>
                </a:cubicBezTo>
                <a:cubicBezTo>
                  <a:pt x="28" y="32"/>
                  <a:pt x="28" y="32"/>
                  <a:pt x="28" y="32"/>
                </a:cubicBezTo>
                <a:cubicBezTo>
                  <a:pt x="28" y="37"/>
                  <a:pt x="28" y="50"/>
                  <a:pt x="27" y="50"/>
                </a:cubicBezTo>
                <a:cubicBezTo>
                  <a:pt x="26" y="51"/>
                  <a:pt x="26" y="55"/>
                  <a:pt x="25" y="55"/>
                </a:cubicBezTo>
                <a:cubicBezTo>
                  <a:pt x="24" y="56"/>
                  <a:pt x="23" y="58"/>
                  <a:pt x="21" y="58"/>
                </a:cubicBezTo>
                <a:cubicBezTo>
                  <a:pt x="18" y="58"/>
                  <a:pt x="12" y="60"/>
                  <a:pt x="10" y="60"/>
                </a:cubicBezTo>
                <a:cubicBezTo>
                  <a:pt x="7" y="59"/>
                  <a:pt x="5" y="61"/>
                  <a:pt x="4" y="61"/>
                </a:cubicBezTo>
                <a:cubicBezTo>
                  <a:pt x="4" y="62"/>
                  <a:pt x="2" y="62"/>
                  <a:pt x="0" y="62"/>
                </a:cubicBezTo>
                <a:cubicBezTo>
                  <a:pt x="0" y="63"/>
                  <a:pt x="0" y="65"/>
                  <a:pt x="0" y="65"/>
                </a:cubicBezTo>
                <a:cubicBezTo>
                  <a:pt x="1" y="66"/>
                  <a:pt x="1" y="68"/>
                  <a:pt x="2" y="69"/>
                </a:cubicBezTo>
                <a:cubicBezTo>
                  <a:pt x="4" y="70"/>
                  <a:pt x="6" y="72"/>
                  <a:pt x="6" y="73"/>
                </a:cubicBezTo>
                <a:cubicBezTo>
                  <a:pt x="6" y="74"/>
                  <a:pt x="6" y="76"/>
                  <a:pt x="7" y="76"/>
                </a:cubicBezTo>
                <a:cubicBezTo>
                  <a:pt x="8" y="76"/>
                  <a:pt x="8" y="78"/>
                  <a:pt x="9" y="78"/>
                </a:cubicBezTo>
                <a:cubicBezTo>
                  <a:pt x="11" y="78"/>
                  <a:pt x="13" y="77"/>
                  <a:pt x="13" y="78"/>
                </a:cubicBezTo>
                <a:cubicBezTo>
                  <a:pt x="13" y="78"/>
                  <a:pt x="13" y="81"/>
                  <a:pt x="13" y="81"/>
                </a:cubicBezTo>
                <a:cubicBezTo>
                  <a:pt x="14" y="81"/>
                  <a:pt x="15" y="82"/>
                  <a:pt x="16" y="83"/>
                </a:cubicBezTo>
                <a:cubicBezTo>
                  <a:pt x="16" y="81"/>
                  <a:pt x="17" y="79"/>
                  <a:pt x="19" y="79"/>
                </a:cubicBezTo>
                <a:cubicBezTo>
                  <a:pt x="21" y="80"/>
                  <a:pt x="19" y="82"/>
                  <a:pt x="21" y="83"/>
                </a:cubicBezTo>
                <a:cubicBezTo>
                  <a:pt x="23" y="84"/>
                  <a:pt x="24" y="83"/>
                  <a:pt x="24" y="82"/>
                </a:cubicBezTo>
                <a:cubicBezTo>
                  <a:pt x="24" y="80"/>
                  <a:pt x="26" y="77"/>
                  <a:pt x="27" y="77"/>
                </a:cubicBezTo>
                <a:cubicBezTo>
                  <a:pt x="27" y="76"/>
                  <a:pt x="27" y="72"/>
                  <a:pt x="28" y="71"/>
                </a:cubicBezTo>
                <a:cubicBezTo>
                  <a:pt x="30" y="70"/>
                  <a:pt x="33" y="71"/>
                  <a:pt x="35" y="71"/>
                </a:cubicBezTo>
                <a:cubicBezTo>
                  <a:pt x="36" y="71"/>
                  <a:pt x="37" y="68"/>
                  <a:pt x="39" y="70"/>
                </a:cubicBezTo>
                <a:cubicBezTo>
                  <a:pt x="40" y="71"/>
                  <a:pt x="43" y="70"/>
                  <a:pt x="44" y="71"/>
                </a:cubicBezTo>
                <a:cubicBezTo>
                  <a:pt x="46" y="73"/>
                  <a:pt x="46" y="76"/>
                  <a:pt x="48" y="75"/>
                </a:cubicBezTo>
                <a:cubicBezTo>
                  <a:pt x="50" y="74"/>
                  <a:pt x="53" y="73"/>
                  <a:pt x="54" y="73"/>
                </a:cubicBezTo>
                <a:cubicBezTo>
                  <a:pt x="55" y="73"/>
                  <a:pt x="58" y="76"/>
                  <a:pt x="59" y="76"/>
                </a:cubicBezTo>
                <a:cubicBezTo>
                  <a:pt x="60" y="77"/>
                  <a:pt x="64" y="77"/>
                  <a:pt x="66" y="76"/>
                </a:cubicBezTo>
                <a:cubicBezTo>
                  <a:pt x="67" y="75"/>
                  <a:pt x="69" y="73"/>
                  <a:pt x="71" y="73"/>
                </a:cubicBezTo>
                <a:cubicBezTo>
                  <a:pt x="73" y="73"/>
                  <a:pt x="79" y="73"/>
                  <a:pt x="80" y="73"/>
                </a:cubicBezTo>
                <a:cubicBezTo>
                  <a:pt x="81" y="74"/>
                  <a:pt x="84" y="75"/>
                  <a:pt x="85" y="75"/>
                </a:cubicBezTo>
                <a:cubicBezTo>
                  <a:pt x="87" y="74"/>
                  <a:pt x="89" y="71"/>
                  <a:pt x="90" y="70"/>
                </a:cubicBezTo>
                <a:cubicBezTo>
                  <a:pt x="91" y="70"/>
                  <a:pt x="91" y="70"/>
                  <a:pt x="91" y="70"/>
                </a:cubicBezTo>
                <a:cubicBezTo>
                  <a:pt x="91" y="69"/>
                  <a:pt x="91" y="69"/>
                  <a:pt x="91" y="68"/>
                </a:cubicBezTo>
                <a:cubicBezTo>
                  <a:pt x="91" y="64"/>
                  <a:pt x="92" y="66"/>
                  <a:pt x="93" y="62"/>
                </a:cubicBezTo>
                <a:cubicBezTo>
                  <a:pt x="93" y="58"/>
                  <a:pt x="103" y="49"/>
                  <a:pt x="104" y="48"/>
                </a:cubicBezTo>
                <a:cubicBezTo>
                  <a:pt x="105" y="47"/>
                  <a:pt x="105" y="33"/>
                  <a:pt x="105" y="31"/>
                </a:cubicBezTo>
                <a:cubicBezTo>
                  <a:pt x="105" y="29"/>
                  <a:pt x="105" y="27"/>
                  <a:pt x="106" y="24"/>
                </a:cubicBezTo>
                <a:cubicBezTo>
                  <a:pt x="107" y="21"/>
                  <a:pt x="104" y="21"/>
                  <a:pt x="105" y="18"/>
                </a:cubicBezTo>
                <a:cubicBezTo>
                  <a:pt x="105" y="16"/>
                  <a:pt x="102" y="14"/>
                  <a:pt x="102" y="1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 name="Freeform 40"/>
          <p:cNvSpPr/>
          <p:nvPr/>
        </p:nvSpPr>
        <p:spPr bwMode="auto">
          <a:xfrm>
            <a:off x="4482580" y="2673798"/>
            <a:ext cx="196850" cy="325438"/>
          </a:xfrm>
          <a:custGeom>
            <a:avLst/>
            <a:gdLst>
              <a:gd name="T0" fmla="*/ 69 w 69"/>
              <a:gd name="T1" fmla="*/ 28 h 114"/>
              <a:gd name="T2" fmla="*/ 16 w 69"/>
              <a:gd name="T3" fmla="*/ 0 h 114"/>
              <a:gd name="T4" fmla="*/ 10 w 69"/>
              <a:gd name="T5" fmla="*/ 3 h 114"/>
              <a:gd name="T6" fmla="*/ 11 w 69"/>
              <a:gd name="T7" fmla="*/ 12 h 114"/>
              <a:gd name="T8" fmla="*/ 14 w 69"/>
              <a:gd name="T9" fmla="*/ 18 h 114"/>
              <a:gd name="T10" fmla="*/ 15 w 69"/>
              <a:gd name="T11" fmla="*/ 24 h 114"/>
              <a:gd name="T12" fmla="*/ 14 w 69"/>
              <a:gd name="T13" fmla="*/ 31 h 114"/>
              <a:gd name="T14" fmla="*/ 13 w 69"/>
              <a:gd name="T15" fmla="*/ 48 h 114"/>
              <a:gd name="T16" fmla="*/ 2 w 69"/>
              <a:gd name="T17" fmla="*/ 62 h 114"/>
              <a:gd name="T18" fmla="*/ 0 w 69"/>
              <a:gd name="T19" fmla="*/ 68 h 114"/>
              <a:gd name="T20" fmla="*/ 0 w 69"/>
              <a:gd name="T21" fmla="*/ 70 h 114"/>
              <a:gd name="T22" fmla="*/ 2 w 69"/>
              <a:gd name="T23" fmla="*/ 72 h 114"/>
              <a:gd name="T24" fmla="*/ 5 w 69"/>
              <a:gd name="T25" fmla="*/ 74 h 114"/>
              <a:gd name="T26" fmla="*/ 9 w 69"/>
              <a:gd name="T27" fmla="*/ 81 h 114"/>
              <a:gd name="T28" fmla="*/ 10 w 69"/>
              <a:gd name="T29" fmla="*/ 87 h 114"/>
              <a:gd name="T30" fmla="*/ 13 w 69"/>
              <a:gd name="T31" fmla="*/ 96 h 114"/>
              <a:gd name="T32" fmla="*/ 10 w 69"/>
              <a:gd name="T33" fmla="*/ 97 h 114"/>
              <a:gd name="T34" fmla="*/ 4 w 69"/>
              <a:gd name="T35" fmla="*/ 97 h 114"/>
              <a:gd name="T36" fmla="*/ 6 w 69"/>
              <a:gd name="T37" fmla="*/ 102 h 114"/>
              <a:gd name="T38" fmla="*/ 11 w 69"/>
              <a:gd name="T39" fmla="*/ 108 h 114"/>
              <a:gd name="T40" fmla="*/ 14 w 69"/>
              <a:gd name="T41" fmla="*/ 114 h 114"/>
              <a:gd name="T42" fmla="*/ 18 w 69"/>
              <a:gd name="T43" fmla="*/ 112 h 114"/>
              <a:gd name="T44" fmla="*/ 22 w 69"/>
              <a:gd name="T45" fmla="*/ 112 h 114"/>
              <a:gd name="T46" fmla="*/ 30 w 69"/>
              <a:gd name="T47" fmla="*/ 110 h 114"/>
              <a:gd name="T48" fmla="*/ 36 w 69"/>
              <a:gd name="T49" fmla="*/ 107 h 114"/>
              <a:gd name="T50" fmla="*/ 36 w 69"/>
              <a:gd name="T51" fmla="*/ 103 h 114"/>
              <a:gd name="T52" fmla="*/ 46 w 69"/>
              <a:gd name="T53" fmla="*/ 101 h 114"/>
              <a:gd name="T54" fmla="*/ 53 w 69"/>
              <a:gd name="T55" fmla="*/ 94 h 114"/>
              <a:gd name="T56" fmla="*/ 54 w 69"/>
              <a:gd name="T57" fmla="*/ 91 h 114"/>
              <a:gd name="T58" fmla="*/ 60 w 69"/>
              <a:gd name="T59" fmla="*/ 89 h 114"/>
              <a:gd name="T60" fmla="*/ 61 w 69"/>
              <a:gd name="T61" fmla="*/ 89 h 114"/>
              <a:gd name="T62" fmla="*/ 61 w 69"/>
              <a:gd name="T63" fmla="*/ 89 h 114"/>
              <a:gd name="T64" fmla="*/ 62 w 69"/>
              <a:gd name="T65" fmla="*/ 86 h 114"/>
              <a:gd name="T66" fmla="*/ 58 w 69"/>
              <a:gd name="T67" fmla="*/ 81 h 114"/>
              <a:gd name="T68" fmla="*/ 57 w 69"/>
              <a:gd name="T69" fmla="*/ 76 h 114"/>
              <a:gd name="T70" fmla="*/ 56 w 69"/>
              <a:gd name="T71" fmla="*/ 73 h 114"/>
              <a:gd name="T72" fmla="*/ 57 w 69"/>
              <a:gd name="T73" fmla="*/ 67 h 114"/>
              <a:gd name="T74" fmla="*/ 60 w 69"/>
              <a:gd name="T75" fmla="*/ 62 h 114"/>
              <a:gd name="T76" fmla="*/ 62 w 69"/>
              <a:gd name="T77" fmla="*/ 58 h 114"/>
              <a:gd name="T78" fmla="*/ 68 w 69"/>
              <a:gd name="T79" fmla="*/ 54 h 114"/>
              <a:gd name="T80" fmla="*/ 69 w 69"/>
              <a:gd name="T81" fmla="*/ 47 h 114"/>
              <a:gd name="T82" fmla="*/ 69 w 69"/>
              <a:gd name="T83" fmla="*/ 2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9" h="114">
                <a:moveTo>
                  <a:pt x="69" y="28"/>
                </a:moveTo>
                <a:cubicBezTo>
                  <a:pt x="16" y="0"/>
                  <a:pt x="16" y="0"/>
                  <a:pt x="16" y="0"/>
                </a:cubicBezTo>
                <a:cubicBezTo>
                  <a:pt x="10" y="3"/>
                  <a:pt x="10" y="3"/>
                  <a:pt x="10" y="3"/>
                </a:cubicBezTo>
                <a:cubicBezTo>
                  <a:pt x="11" y="7"/>
                  <a:pt x="11" y="11"/>
                  <a:pt x="11" y="12"/>
                </a:cubicBezTo>
                <a:cubicBezTo>
                  <a:pt x="11" y="14"/>
                  <a:pt x="14" y="16"/>
                  <a:pt x="14" y="18"/>
                </a:cubicBezTo>
                <a:cubicBezTo>
                  <a:pt x="13" y="21"/>
                  <a:pt x="16" y="21"/>
                  <a:pt x="15" y="24"/>
                </a:cubicBezTo>
                <a:cubicBezTo>
                  <a:pt x="14" y="27"/>
                  <a:pt x="14" y="29"/>
                  <a:pt x="14" y="31"/>
                </a:cubicBezTo>
                <a:cubicBezTo>
                  <a:pt x="14" y="33"/>
                  <a:pt x="14" y="47"/>
                  <a:pt x="13" y="48"/>
                </a:cubicBezTo>
                <a:cubicBezTo>
                  <a:pt x="12" y="49"/>
                  <a:pt x="2" y="58"/>
                  <a:pt x="2" y="62"/>
                </a:cubicBezTo>
                <a:cubicBezTo>
                  <a:pt x="1" y="66"/>
                  <a:pt x="0" y="64"/>
                  <a:pt x="0" y="68"/>
                </a:cubicBezTo>
                <a:cubicBezTo>
                  <a:pt x="0" y="69"/>
                  <a:pt x="0" y="69"/>
                  <a:pt x="0" y="70"/>
                </a:cubicBezTo>
                <a:cubicBezTo>
                  <a:pt x="1" y="70"/>
                  <a:pt x="1" y="71"/>
                  <a:pt x="2" y="72"/>
                </a:cubicBezTo>
                <a:cubicBezTo>
                  <a:pt x="3" y="73"/>
                  <a:pt x="3" y="74"/>
                  <a:pt x="5" y="74"/>
                </a:cubicBezTo>
                <a:cubicBezTo>
                  <a:pt x="7" y="74"/>
                  <a:pt x="9" y="79"/>
                  <a:pt x="9" y="81"/>
                </a:cubicBezTo>
                <a:cubicBezTo>
                  <a:pt x="9" y="83"/>
                  <a:pt x="10" y="84"/>
                  <a:pt x="10" y="87"/>
                </a:cubicBezTo>
                <a:cubicBezTo>
                  <a:pt x="10" y="90"/>
                  <a:pt x="12" y="95"/>
                  <a:pt x="13" y="96"/>
                </a:cubicBezTo>
                <a:cubicBezTo>
                  <a:pt x="14" y="96"/>
                  <a:pt x="12" y="97"/>
                  <a:pt x="10" y="97"/>
                </a:cubicBezTo>
                <a:cubicBezTo>
                  <a:pt x="7" y="96"/>
                  <a:pt x="4" y="96"/>
                  <a:pt x="4" y="97"/>
                </a:cubicBezTo>
                <a:cubicBezTo>
                  <a:pt x="4" y="98"/>
                  <a:pt x="3" y="100"/>
                  <a:pt x="6" y="102"/>
                </a:cubicBezTo>
                <a:cubicBezTo>
                  <a:pt x="8" y="105"/>
                  <a:pt x="11" y="106"/>
                  <a:pt x="11" y="108"/>
                </a:cubicBezTo>
                <a:cubicBezTo>
                  <a:pt x="12" y="111"/>
                  <a:pt x="13" y="113"/>
                  <a:pt x="14" y="114"/>
                </a:cubicBezTo>
                <a:cubicBezTo>
                  <a:pt x="15" y="114"/>
                  <a:pt x="16" y="114"/>
                  <a:pt x="18" y="112"/>
                </a:cubicBezTo>
                <a:cubicBezTo>
                  <a:pt x="19" y="110"/>
                  <a:pt x="21" y="114"/>
                  <a:pt x="22" y="112"/>
                </a:cubicBezTo>
                <a:cubicBezTo>
                  <a:pt x="24" y="110"/>
                  <a:pt x="29" y="111"/>
                  <a:pt x="30" y="110"/>
                </a:cubicBezTo>
                <a:cubicBezTo>
                  <a:pt x="31" y="109"/>
                  <a:pt x="35" y="108"/>
                  <a:pt x="36" y="107"/>
                </a:cubicBezTo>
                <a:cubicBezTo>
                  <a:pt x="37" y="106"/>
                  <a:pt x="35" y="104"/>
                  <a:pt x="36" y="103"/>
                </a:cubicBezTo>
                <a:cubicBezTo>
                  <a:pt x="38" y="102"/>
                  <a:pt x="44" y="104"/>
                  <a:pt x="46" y="101"/>
                </a:cubicBezTo>
                <a:cubicBezTo>
                  <a:pt x="48" y="98"/>
                  <a:pt x="52" y="95"/>
                  <a:pt x="53" y="94"/>
                </a:cubicBezTo>
                <a:cubicBezTo>
                  <a:pt x="54" y="93"/>
                  <a:pt x="53" y="92"/>
                  <a:pt x="54" y="91"/>
                </a:cubicBezTo>
                <a:cubicBezTo>
                  <a:pt x="56" y="89"/>
                  <a:pt x="59" y="88"/>
                  <a:pt x="60" y="89"/>
                </a:cubicBezTo>
                <a:cubicBezTo>
                  <a:pt x="60" y="89"/>
                  <a:pt x="61" y="89"/>
                  <a:pt x="61" y="89"/>
                </a:cubicBezTo>
                <a:cubicBezTo>
                  <a:pt x="61" y="89"/>
                  <a:pt x="61" y="89"/>
                  <a:pt x="61" y="89"/>
                </a:cubicBezTo>
                <a:cubicBezTo>
                  <a:pt x="62" y="86"/>
                  <a:pt x="62" y="86"/>
                  <a:pt x="62" y="86"/>
                </a:cubicBezTo>
                <a:cubicBezTo>
                  <a:pt x="62" y="86"/>
                  <a:pt x="58" y="84"/>
                  <a:pt x="58" y="81"/>
                </a:cubicBezTo>
                <a:cubicBezTo>
                  <a:pt x="58" y="79"/>
                  <a:pt x="59" y="76"/>
                  <a:pt x="57" y="76"/>
                </a:cubicBezTo>
                <a:cubicBezTo>
                  <a:pt x="55" y="76"/>
                  <a:pt x="55" y="74"/>
                  <a:pt x="56" y="73"/>
                </a:cubicBezTo>
                <a:cubicBezTo>
                  <a:pt x="58" y="71"/>
                  <a:pt x="54" y="67"/>
                  <a:pt x="57" y="67"/>
                </a:cubicBezTo>
                <a:cubicBezTo>
                  <a:pt x="60" y="67"/>
                  <a:pt x="58" y="63"/>
                  <a:pt x="60" y="62"/>
                </a:cubicBezTo>
                <a:cubicBezTo>
                  <a:pt x="62" y="62"/>
                  <a:pt x="62" y="60"/>
                  <a:pt x="62" y="58"/>
                </a:cubicBezTo>
                <a:cubicBezTo>
                  <a:pt x="62" y="56"/>
                  <a:pt x="67" y="55"/>
                  <a:pt x="68" y="54"/>
                </a:cubicBezTo>
                <a:cubicBezTo>
                  <a:pt x="69" y="54"/>
                  <a:pt x="69" y="47"/>
                  <a:pt x="69" y="47"/>
                </a:cubicBezTo>
                <a:lnTo>
                  <a:pt x="69" y="28"/>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 name="Freeform 41"/>
          <p:cNvSpPr/>
          <p:nvPr/>
        </p:nvSpPr>
        <p:spPr bwMode="auto">
          <a:xfrm>
            <a:off x="4690542" y="2494410"/>
            <a:ext cx="217488" cy="214313"/>
          </a:xfrm>
          <a:custGeom>
            <a:avLst/>
            <a:gdLst>
              <a:gd name="T0" fmla="*/ 71 w 76"/>
              <a:gd name="T1" fmla="*/ 16 h 75"/>
              <a:gd name="T2" fmla="*/ 66 w 76"/>
              <a:gd name="T3" fmla="*/ 4 h 75"/>
              <a:gd name="T4" fmla="*/ 65 w 76"/>
              <a:gd name="T5" fmla="*/ 5 h 75"/>
              <a:gd name="T6" fmla="*/ 58 w 76"/>
              <a:gd name="T7" fmla="*/ 4 h 75"/>
              <a:gd name="T8" fmla="*/ 49 w 76"/>
              <a:gd name="T9" fmla="*/ 3 h 75"/>
              <a:gd name="T10" fmla="*/ 35 w 76"/>
              <a:gd name="T11" fmla="*/ 5 h 75"/>
              <a:gd name="T12" fmla="*/ 27 w 76"/>
              <a:gd name="T13" fmla="*/ 6 h 75"/>
              <a:gd name="T14" fmla="*/ 14 w 76"/>
              <a:gd name="T15" fmla="*/ 2 h 75"/>
              <a:gd name="T16" fmla="*/ 4 w 76"/>
              <a:gd name="T17" fmla="*/ 0 h 75"/>
              <a:gd name="T18" fmla="*/ 3 w 76"/>
              <a:gd name="T19" fmla="*/ 1 h 75"/>
              <a:gd name="T20" fmla="*/ 2 w 76"/>
              <a:gd name="T21" fmla="*/ 10 h 75"/>
              <a:gd name="T22" fmla="*/ 2 w 76"/>
              <a:gd name="T23" fmla="*/ 20 h 75"/>
              <a:gd name="T24" fmla="*/ 2 w 76"/>
              <a:gd name="T25" fmla="*/ 73 h 75"/>
              <a:gd name="T26" fmla="*/ 44 w 76"/>
              <a:gd name="T27" fmla="*/ 73 h 75"/>
              <a:gd name="T28" fmla="*/ 47 w 76"/>
              <a:gd name="T29" fmla="*/ 71 h 75"/>
              <a:gd name="T30" fmla="*/ 50 w 76"/>
              <a:gd name="T31" fmla="*/ 73 h 75"/>
              <a:gd name="T32" fmla="*/ 59 w 76"/>
              <a:gd name="T33" fmla="*/ 73 h 75"/>
              <a:gd name="T34" fmla="*/ 63 w 76"/>
              <a:gd name="T35" fmla="*/ 75 h 75"/>
              <a:gd name="T36" fmla="*/ 67 w 76"/>
              <a:gd name="T37" fmla="*/ 71 h 75"/>
              <a:gd name="T38" fmla="*/ 71 w 76"/>
              <a:gd name="T39" fmla="*/ 67 h 75"/>
              <a:gd name="T40" fmla="*/ 75 w 76"/>
              <a:gd name="T41" fmla="*/ 64 h 75"/>
              <a:gd name="T42" fmla="*/ 75 w 76"/>
              <a:gd name="T43" fmla="*/ 64 h 75"/>
              <a:gd name="T44" fmla="*/ 75 w 76"/>
              <a:gd name="T45" fmla="*/ 61 h 75"/>
              <a:gd name="T46" fmla="*/ 72 w 76"/>
              <a:gd name="T47" fmla="*/ 53 h 75"/>
              <a:gd name="T48" fmla="*/ 65 w 76"/>
              <a:gd name="T49" fmla="*/ 39 h 75"/>
              <a:gd name="T50" fmla="*/ 61 w 76"/>
              <a:gd name="T51" fmla="*/ 32 h 75"/>
              <a:gd name="T52" fmla="*/ 57 w 76"/>
              <a:gd name="T53" fmla="*/ 25 h 75"/>
              <a:gd name="T54" fmla="*/ 54 w 76"/>
              <a:gd name="T55" fmla="*/ 12 h 75"/>
              <a:gd name="T56" fmla="*/ 58 w 76"/>
              <a:gd name="T57" fmla="*/ 21 h 75"/>
              <a:gd name="T58" fmla="*/ 65 w 76"/>
              <a:gd name="T59" fmla="*/ 30 h 75"/>
              <a:gd name="T60" fmla="*/ 69 w 76"/>
              <a:gd name="T61" fmla="*/ 20 h 75"/>
              <a:gd name="T62" fmla="*/ 69 w 76"/>
              <a:gd name="T63" fmla="*/ 21 h 75"/>
              <a:gd name="T64" fmla="*/ 70 w 76"/>
              <a:gd name="T65" fmla="*/ 19 h 75"/>
              <a:gd name="T66" fmla="*/ 71 w 76"/>
              <a:gd name="T67" fmla="*/ 1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 h="75">
                <a:moveTo>
                  <a:pt x="71" y="16"/>
                </a:moveTo>
                <a:cubicBezTo>
                  <a:pt x="66" y="4"/>
                  <a:pt x="66" y="4"/>
                  <a:pt x="66" y="4"/>
                </a:cubicBezTo>
                <a:cubicBezTo>
                  <a:pt x="65" y="4"/>
                  <a:pt x="65" y="5"/>
                  <a:pt x="65" y="5"/>
                </a:cubicBezTo>
                <a:cubicBezTo>
                  <a:pt x="64" y="6"/>
                  <a:pt x="61" y="4"/>
                  <a:pt x="58" y="4"/>
                </a:cubicBezTo>
                <a:cubicBezTo>
                  <a:pt x="55" y="5"/>
                  <a:pt x="52" y="4"/>
                  <a:pt x="49" y="3"/>
                </a:cubicBezTo>
                <a:cubicBezTo>
                  <a:pt x="46" y="1"/>
                  <a:pt x="36" y="3"/>
                  <a:pt x="35" y="5"/>
                </a:cubicBezTo>
                <a:cubicBezTo>
                  <a:pt x="33" y="7"/>
                  <a:pt x="30" y="7"/>
                  <a:pt x="27" y="6"/>
                </a:cubicBezTo>
                <a:cubicBezTo>
                  <a:pt x="24" y="4"/>
                  <a:pt x="20" y="3"/>
                  <a:pt x="14" y="2"/>
                </a:cubicBezTo>
                <a:cubicBezTo>
                  <a:pt x="9" y="2"/>
                  <a:pt x="5" y="1"/>
                  <a:pt x="4" y="0"/>
                </a:cubicBezTo>
                <a:cubicBezTo>
                  <a:pt x="4" y="0"/>
                  <a:pt x="3" y="1"/>
                  <a:pt x="3" y="1"/>
                </a:cubicBezTo>
                <a:cubicBezTo>
                  <a:pt x="2" y="6"/>
                  <a:pt x="5" y="7"/>
                  <a:pt x="2" y="10"/>
                </a:cubicBezTo>
                <a:cubicBezTo>
                  <a:pt x="0" y="12"/>
                  <a:pt x="2" y="15"/>
                  <a:pt x="2" y="20"/>
                </a:cubicBezTo>
                <a:cubicBezTo>
                  <a:pt x="2" y="23"/>
                  <a:pt x="2" y="54"/>
                  <a:pt x="2" y="73"/>
                </a:cubicBezTo>
                <a:cubicBezTo>
                  <a:pt x="44" y="73"/>
                  <a:pt x="44" y="73"/>
                  <a:pt x="44" y="73"/>
                </a:cubicBezTo>
                <a:cubicBezTo>
                  <a:pt x="44" y="73"/>
                  <a:pt x="46" y="72"/>
                  <a:pt x="47" y="71"/>
                </a:cubicBezTo>
                <a:cubicBezTo>
                  <a:pt x="48" y="71"/>
                  <a:pt x="50" y="73"/>
                  <a:pt x="50" y="73"/>
                </a:cubicBezTo>
                <a:cubicBezTo>
                  <a:pt x="59" y="73"/>
                  <a:pt x="59" y="73"/>
                  <a:pt x="59" y="73"/>
                </a:cubicBezTo>
                <a:cubicBezTo>
                  <a:pt x="59" y="73"/>
                  <a:pt x="61" y="75"/>
                  <a:pt x="63" y="75"/>
                </a:cubicBezTo>
                <a:cubicBezTo>
                  <a:pt x="65" y="75"/>
                  <a:pt x="64" y="71"/>
                  <a:pt x="67" y="71"/>
                </a:cubicBezTo>
                <a:cubicBezTo>
                  <a:pt x="70" y="71"/>
                  <a:pt x="69" y="67"/>
                  <a:pt x="71" y="67"/>
                </a:cubicBezTo>
                <a:cubicBezTo>
                  <a:pt x="73" y="67"/>
                  <a:pt x="73" y="67"/>
                  <a:pt x="75" y="64"/>
                </a:cubicBezTo>
                <a:cubicBezTo>
                  <a:pt x="75" y="64"/>
                  <a:pt x="75" y="64"/>
                  <a:pt x="75" y="64"/>
                </a:cubicBezTo>
                <a:cubicBezTo>
                  <a:pt x="75" y="63"/>
                  <a:pt x="75" y="62"/>
                  <a:pt x="75" y="61"/>
                </a:cubicBezTo>
                <a:cubicBezTo>
                  <a:pt x="76" y="58"/>
                  <a:pt x="73" y="58"/>
                  <a:pt x="72" y="53"/>
                </a:cubicBezTo>
                <a:cubicBezTo>
                  <a:pt x="71" y="49"/>
                  <a:pt x="65" y="42"/>
                  <a:pt x="65" y="39"/>
                </a:cubicBezTo>
                <a:cubicBezTo>
                  <a:pt x="64" y="37"/>
                  <a:pt x="61" y="35"/>
                  <a:pt x="61" y="32"/>
                </a:cubicBezTo>
                <a:cubicBezTo>
                  <a:pt x="62" y="29"/>
                  <a:pt x="60" y="29"/>
                  <a:pt x="57" y="25"/>
                </a:cubicBezTo>
                <a:cubicBezTo>
                  <a:pt x="54" y="20"/>
                  <a:pt x="53" y="12"/>
                  <a:pt x="54" y="12"/>
                </a:cubicBezTo>
                <a:cubicBezTo>
                  <a:pt x="55" y="12"/>
                  <a:pt x="57" y="19"/>
                  <a:pt x="58" y="21"/>
                </a:cubicBezTo>
                <a:cubicBezTo>
                  <a:pt x="59" y="23"/>
                  <a:pt x="63" y="30"/>
                  <a:pt x="65" y="30"/>
                </a:cubicBezTo>
                <a:cubicBezTo>
                  <a:pt x="68" y="30"/>
                  <a:pt x="68" y="20"/>
                  <a:pt x="69" y="20"/>
                </a:cubicBezTo>
                <a:cubicBezTo>
                  <a:pt x="69" y="20"/>
                  <a:pt x="69" y="20"/>
                  <a:pt x="69" y="21"/>
                </a:cubicBezTo>
                <a:cubicBezTo>
                  <a:pt x="70" y="19"/>
                  <a:pt x="70" y="19"/>
                  <a:pt x="70" y="19"/>
                </a:cubicBezTo>
                <a:lnTo>
                  <a:pt x="71" y="16"/>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 name="Freeform 42"/>
          <p:cNvSpPr/>
          <p:nvPr/>
        </p:nvSpPr>
        <p:spPr bwMode="auto">
          <a:xfrm>
            <a:off x="4392092" y="3100835"/>
            <a:ext cx="111125" cy="123825"/>
          </a:xfrm>
          <a:custGeom>
            <a:avLst/>
            <a:gdLst>
              <a:gd name="T0" fmla="*/ 19 w 39"/>
              <a:gd name="T1" fmla="*/ 41 h 43"/>
              <a:gd name="T2" fmla="*/ 20 w 39"/>
              <a:gd name="T3" fmla="*/ 35 h 43"/>
              <a:gd name="T4" fmla="*/ 24 w 39"/>
              <a:gd name="T5" fmla="*/ 32 h 43"/>
              <a:gd name="T6" fmla="*/ 27 w 39"/>
              <a:gd name="T7" fmla="*/ 29 h 43"/>
              <a:gd name="T8" fmla="*/ 31 w 39"/>
              <a:gd name="T9" fmla="*/ 33 h 43"/>
              <a:gd name="T10" fmla="*/ 36 w 39"/>
              <a:gd name="T11" fmla="*/ 34 h 43"/>
              <a:gd name="T12" fmla="*/ 38 w 39"/>
              <a:gd name="T13" fmla="*/ 26 h 43"/>
              <a:gd name="T14" fmla="*/ 37 w 39"/>
              <a:gd name="T15" fmla="*/ 18 h 43"/>
              <a:gd name="T16" fmla="*/ 35 w 39"/>
              <a:gd name="T17" fmla="*/ 13 h 43"/>
              <a:gd name="T18" fmla="*/ 36 w 39"/>
              <a:gd name="T19" fmla="*/ 7 h 43"/>
              <a:gd name="T20" fmla="*/ 29 w 39"/>
              <a:gd name="T21" fmla="*/ 7 h 43"/>
              <a:gd name="T22" fmla="*/ 30 w 39"/>
              <a:gd name="T23" fmla="*/ 0 h 43"/>
              <a:gd name="T24" fmla="*/ 20 w 39"/>
              <a:gd name="T25" fmla="*/ 0 h 43"/>
              <a:gd name="T26" fmla="*/ 19 w 39"/>
              <a:gd name="T27" fmla="*/ 0 h 43"/>
              <a:gd name="T28" fmla="*/ 18 w 39"/>
              <a:gd name="T29" fmla="*/ 9 h 43"/>
              <a:gd name="T30" fmla="*/ 9 w 39"/>
              <a:gd name="T31" fmla="*/ 9 h 43"/>
              <a:gd name="T32" fmla="*/ 6 w 39"/>
              <a:gd name="T33" fmla="*/ 10 h 43"/>
              <a:gd name="T34" fmla="*/ 5 w 39"/>
              <a:gd name="T35" fmla="*/ 11 h 43"/>
              <a:gd name="T36" fmla="*/ 7 w 39"/>
              <a:gd name="T37" fmla="*/ 15 h 43"/>
              <a:gd name="T38" fmla="*/ 4 w 39"/>
              <a:gd name="T39" fmla="*/ 18 h 43"/>
              <a:gd name="T40" fmla="*/ 1 w 39"/>
              <a:gd name="T41" fmla="*/ 22 h 43"/>
              <a:gd name="T42" fmla="*/ 4 w 39"/>
              <a:gd name="T43" fmla="*/ 28 h 43"/>
              <a:gd name="T44" fmla="*/ 9 w 39"/>
              <a:gd name="T45" fmla="*/ 34 h 43"/>
              <a:gd name="T46" fmla="*/ 16 w 39"/>
              <a:gd name="T47" fmla="*/ 43 h 43"/>
              <a:gd name="T48" fmla="*/ 19 w 39"/>
              <a:gd name="T49" fmla="*/ 4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43">
                <a:moveTo>
                  <a:pt x="19" y="41"/>
                </a:moveTo>
                <a:cubicBezTo>
                  <a:pt x="23" y="41"/>
                  <a:pt x="21" y="39"/>
                  <a:pt x="20" y="35"/>
                </a:cubicBezTo>
                <a:cubicBezTo>
                  <a:pt x="19" y="32"/>
                  <a:pt x="22" y="32"/>
                  <a:pt x="24" y="32"/>
                </a:cubicBezTo>
                <a:cubicBezTo>
                  <a:pt x="26" y="32"/>
                  <a:pt x="26" y="29"/>
                  <a:pt x="27" y="29"/>
                </a:cubicBezTo>
                <a:cubicBezTo>
                  <a:pt x="29" y="29"/>
                  <a:pt x="29" y="33"/>
                  <a:pt x="31" y="33"/>
                </a:cubicBezTo>
                <a:cubicBezTo>
                  <a:pt x="33" y="32"/>
                  <a:pt x="34" y="34"/>
                  <a:pt x="36" y="34"/>
                </a:cubicBezTo>
                <a:cubicBezTo>
                  <a:pt x="38" y="33"/>
                  <a:pt x="38" y="29"/>
                  <a:pt x="38" y="26"/>
                </a:cubicBezTo>
                <a:cubicBezTo>
                  <a:pt x="38" y="22"/>
                  <a:pt x="39" y="20"/>
                  <a:pt x="37" y="18"/>
                </a:cubicBezTo>
                <a:cubicBezTo>
                  <a:pt x="35" y="17"/>
                  <a:pt x="33" y="14"/>
                  <a:pt x="35" y="13"/>
                </a:cubicBezTo>
                <a:cubicBezTo>
                  <a:pt x="38" y="12"/>
                  <a:pt x="38" y="9"/>
                  <a:pt x="36" y="7"/>
                </a:cubicBezTo>
                <a:cubicBezTo>
                  <a:pt x="34" y="6"/>
                  <a:pt x="29" y="9"/>
                  <a:pt x="29" y="7"/>
                </a:cubicBezTo>
                <a:cubicBezTo>
                  <a:pt x="29" y="6"/>
                  <a:pt x="30" y="3"/>
                  <a:pt x="30" y="0"/>
                </a:cubicBezTo>
                <a:cubicBezTo>
                  <a:pt x="25" y="0"/>
                  <a:pt x="20" y="0"/>
                  <a:pt x="20" y="0"/>
                </a:cubicBezTo>
                <a:cubicBezTo>
                  <a:pt x="19" y="0"/>
                  <a:pt x="19" y="0"/>
                  <a:pt x="19" y="0"/>
                </a:cubicBezTo>
                <a:cubicBezTo>
                  <a:pt x="19" y="5"/>
                  <a:pt x="18" y="9"/>
                  <a:pt x="18" y="9"/>
                </a:cubicBezTo>
                <a:cubicBezTo>
                  <a:pt x="18" y="9"/>
                  <a:pt x="11" y="9"/>
                  <a:pt x="9" y="9"/>
                </a:cubicBezTo>
                <a:cubicBezTo>
                  <a:pt x="9" y="9"/>
                  <a:pt x="7" y="10"/>
                  <a:pt x="6" y="10"/>
                </a:cubicBezTo>
                <a:cubicBezTo>
                  <a:pt x="6" y="10"/>
                  <a:pt x="5" y="11"/>
                  <a:pt x="5" y="11"/>
                </a:cubicBezTo>
                <a:cubicBezTo>
                  <a:pt x="4" y="12"/>
                  <a:pt x="7" y="13"/>
                  <a:pt x="7" y="15"/>
                </a:cubicBezTo>
                <a:cubicBezTo>
                  <a:pt x="8" y="16"/>
                  <a:pt x="3" y="16"/>
                  <a:pt x="4" y="18"/>
                </a:cubicBezTo>
                <a:cubicBezTo>
                  <a:pt x="4" y="20"/>
                  <a:pt x="2" y="21"/>
                  <a:pt x="1" y="22"/>
                </a:cubicBezTo>
                <a:cubicBezTo>
                  <a:pt x="0" y="23"/>
                  <a:pt x="4" y="27"/>
                  <a:pt x="4" y="28"/>
                </a:cubicBezTo>
                <a:cubicBezTo>
                  <a:pt x="4" y="29"/>
                  <a:pt x="5" y="31"/>
                  <a:pt x="9" y="34"/>
                </a:cubicBezTo>
                <a:cubicBezTo>
                  <a:pt x="13" y="38"/>
                  <a:pt x="11" y="39"/>
                  <a:pt x="16" y="43"/>
                </a:cubicBezTo>
                <a:cubicBezTo>
                  <a:pt x="17" y="42"/>
                  <a:pt x="18" y="41"/>
                  <a:pt x="19" y="4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 name="Freeform 43"/>
          <p:cNvSpPr/>
          <p:nvPr/>
        </p:nvSpPr>
        <p:spPr bwMode="auto">
          <a:xfrm>
            <a:off x="4403205" y="3100835"/>
            <a:ext cx="42863" cy="28575"/>
          </a:xfrm>
          <a:custGeom>
            <a:avLst/>
            <a:gdLst>
              <a:gd name="T0" fmla="*/ 14 w 15"/>
              <a:gd name="T1" fmla="*/ 9 h 10"/>
              <a:gd name="T2" fmla="*/ 15 w 15"/>
              <a:gd name="T3" fmla="*/ 0 h 10"/>
              <a:gd name="T4" fmla="*/ 13 w 15"/>
              <a:gd name="T5" fmla="*/ 1 h 10"/>
              <a:gd name="T6" fmla="*/ 3 w 15"/>
              <a:gd name="T7" fmla="*/ 1 h 10"/>
              <a:gd name="T8" fmla="*/ 4 w 15"/>
              <a:gd name="T9" fmla="*/ 1 h 10"/>
              <a:gd name="T10" fmla="*/ 2 w 15"/>
              <a:gd name="T11" fmla="*/ 5 h 10"/>
              <a:gd name="T12" fmla="*/ 2 w 15"/>
              <a:gd name="T13" fmla="*/ 8 h 10"/>
              <a:gd name="T14" fmla="*/ 2 w 15"/>
              <a:gd name="T15" fmla="*/ 10 h 10"/>
              <a:gd name="T16" fmla="*/ 5 w 15"/>
              <a:gd name="T17" fmla="*/ 9 h 10"/>
              <a:gd name="T18" fmla="*/ 14 w 15"/>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0">
                <a:moveTo>
                  <a:pt x="14" y="9"/>
                </a:moveTo>
                <a:cubicBezTo>
                  <a:pt x="14" y="9"/>
                  <a:pt x="15" y="5"/>
                  <a:pt x="15" y="0"/>
                </a:cubicBezTo>
                <a:cubicBezTo>
                  <a:pt x="13" y="1"/>
                  <a:pt x="13" y="1"/>
                  <a:pt x="13" y="1"/>
                </a:cubicBezTo>
                <a:cubicBezTo>
                  <a:pt x="3" y="1"/>
                  <a:pt x="3" y="1"/>
                  <a:pt x="3" y="1"/>
                </a:cubicBezTo>
                <a:cubicBezTo>
                  <a:pt x="3" y="1"/>
                  <a:pt x="3" y="1"/>
                  <a:pt x="4" y="1"/>
                </a:cubicBezTo>
                <a:cubicBezTo>
                  <a:pt x="5" y="2"/>
                  <a:pt x="4" y="5"/>
                  <a:pt x="2" y="5"/>
                </a:cubicBezTo>
                <a:cubicBezTo>
                  <a:pt x="0" y="6"/>
                  <a:pt x="0" y="8"/>
                  <a:pt x="2" y="8"/>
                </a:cubicBezTo>
                <a:cubicBezTo>
                  <a:pt x="3" y="8"/>
                  <a:pt x="2" y="9"/>
                  <a:pt x="2" y="10"/>
                </a:cubicBezTo>
                <a:cubicBezTo>
                  <a:pt x="3" y="10"/>
                  <a:pt x="5" y="9"/>
                  <a:pt x="5" y="9"/>
                </a:cubicBezTo>
                <a:cubicBezTo>
                  <a:pt x="7" y="9"/>
                  <a:pt x="14" y="9"/>
                  <a:pt x="14" y="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 name="Freeform 44"/>
          <p:cNvSpPr/>
          <p:nvPr/>
        </p:nvSpPr>
        <p:spPr bwMode="auto">
          <a:xfrm>
            <a:off x="4438130" y="3073848"/>
            <a:ext cx="139700" cy="173038"/>
          </a:xfrm>
          <a:custGeom>
            <a:avLst/>
            <a:gdLst>
              <a:gd name="T0" fmla="*/ 13 w 49"/>
              <a:gd name="T1" fmla="*/ 57 h 61"/>
              <a:gd name="T2" fmla="*/ 18 w 49"/>
              <a:gd name="T3" fmla="*/ 58 h 61"/>
              <a:gd name="T4" fmla="*/ 23 w 49"/>
              <a:gd name="T5" fmla="*/ 58 h 61"/>
              <a:gd name="T6" fmla="*/ 26 w 49"/>
              <a:gd name="T7" fmla="*/ 58 h 61"/>
              <a:gd name="T8" fmla="*/ 30 w 49"/>
              <a:gd name="T9" fmla="*/ 54 h 61"/>
              <a:gd name="T10" fmla="*/ 33 w 49"/>
              <a:gd name="T11" fmla="*/ 49 h 61"/>
              <a:gd name="T12" fmla="*/ 33 w 49"/>
              <a:gd name="T13" fmla="*/ 37 h 61"/>
              <a:gd name="T14" fmla="*/ 39 w 49"/>
              <a:gd name="T15" fmla="*/ 30 h 61"/>
              <a:gd name="T16" fmla="*/ 45 w 49"/>
              <a:gd name="T17" fmla="*/ 15 h 61"/>
              <a:gd name="T18" fmla="*/ 47 w 49"/>
              <a:gd name="T19" fmla="*/ 8 h 61"/>
              <a:gd name="T20" fmla="*/ 48 w 49"/>
              <a:gd name="T21" fmla="*/ 1 h 61"/>
              <a:gd name="T22" fmla="*/ 48 w 49"/>
              <a:gd name="T23" fmla="*/ 1 h 61"/>
              <a:gd name="T24" fmla="*/ 42 w 49"/>
              <a:gd name="T25" fmla="*/ 0 h 61"/>
              <a:gd name="T26" fmla="*/ 39 w 49"/>
              <a:gd name="T27" fmla="*/ 1 h 61"/>
              <a:gd name="T28" fmla="*/ 35 w 49"/>
              <a:gd name="T29" fmla="*/ 2 h 61"/>
              <a:gd name="T30" fmla="*/ 34 w 49"/>
              <a:gd name="T31" fmla="*/ 7 h 61"/>
              <a:gd name="T32" fmla="*/ 32 w 49"/>
              <a:gd name="T33" fmla="*/ 14 h 61"/>
              <a:gd name="T34" fmla="*/ 22 w 49"/>
              <a:gd name="T35" fmla="*/ 10 h 61"/>
              <a:gd name="T36" fmla="*/ 14 w 49"/>
              <a:gd name="T37" fmla="*/ 10 h 61"/>
              <a:gd name="T38" fmla="*/ 13 w 49"/>
              <a:gd name="T39" fmla="*/ 17 h 61"/>
              <a:gd name="T40" fmla="*/ 20 w 49"/>
              <a:gd name="T41" fmla="*/ 17 h 61"/>
              <a:gd name="T42" fmla="*/ 19 w 49"/>
              <a:gd name="T43" fmla="*/ 23 h 61"/>
              <a:gd name="T44" fmla="*/ 21 w 49"/>
              <a:gd name="T45" fmla="*/ 28 h 61"/>
              <a:gd name="T46" fmla="*/ 22 w 49"/>
              <a:gd name="T47" fmla="*/ 36 h 61"/>
              <a:gd name="T48" fmla="*/ 20 w 49"/>
              <a:gd name="T49" fmla="*/ 44 h 61"/>
              <a:gd name="T50" fmla="*/ 15 w 49"/>
              <a:gd name="T51" fmla="*/ 43 h 61"/>
              <a:gd name="T52" fmla="*/ 11 w 49"/>
              <a:gd name="T53" fmla="*/ 39 h 61"/>
              <a:gd name="T54" fmla="*/ 8 w 49"/>
              <a:gd name="T55" fmla="*/ 42 h 61"/>
              <a:gd name="T56" fmla="*/ 4 w 49"/>
              <a:gd name="T57" fmla="*/ 45 h 61"/>
              <a:gd name="T58" fmla="*/ 3 w 49"/>
              <a:gd name="T59" fmla="*/ 51 h 61"/>
              <a:gd name="T60" fmla="*/ 0 w 49"/>
              <a:gd name="T61" fmla="*/ 53 h 61"/>
              <a:gd name="T62" fmla="*/ 1 w 49"/>
              <a:gd name="T63" fmla="*/ 53 h 61"/>
              <a:gd name="T64" fmla="*/ 7 w 49"/>
              <a:gd name="T65" fmla="*/ 61 h 61"/>
              <a:gd name="T66" fmla="*/ 13 w 49"/>
              <a:gd name="T67" fmla="*/ 5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61">
                <a:moveTo>
                  <a:pt x="13" y="57"/>
                </a:moveTo>
                <a:cubicBezTo>
                  <a:pt x="14" y="58"/>
                  <a:pt x="15" y="60"/>
                  <a:pt x="18" y="58"/>
                </a:cubicBezTo>
                <a:cubicBezTo>
                  <a:pt x="20" y="56"/>
                  <a:pt x="23" y="56"/>
                  <a:pt x="23" y="58"/>
                </a:cubicBezTo>
                <a:cubicBezTo>
                  <a:pt x="23" y="60"/>
                  <a:pt x="24" y="60"/>
                  <a:pt x="26" y="58"/>
                </a:cubicBezTo>
                <a:cubicBezTo>
                  <a:pt x="28" y="56"/>
                  <a:pt x="30" y="58"/>
                  <a:pt x="30" y="54"/>
                </a:cubicBezTo>
                <a:cubicBezTo>
                  <a:pt x="30" y="50"/>
                  <a:pt x="33" y="53"/>
                  <a:pt x="33" y="49"/>
                </a:cubicBezTo>
                <a:cubicBezTo>
                  <a:pt x="33" y="44"/>
                  <a:pt x="33" y="39"/>
                  <a:pt x="33" y="37"/>
                </a:cubicBezTo>
                <a:cubicBezTo>
                  <a:pt x="33" y="35"/>
                  <a:pt x="39" y="33"/>
                  <a:pt x="39" y="30"/>
                </a:cubicBezTo>
                <a:cubicBezTo>
                  <a:pt x="39" y="26"/>
                  <a:pt x="45" y="19"/>
                  <a:pt x="45" y="15"/>
                </a:cubicBezTo>
                <a:cubicBezTo>
                  <a:pt x="45" y="11"/>
                  <a:pt x="46" y="10"/>
                  <a:pt x="47" y="8"/>
                </a:cubicBezTo>
                <a:cubicBezTo>
                  <a:pt x="48" y="6"/>
                  <a:pt x="49" y="4"/>
                  <a:pt x="48" y="1"/>
                </a:cubicBezTo>
                <a:cubicBezTo>
                  <a:pt x="48" y="1"/>
                  <a:pt x="48" y="1"/>
                  <a:pt x="48" y="1"/>
                </a:cubicBezTo>
                <a:cubicBezTo>
                  <a:pt x="42" y="0"/>
                  <a:pt x="42" y="0"/>
                  <a:pt x="42" y="0"/>
                </a:cubicBezTo>
                <a:cubicBezTo>
                  <a:pt x="39" y="1"/>
                  <a:pt x="39" y="1"/>
                  <a:pt x="39" y="1"/>
                </a:cubicBezTo>
                <a:cubicBezTo>
                  <a:pt x="35" y="2"/>
                  <a:pt x="35" y="2"/>
                  <a:pt x="35" y="2"/>
                </a:cubicBezTo>
                <a:cubicBezTo>
                  <a:pt x="35" y="2"/>
                  <a:pt x="36" y="5"/>
                  <a:pt x="34" y="7"/>
                </a:cubicBezTo>
                <a:cubicBezTo>
                  <a:pt x="32" y="9"/>
                  <a:pt x="32" y="14"/>
                  <a:pt x="32" y="14"/>
                </a:cubicBezTo>
                <a:cubicBezTo>
                  <a:pt x="32" y="14"/>
                  <a:pt x="24" y="10"/>
                  <a:pt x="22" y="10"/>
                </a:cubicBezTo>
                <a:cubicBezTo>
                  <a:pt x="21" y="10"/>
                  <a:pt x="18" y="10"/>
                  <a:pt x="14" y="10"/>
                </a:cubicBezTo>
                <a:cubicBezTo>
                  <a:pt x="14" y="13"/>
                  <a:pt x="13" y="16"/>
                  <a:pt x="13" y="17"/>
                </a:cubicBezTo>
                <a:cubicBezTo>
                  <a:pt x="13" y="19"/>
                  <a:pt x="18" y="16"/>
                  <a:pt x="20" y="17"/>
                </a:cubicBezTo>
                <a:cubicBezTo>
                  <a:pt x="22" y="19"/>
                  <a:pt x="22" y="22"/>
                  <a:pt x="19" y="23"/>
                </a:cubicBezTo>
                <a:cubicBezTo>
                  <a:pt x="17" y="24"/>
                  <a:pt x="19" y="27"/>
                  <a:pt x="21" y="28"/>
                </a:cubicBezTo>
                <a:cubicBezTo>
                  <a:pt x="23" y="30"/>
                  <a:pt x="22" y="32"/>
                  <a:pt x="22" y="36"/>
                </a:cubicBezTo>
                <a:cubicBezTo>
                  <a:pt x="22" y="39"/>
                  <a:pt x="22" y="43"/>
                  <a:pt x="20" y="44"/>
                </a:cubicBezTo>
                <a:cubicBezTo>
                  <a:pt x="18" y="44"/>
                  <a:pt x="17" y="42"/>
                  <a:pt x="15" y="43"/>
                </a:cubicBezTo>
                <a:cubicBezTo>
                  <a:pt x="13" y="43"/>
                  <a:pt x="13" y="39"/>
                  <a:pt x="11" y="39"/>
                </a:cubicBezTo>
                <a:cubicBezTo>
                  <a:pt x="10" y="39"/>
                  <a:pt x="10" y="42"/>
                  <a:pt x="8" y="42"/>
                </a:cubicBezTo>
                <a:cubicBezTo>
                  <a:pt x="6" y="42"/>
                  <a:pt x="3" y="42"/>
                  <a:pt x="4" y="45"/>
                </a:cubicBezTo>
                <a:cubicBezTo>
                  <a:pt x="5" y="49"/>
                  <a:pt x="7" y="51"/>
                  <a:pt x="3" y="51"/>
                </a:cubicBezTo>
                <a:cubicBezTo>
                  <a:pt x="2" y="51"/>
                  <a:pt x="1" y="52"/>
                  <a:pt x="0" y="53"/>
                </a:cubicBezTo>
                <a:cubicBezTo>
                  <a:pt x="0" y="53"/>
                  <a:pt x="0" y="53"/>
                  <a:pt x="1" y="53"/>
                </a:cubicBezTo>
                <a:cubicBezTo>
                  <a:pt x="4" y="56"/>
                  <a:pt x="5" y="58"/>
                  <a:pt x="7" y="61"/>
                </a:cubicBezTo>
                <a:cubicBezTo>
                  <a:pt x="9" y="59"/>
                  <a:pt x="12" y="57"/>
                  <a:pt x="13" y="5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 name="Freeform 45"/>
          <p:cNvSpPr/>
          <p:nvPr/>
        </p:nvSpPr>
        <p:spPr bwMode="auto">
          <a:xfrm>
            <a:off x="4636567" y="2676973"/>
            <a:ext cx="325438" cy="401638"/>
          </a:xfrm>
          <a:custGeom>
            <a:avLst/>
            <a:gdLst>
              <a:gd name="T0" fmla="*/ 86 w 114"/>
              <a:gd name="T1" fmla="*/ 7 h 141"/>
              <a:gd name="T2" fmla="*/ 78 w 114"/>
              <a:gd name="T3" fmla="*/ 9 h 141"/>
              <a:gd name="T4" fmla="*/ 66 w 114"/>
              <a:gd name="T5" fmla="*/ 7 h 141"/>
              <a:gd name="T6" fmla="*/ 21 w 114"/>
              <a:gd name="T7" fmla="*/ 9 h 141"/>
              <a:gd name="T8" fmla="*/ 15 w 114"/>
              <a:gd name="T9" fmla="*/ 24 h 141"/>
              <a:gd name="T10" fmla="*/ 14 w 114"/>
              <a:gd name="T11" fmla="*/ 53 h 141"/>
              <a:gd name="T12" fmla="*/ 6 w 114"/>
              <a:gd name="T13" fmla="*/ 61 h 141"/>
              <a:gd name="T14" fmla="*/ 2 w 114"/>
              <a:gd name="T15" fmla="*/ 72 h 141"/>
              <a:gd name="T16" fmla="*/ 4 w 114"/>
              <a:gd name="T17" fmla="*/ 80 h 141"/>
              <a:gd name="T18" fmla="*/ 7 w 114"/>
              <a:gd name="T19" fmla="*/ 88 h 141"/>
              <a:gd name="T20" fmla="*/ 13 w 114"/>
              <a:gd name="T21" fmla="*/ 100 h 141"/>
              <a:gd name="T22" fmla="*/ 15 w 114"/>
              <a:gd name="T23" fmla="*/ 103 h 141"/>
              <a:gd name="T24" fmla="*/ 21 w 114"/>
              <a:gd name="T25" fmla="*/ 108 h 141"/>
              <a:gd name="T26" fmla="*/ 28 w 114"/>
              <a:gd name="T27" fmla="*/ 116 h 141"/>
              <a:gd name="T28" fmla="*/ 35 w 114"/>
              <a:gd name="T29" fmla="*/ 124 h 141"/>
              <a:gd name="T30" fmla="*/ 39 w 114"/>
              <a:gd name="T31" fmla="*/ 130 h 141"/>
              <a:gd name="T32" fmla="*/ 46 w 114"/>
              <a:gd name="T33" fmla="*/ 133 h 141"/>
              <a:gd name="T34" fmla="*/ 53 w 114"/>
              <a:gd name="T35" fmla="*/ 133 h 141"/>
              <a:gd name="T36" fmla="*/ 66 w 114"/>
              <a:gd name="T37" fmla="*/ 138 h 141"/>
              <a:gd name="T38" fmla="*/ 76 w 114"/>
              <a:gd name="T39" fmla="*/ 138 h 141"/>
              <a:gd name="T40" fmla="*/ 82 w 114"/>
              <a:gd name="T41" fmla="*/ 135 h 141"/>
              <a:gd name="T42" fmla="*/ 89 w 114"/>
              <a:gd name="T43" fmla="*/ 131 h 141"/>
              <a:gd name="T44" fmla="*/ 94 w 114"/>
              <a:gd name="T45" fmla="*/ 132 h 141"/>
              <a:gd name="T46" fmla="*/ 88 w 114"/>
              <a:gd name="T47" fmla="*/ 121 h 141"/>
              <a:gd name="T48" fmla="*/ 76 w 114"/>
              <a:gd name="T49" fmla="*/ 110 h 141"/>
              <a:gd name="T50" fmla="*/ 83 w 114"/>
              <a:gd name="T51" fmla="*/ 105 h 141"/>
              <a:gd name="T52" fmla="*/ 86 w 114"/>
              <a:gd name="T53" fmla="*/ 91 h 141"/>
              <a:gd name="T54" fmla="*/ 91 w 114"/>
              <a:gd name="T55" fmla="*/ 81 h 141"/>
              <a:gd name="T56" fmla="*/ 98 w 114"/>
              <a:gd name="T57" fmla="*/ 72 h 141"/>
              <a:gd name="T58" fmla="*/ 101 w 114"/>
              <a:gd name="T59" fmla="*/ 55 h 141"/>
              <a:gd name="T60" fmla="*/ 107 w 114"/>
              <a:gd name="T61" fmla="*/ 44 h 141"/>
              <a:gd name="T62" fmla="*/ 110 w 114"/>
              <a:gd name="T63" fmla="*/ 34 h 141"/>
              <a:gd name="T64" fmla="*/ 104 w 114"/>
              <a:gd name="T65" fmla="*/ 12 h 141"/>
              <a:gd name="T66" fmla="*/ 94 w 114"/>
              <a:gd name="T67" fmla="*/ 0 h 141"/>
              <a:gd name="T68" fmla="*/ 90 w 114"/>
              <a:gd name="T69" fmla="*/ 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 h="141">
                <a:moveTo>
                  <a:pt x="90" y="3"/>
                </a:moveTo>
                <a:cubicBezTo>
                  <a:pt x="88" y="3"/>
                  <a:pt x="89" y="7"/>
                  <a:pt x="86" y="7"/>
                </a:cubicBezTo>
                <a:cubicBezTo>
                  <a:pt x="83" y="7"/>
                  <a:pt x="84" y="11"/>
                  <a:pt x="82" y="11"/>
                </a:cubicBezTo>
                <a:cubicBezTo>
                  <a:pt x="80" y="11"/>
                  <a:pt x="78" y="9"/>
                  <a:pt x="78" y="9"/>
                </a:cubicBezTo>
                <a:cubicBezTo>
                  <a:pt x="69" y="9"/>
                  <a:pt x="69" y="9"/>
                  <a:pt x="69" y="9"/>
                </a:cubicBezTo>
                <a:cubicBezTo>
                  <a:pt x="69" y="9"/>
                  <a:pt x="67" y="7"/>
                  <a:pt x="66" y="7"/>
                </a:cubicBezTo>
                <a:cubicBezTo>
                  <a:pt x="65" y="8"/>
                  <a:pt x="63" y="9"/>
                  <a:pt x="63" y="9"/>
                </a:cubicBezTo>
                <a:cubicBezTo>
                  <a:pt x="21" y="9"/>
                  <a:pt x="21" y="9"/>
                  <a:pt x="21" y="9"/>
                </a:cubicBezTo>
                <a:cubicBezTo>
                  <a:pt x="21" y="17"/>
                  <a:pt x="21" y="24"/>
                  <a:pt x="21" y="24"/>
                </a:cubicBezTo>
                <a:cubicBezTo>
                  <a:pt x="15" y="24"/>
                  <a:pt x="15" y="24"/>
                  <a:pt x="15" y="24"/>
                </a:cubicBezTo>
                <a:cubicBezTo>
                  <a:pt x="15" y="46"/>
                  <a:pt x="15" y="46"/>
                  <a:pt x="15" y="46"/>
                </a:cubicBezTo>
                <a:cubicBezTo>
                  <a:pt x="15" y="46"/>
                  <a:pt x="15" y="53"/>
                  <a:pt x="14" y="53"/>
                </a:cubicBezTo>
                <a:cubicBezTo>
                  <a:pt x="13" y="54"/>
                  <a:pt x="8" y="55"/>
                  <a:pt x="8" y="57"/>
                </a:cubicBezTo>
                <a:cubicBezTo>
                  <a:pt x="8" y="59"/>
                  <a:pt x="8" y="61"/>
                  <a:pt x="6" y="61"/>
                </a:cubicBezTo>
                <a:cubicBezTo>
                  <a:pt x="4" y="62"/>
                  <a:pt x="6" y="66"/>
                  <a:pt x="3" y="66"/>
                </a:cubicBezTo>
                <a:cubicBezTo>
                  <a:pt x="0" y="66"/>
                  <a:pt x="4" y="70"/>
                  <a:pt x="2" y="72"/>
                </a:cubicBezTo>
                <a:cubicBezTo>
                  <a:pt x="1" y="73"/>
                  <a:pt x="1" y="75"/>
                  <a:pt x="3" y="75"/>
                </a:cubicBezTo>
                <a:cubicBezTo>
                  <a:pt x="5" y="75"/>
                  <a:pt x="4" y="78"/>
                  <a:pt x="4" y="80"/>
                </a:cubicBezTo>
                <a:cubicBezTo>
                  <a:pt x="4" y="83"/>
                  <a:pt x="8" y="85"/>
                  <a:pt x="8" y="85"/>
                </a:cubicBezTo>
                <a:cubicBezTo>
                  <a:pt x="7" y="88"/>
                  <a:pt x="7" y="88"/>
                  <a:pt x="7" y="88"/>
                </a:cubicBezTo>
                <a:cubicBezTo>
                  <a:pt x="7" y="88"/>
                  <a:pt x="12" y="93"/>
                  <a:pt x="12" y="94"/>
                </a:cubicBezTo>
                <a:cubicBezTo>
                  <a:pt x="13" y="96"/>
                  <a:pt x="15" y="99"/>
                  <a:pt x="13" y="100"/>
                </a:cubicBezTo>
                <a:cubicBezTo>
                  <a:pt x="10" y="102"/>
                  <a:pt x="12" y="103"/>
                  <a:pt x="12" y="103"/>
                </a:cubicBezTo>
                <a:cubicBezTo>
                  <a:pt x="15" y="103"/>
                  <a:pt x="15" y="103"/>
                  <a:pt x="15" y="103"/>
                </a:cubicBezTo>
                <a:cubicBezTo>
                  <a:pt x="15" y="105"/>
                  <a:pt x="15" y="105"/>
                  <a:pt x="15" y="105"/>
                </a:cubicBezTo>
                <a:cubicBezTo>
                  <a:pt x="15" y="105"/>
                  <a:pt x="19" y="105"/>
                  <a:pt x="21" y="108"/>
                </a:cubicBezTo>
                <a:cubicBezTo>
                  <a:pt x="23" y="111"/>
                  <a:pt x="24" y="111"/>
                  <a:pt x="24" y="112"/>
                </a:cubicBezTo>
                <a:cubicBezTo>
                  <a:pt x="24" y="114"/>
                  <a:pt x="26" y="114"/>
                  <a:pt x="28" y="116"/>
                </a:cubicBezTo>
                <a:cubicBezTo>
                  <a:pt x="31" y="118"/>
                  <a:pt x="31" y="119"/>
                  <a:pt x="31" y="121"/>
                </a:cubicBezTo>
                <a:cubicBezTo>
                  <a:pt x="31" y="122"/>
                  <a:pt x="35" y="124"/>
                  <a:pt x="35" y="124"/>
                </a:cubicBezTo>
                <a:cubicBezTo>
                  <a:pt x="37" y="128"/>
                  <a:pt x="37" y="128"/>
                  <a:pt x="37" y="128"/>
                </a:cubicBezTo>
                <a:cubicBezTo>
                  <a:pt x="38" y="129"/>
                  <a:pt x="38" y="129"/>
                  <a:pt x="39" y="130"/>
                </a:cubicBezTo>
                <a:cubicBezTo>
                  <a:pt x="40" y="132"/>
                  <a:pt x="42" y="133"/>
                  <a:pt x="42" y="133"/>
                </a:cubicBezTo>
                <a:cubicBezTo>
                  <a:pt x="42" y="133"/>
                  <a:pt x="44" y="135"/>
                  <a:pt x="46" y="133"/>
                </a:cubicBezTo>
                <a:cubicBezTo>
                  <a:pt x="48" y="132"/>
                  <a:pt x="50" y="134"/>
                  <a:pt x="50" y="134"/>
                </a:cubicBezTo>
                <a:cubicBezTo>
                  <a:pt x="50" y="134"/>
                  <a:pt x="52" y="132"/>
                  <a:pt x="53" y="133"/>
                </a:cubicBezTo>
                <a:cubicBezTo>
                  <a:pt x="54" y="133"/>
                  <a:pt x="58" y="137"/>
                  <a:pt x="61" y="140"/>
                </a:cubicBezTo>
                <a:cubicBezTo>
                  <a:pt x="62" y="139"/>
                  <a:pt x="65" y="138"/>
                  <a:pt x="66" y="138"/>
                </a:cubicBezTo>
                <a:cubicBezTo>
                  <a:pt x="68" y="138"/>
                  <a:pt x="70" y="141"/>
                  <a:pt x="71" y="140"/>
                </a:cubicBezTo>
                <a:cubicBezTo>
                  <a:pt x="71" y="139"/>
                  <a:pt x="74" y="137"/>
                  <a:pt x="76" y="138"/>
                </a:cubicBezTo>
                <a:cubicBezTo>
                  <a:pt x="77" y="139"/>
                  <a:pt x="80" y="139"/>
                  <a:pt x="80" y="138"/>
                </a:cubicBezTo>
                <a:cubicBezTo>
                  <a:pt x="80" y="137"/>
                  <a:pt x="81" y="136"/>
                  <a:pt x="82" y="135"/>
                </a:cubicBezTo>
                <a:cubicBezTo>
                  <a:pt x="83" y="135"/>
                  <a:pt x="83" y="135"/>
                  <a:pt x="83" y="134"/>
                </a:cubicBezTo>
                <a:cubicBezTo>
                  <a:pt x="83" y="133"/>
                  <a:pt x="87" y="131"/>
                  <a:pt x="89" y="131"/>
                </a:cubicBezTo>
                <a:cubicBezTo>
                  <a:pt x="90" y="130"/>
                  <a:pt x="92" y="130"/>
                  <a:pt x="93" y="131"/>
                </a:cubicBezTo>
                <a:cubicBezTo>
                  <a:pt x="93" y="132"/>
                  <a:pt x="94" y="132"/>
                  <a:pt x="94" y="132"/>
                </a:cubicBezTo>
                <a:cubicBezTo>
                  <a:pt x="95" y="128"/>
                  <a:pt x="96" y="126"/>
                  <a:pt x="95" y="126"/>
                </a:cubicBezTo>
                <a:cubicBezTo>
                  <a:pt x="93" y="126"/>
                  <a:pt x="89" y="124"/>
                  <a:pt x="88" y="121"/>
                </a:cubicBezTo>
                <a:cubicBezTo>
                  <a:pt x="87" y="118"/>
                  <a:pt x="83" y="115"/>
                  <a:pt x="82" y="113"/>
                </a:cubicBezTo>
                <a:cubicBezTo>
                  <a:pt x="81" y="111"/>
                  <a:pt x="77" y="112"/>
                  <a:pt x="76" y="110"/>
                </a:cubicBezTo>
                <a:cubicBezTo>
                  <a:pt x="75" y="108"/>
                  <a:pt x="77" y="108"/>
                  <a:pt x="77" y="106"/>
                </a:cubicBezTo>
                <a:cubicBezTo>
                  <a:pt x="77" y="104"/>
                  <a:pt x="82" y="105"/>
                  <a:pt x="83" y="105"/>
                </a:cubicBezTo>
                <a:cubicBezTo>
                  <a:pt x="83" y="104"/>
                  <a:pt x="84" y="100"/>
                  <a:pt x="84" y="97"/>
                </a:cubicBezTo>
                <a:cubicBezTo>
                  <a:pt x="84" y="95"/>
                  <a:pt x="87" y="92"/>
                  <a:pt x="86" y="91"/>
                </a:cubicBezTo>
                <a:cubicBezTo>
                  <a:pt x="84" y="89"/>
                  <a:pt x="87" y="89"/>
                  <a:pt x="89" y="88"/>
                </a:cubicBezTo>
                <a:cubicBezTo>
                  <a:pt x="90" y="86"/>
                  <a:pt x="89" y="83"/>
                  <a:pt x="91" y="81"/>
                </a:cubicBezTo>
                <a:cubicBezTo>
                  <a:pt x="92" y="79"/>
                  <a:pt x="94" y="76"/>
                  <a:pt x="95" y="76"/>
                </a:cubicBezTo>
                <a:cubicBezTo>
                  <a:pt x="96" y="76"/>
                  <a:pt x="98" y="74"/>
                  <a:pt x="98" y="72"/>
                </a:cubicBezTo>
                <a:cubicBezTo>
                  <a:pt x="98" y="71"/>
                  <a:pt x="101" y="67"/>
                  <a:pt x="101" y="64"/>
                </a:cubicBezTo>
                <a:cubicBezTo>
                  <a:pt x="100" y="61"/>
                  <a:pt x="99" y="58"/>
                  <a:pt x="101" y="55"/>
                </a:cubicBezTo>
                <a:cubicBezTo>
                  <a:pt x="103" y="52"/>
                  <a:pt x="104" y="50"/>
                  <a:pt x="104" y="48"/>
                </a:cubicBezTo>
                <a:cubicBezTo>
                  <a:pt x="103" y="46"/>
                  <a:pt x="106" y="46"/>
                  <a:pt x="107" y="44"/>
                </a:cubicBezTo>
                <a:cubicBezTo>
                  <a:pt x="108" y="43"/>
                  <a:pt x="111" y="42"/>
                  <a:pt x="114" y="38"/>
                </a:cubicBezTo>
                <a:cubicBezTo>
                  <a:pt x="112" y="36"/>
                  <a:pt x="111" y="35"/>
                  <a:pt x="110" y="34"/>
                </a:cubicBezTo>
                <a:cubicBezTo>
                  <a:pt x="107" y="33"/>
                  <a:pt x="106" y="29"/>
                  <a:pt x="106" y="24"/>
                </a:cubicBezTo>
                <a:cubicBezTo>
                  <a:pt x="106" y="18"/>
                  <a:pt x="104" y="14"/>
                  <a:pt x="104" y="12"/>
                </a:cubicBezTo>
                <a:cubicBezTo>
                  <a:pt x="104" y="10"/>
                  <a:pt x="101" y="7"/>
                  <a:pt x="98" y="5"/>
                </a:cubicBezTo>
                <a:cubicBezTo>
                  <a:pt x="96" y="4"/>
                  <a:pt x="95" y="2"/>
                  <a:pt x="94" y="0"/>
                </a:cubicBezTo>
                <a:cubicBezTo>
                  <a:pt x="94" y="0"/>
                  <a:pt x="94" y="0"/>
                  <a:pt x="94" y="0"/>
                </a:cubicBezTo>
                <a:cubicBezTo>
                  <a:pt x="92" y="3"/>
                  <a:pt x="92" y="3"/>
                  <a:pt x="90"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 name="Freeform 46"/>
          <p:cNvSpPr/>
          <p:nvPr/>
        </p:nvSpPr>
        <p:spPr bwMode="auto">
          <a:xfrm>
            <a:off x="5022330" y="2894460"/>
            <a:ext cx="39688" cy="36513"/>
          </a:xfrm>
          <a:custGeom>
            <a:avLst/>
            <a:gdLst>
              <a:gd name="T0" fmla="*/ 5 w 14"/>
              <a:gd name="T1" fmla="*/ 2 h 13"/>
              <a:gd name="T2" fmla="*/ 2 w 14"/>
              <a:gd name="T3" fmla="*/ 6 h 13"/>
              <a:gd name="T4" fmla="*/ 2 w 14"/>
              <a:gd name="T5" fmla="*/ 12 h 13"/>
              <a:gd name="T6" fmla="*/ 6 w 14"/>
              <a:gd name="T7" fmla="*/ 12 h 13"/>
              <a:gd name="T8" fmla="*/ 9 w 14"/>
              <a:gd name="T9" fmla="*/ 13 h 13"/>
              <a:gd name="T10" fmla="*/ 12 w 14"/>
              <a:gd name="T11" fmla="*/ 10 h 13"/>
              <a:gd name="T12" fmla="*/ 8 w 14"/>
              <a:gd name="T13" fmla="*/ 8 h 13"/>
              <a:gd name="T14" fmla="*/ 12 w 14"/>
              <a:gd name="T15" fmla="*/ 5 h 13"/>
              <a:gd name="T16" fmla="*/ 11 w 14"/>
              <a:gd name="T17" fmla="*/ 1 h 13"/>
              <a:gd name="T18" fmla="*/ 10 w 14"/>
              <a:gd name="T19" fmla="*/ 0 h 13"/>
              <a:gd name="T20" fmla="*/ 9 w 14"/>
              <a:gd name="T21" fmla="*/ 1 h 13"/>
              <a:gd name="T22" fmla="*/ 5 w 14"/>
              <a:gd name="T23"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5" y="2"/>
                </a:moveTo>
                <a:cubicBezTo>
                  <a:pt x="5" y="2"/>
                  <a:pt x="3" y="5"/>
                  <a:pt x="2" y="6"/>
                </a:cubicBezTo>
                <a:cubicBezTo>
                  <a:pt x="0" y="8"/>
                  <a:pt x="1" y="11"/>
                  <a:pt x="2" y="12"/>
                </a:cubicBezTo>
                <a:cubicBezTo>
                  <a:pt x="2" y="13"/>
                  <a:pt x="4" y="13"/>
                  <a:pt x="6" y="12"/>
                </a:cubicBezTo>
                <a:cubicBezTo>
                  <a:pt x="7" y="11"/>
                  <a:pt x="7" y="12"/>
                  <a:pt x="9" y="13"/>
                </a:cubicBezTo>
                <a:cubicBezTo>
                  <a:pt x="10" y="12"/>
                  <a:pt x="11" y="11"/>
                  <a:pt x="12" y="10"/>
                </a:cubicBezTo>
                <a:cubicBezTo>
                  <a:pt x="10" y="9"/>
                  <a:pt x="8" y="9"/>
                  <a:pt x="8" y="8"/>
                </a:cubicBezTo>
                <a:cubicBezTo>
                  <a:pt x="7" y="7"/>
                  <a:pt x="10" y="5"/>
                  <a:pt x="12" y="5"/>
                </a:cubicBezTo>
                <a:cubicBezTo>
                  <a:pt x="14" y="5"/>
                  <a:pt x="13" y="2"/>
                  <a:pt x="11" y="1"/>
                </a:cubicBezTo>
                <a:cubicBezTo>
                  <a:pt x="11" y="1"/>
                  <a:pt x="11" y="0"/>
                  <a:pt x="10" y="0"/>
                </a:cubicBezTo>
                <a:cubicBezTo>
                  <a:pt x="10" y="1"/>
                  <a:pt x="9" y="1"/>
                  <a:pt x="9" y="1"/>
                </a:cubicBezTo>
                <a:cubicBezTo>
                  <a:pt x="8" y="2"/>
                  <a:pt x="7" y="2"/>
                  <a:pt x="5"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 name="Freeform 47"/>
          <p:cNvSpPr/>
          <p:nvPr/>
        </p:nvSpPr>
        <p:spPr bwMode="auto">
          <a:xfrm>
            <a:off x="4919142" y="2784923"/>
            <a:ext cx="131763" cy="114300"/>
          </a:xfrm>
          <a:custGeom>
            <a:avLst/>
            <a:gdLst>
              <a:gd name="T0" fmla="*/ 8 w 46"/>
              <a:gd name="T1" fmla="*/ 6 h 40"/>
              <a:gd name="T2" fmla="*/ 5 w 46"/>
              <a:gd name="T3" fmla="*/ 10 h 40"/>
              <a:gd name="T4" fmla="*/ 2 w 46"/>
              <a:gd name="T5" fmla="*/ 17 h 40"/>
              <a:gd name="T6" fmla="*/ 2 w 46"/>
              <a:gd name="T7" fmla="*/ 26 h 40"/>
              <a:gd name="T8" fmla="*/ 7 w 46"/>
              <a:gd name="T9" fmla="*/ 27 h 40"/>
              <a:gd name="T10" fmla="*/ 9 w 46"/>
              <a:gd name="T11" fmla="*/ 24 h 40"/>
              <a:gd name="T12" fmla="*/ 13 w 46"/>
              <a:gd name="T13" fmla="*/ 24 h 40"/>
              <a:gd name="T14" fmla="*/ 17 w 46"/>
              <a:gd name="T15" fmla="*/ 25 h 40"/>
              <a:gd name="T16" fmla="*/ 20 w 46"/>
              <a:gd name="T17" fmla="*/ 25 h 40"/>
              <a:gd name="T18" fmla="*/ 27 w 46"/>
              <a:gd name="T19" fmla="*/ 25 h 40"/>
              <a:gd name="T20" fmla="*/ 41 w 46"/>
              <a:gd name="T21" fmla="*/ 39 h 40"/>
              <a:gd name="T22" fmla="*/ 41 w 46"/>
              <a:gd name="T23" fmla="*/ 40 h 40"/>
              <a:gd name="T24" fmla="*/ 45 w 46"/>
              <a:gd name="T25" fmla="*/ 39 h 40"/>
              <a:gd name="T26" fmla="*/ 46 w 46"/>
              <a:gd name="T27" fmla="*/ 38 h 40"/>
              <a:gd name="T28" fmla="*/ 39 w 46"/>
              <a:gd name="T29" fmla="*/ 30 h 40"/>
              <a:gd name="T30" fmla="*/ 28 w 46"/>
              <a:gd name="T31" fmla="*/ 22 h 40"/>
              <a:gd name="T32" fmla="*/ 24 w 46"/>
              <a:gd name="T33" fmla="*/ 18 h 40"/>
              <a:gd name="T34" fmla="*/ 19 w 46"/>
              <a:gd name="T35" fmla="*/ 8 h 40"/>
              <a:gd name="T36" fmla="*/ 15 w 46"/>
              <a:gd name="T37" fmla="*/ 0 h 40"/>
              <a:gd name="T38" fmla="*/ 8 w 46"/>
              <a:gd name="T3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0">
                <a:moveTo>
                  <a:pt x="8" y="6"/>
                </a:moveTo>
                <a:cubicBezTo>
                  <a:pt x="7" y="8"/>
                  <a:pt x="4" y="8"/>
                  <a:pt x="5" y="10"/>
                </a:cubicBezTo>
                <a:cubicBezTo>
                  <a:pt x="5" y="12"/>
                  <a:pt x="4" y="14"/>
                  <a:pt x="2" y="17"/>
                </a:cubicBezTo>
                <a:cubicBezTo>
                  <a:pt x="0" y="20"/>
                  <a:pt x="1" y="23"/>
                  <a:pt x="2" y="26"/>
                </a:cubicBezTo>
                <a:cubicBezTo>
                  <a:pt x="4" y="26"/>
                  <a:pt x="7" y="26"/>
                  <a:pt x="7" y="27"/>
                </a:cubicBezTo>
                <a:cubicBezTo>
                  <a:pt x="8" y="28"/>
                  <a:pt x="9" y="27"/>
                  <a:pt x="9" y="24"/>
                </a:cubicBezTo>
                <a:cubicBezTo>
                  <a:pt x="10" y="22"/>
                  <a:pt x="11" y="23"/>
                  <a:pt x="13" y="24"/>
                </a:cubicBezTo>
                <a:cubicBezTo>
                  <a:pt x="14" y="25"/>
                  <a:pt x="15" y="26"/>
                  <a:pt x="17" y="25"/>
                </a:cubicBezTo>
                <a:cubicBezTo>
                  <a:pt x="19" y="24"/>
                  <a:pt x="19" y="25"/>
                  <a:pt x="20" y="25"/>
                </a:cubicBezTo>
                <a:cubicBezTo>
                  <a:pt x="21" y="26"/>
                  <a:pt x="25" y="25"/>
                  <a:pt x="27" y="25"/>
                </a:cubicBezTo>
                <a:cubicBezTo>
                  <a:pt x="28" y="26"/>
                  <a:pt x="41" y="39"/>
                  <a:pt x="41" y="39"/>
                </a:cubicBezTo>
                <a:cubicBezTo>
                  <a:pt x="41" y="39"/>
                  <a:pt x="41" y="40"/>
                  <a:pt x="41" y="40"/>
                </a:cubicBezTo>
                <a:cubicBezTo>
                  <a:pt x="43" y="40"/>
                  <a:pt x="44" y="40"/>
                  <a:pt x="45" y="39"/>
                </a:cubicBezTo>
                <a:cubicBezTo>
                  <a:pt x="45" y="39"/>
                  <a:pt x="46" y="39"/>
                  <a:pt x="46" y="38"/>
                </a:cubicBezTo>
                <a:cubicBezTo>
                  <a:pt x="45" y="37"/>
                  <a:pt x="42" y="34"/>
                  <a:pt x="39" y="30"/>
                </a:cubicBezTo>
                <a:cubicBezTo>
                  <a:pt x="35" y="25"/>
                  <a:pt x="31" y="22"/>
                  <a:pt x="28" y="22"/>
                </a:cubicBezTo>
                <a:cubicBezTo>
                  <a:pt x="26" y="22"/>
                  <a:pt x="25" y="18"/>
                  <a:pt x="24" y="18"/>
                </a:cubicBezTo>
                <a:cubicBezTo>
                  <a:pt x="22" y="18"/>
                  <a:pt x="19" y="12"/>
                  <a:pt x="19" y="8"/>
                </a:cubicBezTo>
                <a:cubicBezTo>
                  <a:pt x="19" y="6"/>
                  <a:pt x="17" y="3"/>
                  <a:pt x="15" y="0"/>
                </a:cubicBezTo>
                <a:cubicBezTo>
                  <a:pt x="12" y="4"/>
                  <a:pt x="9" y="5"/>
                  <a:pt x="8"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 name="Freeform 48"/>
          <p:cNvSpPr/>
          <p:nvPr/>
        </p:nvSpPr>
        <p:spPr bwMode="auto">
          <a:xfrm>
            <a:off x="4850880" y="2848423"/>
            <a:ext cx="296863" cy="230188"/>
          </a:xfrm>
          <a:custGeom>
            <a:avLst/>
            <a:gdLst>
              <a:gd name="T0" fmla="*/ 7 w 104"/>
              <a:gd name="T1" fmla="*/ 53 h 81"/>
              <a:gd name="T2" fmla="*/ 13 w 104"/>
              <a:gd name="T3" fmla="*/ 61 h 81"/>
              <a:gd name="T4" fmla="*/ 20 w 104"/>
              <a:gd name="T5" fmla="*/ 66 h 81"/>
              <a:gd name="T6" fmla="*/ 19 w 104"/>
              <a:gd name="T7" fmla="*/ 72 h 81"/>
              <a:gd name="T8" fmla="*/ 22 w 104"/>
              <a:gd name="T9" fmla="*/ 73 h 81"/>
              <a:gd name="T10" fmla="*/ 29 w 104"/>
              <a:gd name="T11" fmla="*/ 74 h 81"/>
              <a:gd name="T12" fmla="*/ 37 w 104"/>
              <a:gd name="T13" fmla="*/ 79 h 81"/>
              <a:gd name="T14" fmla="*/ 45 w 104"/>
              <a:gd name="T15" fmla="*/ 80 h 81"/>
              <a:gd name="T16" fmla="*/ 49 w 104"/>
              <a:gd name="T17" fmla="*/ 77 h 81"/>
              <a:gd name="T18" fmla="*/ 55 w 104"/>
              <a:gd name="T19" fmla="*/ 76 h 81"/>
              <a:gd name="T20" fmla="*/ 59 w 104"/>
              <a:gd name="T21" fmla="*/ 77 h 81"/>
              <a:gd name="T22" fmla="*/ 62 w 104"/>
              <a:gd name="T23" fmla="*/ 76 h 81"/>
              <a:gd name="T24" fmla="*/ 68 w 104"/>
              <a:gd name="T25" fmla="*/ 75 h 81"/>
              <a:gd name="T26" fmla="*/ 77 w 104"/>
              <a:gd name="T27" fmla="*/ 70 h 81"/>
              <a:gd name="T28" fmla="*/ 84 w 104"/>
              <a:gd name="T29" fmla="*/ 69 h 81"/>
              <a:gd name="T30" fmla="*/ 102 w 104"/>
              <a:gd name="T31" fmla="*/ 51 h 81"/>
              <a:gd name="T32" fmla="*/ 100 w 104"/>
              <a:gd name="T33" fmla="*/ 49 h 81"/>
              <a:gd name="T34" fmla="*/ 91 w 104"/>
              <a:gd name="T35" fmla="*/ 47 h 81"/>
              <a:gd name="T36" fmla="*/ 77 w 104"/>
              <a:gd name="T37" fmla="*/ 42 h 81"/>
              <a:gd name="T38" fmla="*/ 72 w 104"/>
              <a:gd name="T39" fmla="*/ 38 h 81"/>
              <a:gd name="T40" fmla="*/ 68 w 104"/>
              <a:gd name="T41" fmla="*/ 32 h 81"/>
              <a:gd name="T42" fmla="*/ 69 w 104"/>
              <a:gd name="T43" fmla="*/ 29 h 81"/>
              <a:gd name="T44" fmla="*/ 66 w 104"/>
              <a:gd name="T45" fmla="*/ 28 h 81"/>
              <a:gd name="T46" fmla="*/ 62 w 104"/>
              <a:gd name="T47" fmla="*/ 28 h 81"/>
              <a:gd name="T48" fmla="*/ 62 w 104"/>
              <a:gd name="T49" fmla="*/ 22 h 81"/>
              <a:gd name="T50" fmla="*/ 65 w 104"/>
              <a:gd name="T51" fmla="*/ 17 h 81"/>
              <a:gd name="T52" fmla="*/ 51 w 104"/>
              <a:gd name="T53" fmla="*/ 3 h 81"/>
              <a:gd name="T54" fmla="*/ 44 w 104"/>
              <a:gd name="T55" fmla="*/ 3 h 81"/>
              <a:gd name="T56" fmla="*/ 41 w 104"/>
              <a:gd name="T57" fmla="*/ 3 h 81"/>
              <a:gd name="T58" fmla="*/ 37 w 104"/>
              <a:gd name="T59" fmla="*/ 2 h 81"/>
              <a:gd name="T60" fmla="*/ 33 w 104"/>
              <a:gd name="T61" fmla="*/ 2 h 81"/>
              <a:gd name="T62" fmla="*/ 31 w 104"/>
              <a:gd name="T63" fmla="*/ 5 h 81"/>
              <a:gd name="T64" fmla="*/ 26 w 104"/>
              <a:gd name="T65" fmla="*/ 4 h 81"/>
              <a:gd name="T66" fmla="*/ 26 w 104"/>
              <a:gd name="T67" fmla="*/ 4 h 81"/>
              <a:gd name="T68" fmla="*/ 23 w 104"/>
              <a:gd name="T69" fmla="*/ 12 h 81"/>
              <a:gd name="T70" fmla="*/ 20 w 104"/>
              <a:gd name="T71" fmla="*/ 16 h 81"/>
              <a:gd name="T72" fmla="*/ 16 w 104"/>
              <a:gd name="T73" fmla="*/ 21 h 81"/>
              <a:gd name="T74" fmla="*/ 14 w 104"/>
              <a:gd name="T75" fmla="*/ 28 h 81"/>
              <a:gd name="T76" fmla="*/ 11 w 104"/>
              <a:gd name="T77" fmla="*/ 31 h 81"/>
              <a:gd name="T78" fmla="*/ 9 w 104"/>
              <a:gd name="T79" fmla="*/ 37 h 81"/>
              <a:gd name="T80" fmla="*/ 8 w 104"/>
              <a:gd name="T81" fmla="*/ 45 h 81"/>
              <a:gd name="T82" fmla="*/ 2 w 104"/>
              <a:gd name="T83" fmla="*/ 46 h 81"/>
              <a:gd name="T84" fmla="*/ 1 w 104"/>
              <a:gd name="T85" fmla="*/ 50 h 81"/>
              <a:gd name="T86" fmla="*/ 7 w 104"/>
              <a:gd name="T87" fmla="*/ 5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4" h="81">
                <a:moveTo>
                  <a:pt x="7" y="53"/>
                </a:moveTo>
                <a:cubicBezTo>
                  <a:pt x="8" y="55"/>
                  <a:pt x="12" y="58"/>
                  <a:pt x="13" y="61"/>
                </a:cubicBezTo>
                <a:cubicBezTo>
                  <a:pt x="14" y="64"/>
                  <a:pt x="18" y="66"/>
                  <a:pt x="20" y="66"/>
                </a:cubicBezTo>
                <a:cubicBezTo>
                  <a:pt x="21" y="66"/>
                  <a:pt x="20" y="68"/>
                  <a:pt x="19" y="72"/>
                </a:cubicBezTo>
                <a:cubicBezTo>
                  <a:pt x="20" y="72"/>
                  <a:pt x="21" y="73"/>
                  <a:pt x="22" y="73"/>
                </a:cubicBezTo>
                <a:cubicBezTo>
                  <a:pt x="23" y="74"/>
                  <a:pt x="27" y="73"/>
                  <a:pt x="29" y="74"/>
                </a:cubicBezTo>
                <a:cubicBezTo>
                  <a:pt x="30" y="76"/>
                  <a:pt x="35" y="79"/>
                  <a:pt x="37" y="79"/>
                </a:cubicBezTo>
                <a:cubicBezTo>
                  <a:pt x="38" y="79"/>
                  <a:pt x="44" y="80"/>
                  <a:pt x="45" y="80"/>
                </a:cubicBezTo>
                <a:cubicBezTo>
                  <a:pt x="46" y="81"/>
                  <a:pt x="47" y="78"/>
                  <a:pt x="49" y="77"/>
                </a:cubicBezTo>
                <a:cubicBezTo>
                  <a:pt x="52" y="75"/>
                  <a:pt x="55" y="74"/>
                  <a:pt x="55" y="76"/>
                </a:cubicBezTo>
                <a:cubicBezTo>
                  <a:pt x="56" y="77"/>
                  <a:pt x="57" y="77"/>
                  <a:pt x="59" y="77"/>
                </a:cubicBezTo>
                <a:cubicBezTo>
                  <a:pt x="59" y="77"/>
                  <a:pt x="60" y="76"/>
                  <a:pt x="62" y="76"/>
                </a:cubicBezTo>
                <a:cubicBezTo>
                  <a:pt x="64" y="75"/>
                  <a:pt x="67" y="75"/>
                  <a:pt x="68" y="75"/>
                </a:cubicBezTo>
                <a:cubicBezTo>
                  <a:pt x="69" y="75"/>
                  <a:pt x="72" y="70"/>
                  <a:pt x="77" y="70"/>
                </a:cubicBezTo>
                <a:cubicBezTo>
                  <a:pt x="81" y="70"/>
                  <a:pt x="82" y="71"/>
                  <a:pt x="84" y="69"/>
                </a:cubicBezTo>
                <a:cubicBezTo>
                  <a:pt x="86" y="67"/>
                  <a:pt x="101" y="52"/>
                  <a:pt x="102" y="51"/>
                </a:cubicBezTo>
                <a:cubicBezTo>
                  <a:pt x="104" y="50"/>
                  <a:pt x="102" y="49"/>
                  <a:pt x="100" y="49"/>
                </a:cubicBezTo>
                <a:cubicBezTo>
                  <a:pt x="99" y="49"/>
                  <a:pt x="95" y="49"/>
                  <a:pt x="91" y="47"/>
                </a:cubicBezTo>
                <a:cubicBezTo>
                  <a:pt x="86" y="45"/>
                  <a:pt x="78" y="42"/>
                  <a:pt x="77" y="42"/>
                </a:cubicBezTo>
                <a:cubicBezTo>
                  <a:pt x="75" y="42"/>
                  <a:pt x="73" y="39"/>
                  <a:pt x="72" y="38"/>
                </a:cubicBezTo>
                <a:cubicBezTo>
                  <a:pt x="71" y="37"/>
                  <a:pt x="68" y="33"/>
                  <a:pt x="68" y="32"/>
                </a:cubicBezTo>
                <a:cubicBezTo>
                  <a:pt x="68" y="31"/>
                  <a:pt x="68" y="30"/>
                  <a:pt x="69" y="29"/>
                </a:cubicBezTo>
                <a:cubicBezTo>
                  <a:pt x="67" y="28"/>
                  <a:pt x="67" y="27"/>
                  <a:pt x="66" y="28"/>
                </a:cubicBezTo>
                <a:cubicBezTo>
                  <a:pt x="64" y="29"/>
                  <a:pt x="62" y="29"/>
                  <a:pt x="62" y="28"/>
                </a:cubicBezTo>
                <a:cubicBezTo>
                  <a:pt x="61" y="27"/>
                  <a:pt x="60" y="24"/>
                  <a:pt x="62" y="22"/>
                </a:cubicBezTo>
                <a:cubicBezTo>
                  <a:pt x="63" y="21"/>
                  <a:pt x="65" y="17"/>
                  <a:pt x="65" y="17"/>
                </a:cubicBezTo>
                <a:cubicBezTo>
                  <a:pt x="65" y="17"/>
                  <a:pt x="52" y="4"/>
                  <a:pt x="51" y="3"/>
                </a:cubicBezTo>
                <a:cubicBezTo>
                  <a:pt x="49" y="3"/>
                  <a:pt x="45" y="4"/>
                  <a:pt x="44" y="3"/>
                </a:cubicBezTo>
                <a:cubicBezTo>
                  <a:pt x="43" y="3"/>
                  <a:pt x="43" y="2"/>
                  <a:pt x="41" y="3"/>
                </a:cubicBezTo>
                <a:cubicBezTo>
                  <a:pt x="39" y="4"/>
                  <a:pt x="38" y="3"/>
                  <a:pt x="37" y="2"/>
                </a:cubicBezTo>
                <a:cubicBezTo>
                  <a:pt x="35" y="1"/>
                  <a:pt x="34" y="0"/>
                  <a:pt x="33" y="2"/>
                </a:cubicBezTo>
                <a:cubicBezTo>
                  <a:pt x="33" y="5"/>
                  <a:pt x="32" y="6"/>
                  <a:pt x="31" y="5"/>
                </a:cubicBezTo>
                <a:cubicBezTo>
                  <a:pt x="31" y="4"/>
                  <a:pt x="28" y="4"/>
                  <a:pt x="26" y="4"/>
                </a:cubicBezTo>
                <a:cubicBezTo>
                  <a:pt x="26" y="4"/>
                  <a:pt x="26" y="4"/>
                  <a:pt x="26" y="4"/>
                </a:cubicBezTo>
                <a:cubicBezTo>
                  <a:pt x="26" y="7"/>
                  <a:pt x="23" y="11"/>
                  <a:pt x="23" y="12"/>
                </a:cubicBezTo>
                <a:cubicBezTo>
                  <a:pt x="23" y="14"/>
                  <a:pt x="21" y="16"/>
                  <a:pt x="20" y="16"/>
                </a:cubicBezTo>
                <a:cubicBezTo>
                  <a:pt x="19" y="16"/>
                  <a:pt x="17" y="19"/>
                  <a:pt x="16" y="21"/>
                </a:cubicBezTo>
                <a:cubicBezTo>
                  <a:pt x="14" y="23"/>
                  <a:pt x="15" y="26"/>
                  <a:pt x="14" y="28"/>
                </a:cubicBezTo>
                <a:cubicBezTo>
                  <a:pt x="12" y="29"/>
                  <a:pt x="9" y="29"/>
                  <a:pt x="11" y="31"/>
                </a:cubicBezTo>
                <a:cubicBezTo>
                  <a:pt x="12" y="32"/>
                  <a:pt x="9" y="35"/>
                  <a:pt x="9" y="37"/>
                </a:cubicBezTo>
                <a:cubicBezTo>
                  <a:pt x="9" y="40"/>
                  <a:pt x="8" y="44"/>
                  <a:pt x="8" y="45"/>
                </a:cubicBezTo>
                <a:cubicBezTo>
                  <a:pt x="7" y="45"/>
                  <a:pt x="2" y="44"/>
                  <a:pt x="2" y="46"/>
                </a:cubicBezTo>
                <a:cubicBezTo>
                  <a:pt x="2" y="48"/>
                  <a:pt x="0" y="48"/>
                  <a:pt x="1" y="50"/>
                </a:cubicBezTo>
                <a:cubicBezTo>
                  <a:pt x="2" y="52"/>
                  <a:pt x="6" y="51"/>
                  <a:pt x="7" y="5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 name="Freeform 49"/>
          <p:cNvSpPr/>
          <p:nvPr/>
        </p:nvSpPr>
        <p:spPr bwMode="auto">
          <a:xfrm>
            <a:off x="4896917" y="2429323"/>
            <a:ext cx="30163" cy="36513"/>
          </a:xfrm>
          <a:custGeom>
            <a:avLst/>
            <a:gdLst>
              <a:gd name="T0" fmla="*/ 9 w 11"/>
              <a:gd name="T1" fmla="*/ 5 h 13"/>
              <a:gd name="T2" fmla="*/ 5 w 11"/>
              <a:gd name="T3" fmla="*/ 0 h 13"/>
              <a:gd name="T4" fmla="*/ 5 w 11"/>
              <a:gd name="T5" fmla="*/ 1 h 13"/>
              <a:gd name="T6" fmla="*/ 0 w 11"/>
              <a:gd name="T7" fmla="*/ 11 h 13"/>
              <a:gd name="T8" fmla="*/ 4 w 11"/>
              <a:gd name="T9" fmla="*/ 13 h 13"/>
              <a:gd name="T10" fmla="*/ 9 w 11"/>
              <a:gd name="T11" fmla="*/ 5 h 13"/>
            </a:gdLst>
            <a:ahLst/>
            <a:cxnLst>
              <a:cxn ang="0">
                <a:pos x="T0" y="T1"/>
              </a:cxn>
              <a:cxn ang="0">
                <a:pos x="T2" y="T3"/>
              </a:cxn>
              <a:cxn ang="0">
                <a:pos x="T4" y="T5"/>
              </a:cxn>
              <a:cxn ang="0">
                <a:pos x="T6" y="T7"/>
              </a:cxn>
              <a:cxn ang="0">
                <a:pos x="T8" y="T9"/>
              </a:cxn>
              <a:cxn ang="0">
                <a:pos x="T10" y="T11"/>
              </a:cxn>
            </a:cxnLst>
            <a:rect l="0" t="0" r="r" b="b"/>
            <a:pathLst>
              <a:path w="11" h="13">
                <a:moveTo>
                  <a:pt x="9" y="5"/>
                </a:moveTo>
                <a:cubicBezTo>
                  <a:pt x="10" y="4"/>
                  <a:pt x="11" y="0"/>
                  <a:pt x="5" y="0"/>
                </a:cubicBezTo>
                <a:cubicBezTo>
                  <a:pt x="5" y="0"/>
                  <a:pt x="5" y="1"/>
                  <a:pt x="5" y="1"/>
                </a:cubicBezTo>
                <a:cubicBezTo>
                  <a:pt x="5" y="3"/>
                  <a:pt x="2" y="7"/>
                  <a:pt x="0" y="11"/>
                </a:cubicBezTo>
                <a:cubicBezTo>
                  <a:pt x="4" y="13"/>
                  <a:pt x="4" y="13"/>
                  <a:pt x="4" y="13"/>
                </a:cubicBezTo>
                <a:cubicBezTo>
                  <a:pt x="5" y="10"/>
                  <a:pt x="8" y="6"/>
                  <a:pt x="9" y="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 name="Freeform 50"/>
          <p:cNvSpPr/>
          <p:nvPr/>
        </p:nvSpPr>
        <p:spPr bwMode="auto">
          <a:xfrm>
            <a:off x="4908030" y="2375348"/>
            <a:ext cx="133350" cy="107950"/>
          </a:xfrm>
          <a:custGeom>
            <a:avLst/>
            <a:gdLst>
              <a:gd name="T0" fmla="*/ 5 w 47"/>
              <a:gd name="T1" fmla="*/ 24 h 38"/>
              <a:gd name="T2" fmla="*/ 0 w 47"/>
              <a:gd name="T3" fmla="*/ 32 h 38"/>
              <a:gd name="T4" fmla="*/ 0 w 47"/>
              <a:gd name="T5" fmla="*/ 32 h 38"/>
              <a:gd name="T6" fmla="*/ 0 w 47"/>
              <a:gd name="T7" fmla="*/ 34 h 38"/>
              <a:gd name="T8" fmla="*/ 7 w 47"/>
              <a:gd name="T9" fmla="*/ 38 h 38"/>
              <a:gd name="T10" fmla="*/ 13 w 47"/>
              <a:gd name="T11" fmla="*/ 34 h 38"/>
              <a:gd name="T12" fmla="*/ 37 w 47"/>
              <a:gd name="T13" fmla="*/ 22 h 38"/>
              <a:gd name="T14" fmla="*/ 38 w 47"/>
              <a:gd name="T15" fmla="*/ 18 h 38"/>
              <a:gd name="T16" fmla="*/ 39 w 47"/>
              <a:gd name="T17" fmla="*/ 13 h 38"/>
              <a:gd name="T18" fmla="*/ 38 w 47"/>
              <a:gd name="T19" fmla="*/ 7 h 38"/>
              <a:gd name="T20" fmla="*/ 43 w 47"/>
              <a:gd name="T21" fmla="*/ 4 h 38"/>
              <a:gd name="T22" fmla="*/ 47 w 47"/>
              <a:gd name="T23" fmla="*/ 1 h 38"/>
              <a:gd name="T24" fmla="*/ 44 w 47"/>
              <a:gd name="T25" fmla="*/ 0 h 38"/>
              <a:gd name="T26" fmla="*/ 37 w 47"/>
              <a:gd name="T27" fmla="*/ 1 h 38"/>
              <a:gd name="T28" fmla="*/ 27 w 47"/>
              <a:gd name="T29" fmla="*/ 4 h 38"/>
              <a:gd name="T30" fmla="*/ 19 w 47"/>
              <a:gd name="T31" fmla="*/ 3 h 38"/>
              <a:gd name="T32" fmla="*/ 15 w 47"/>
              <a:gd name="T33" fmla="*/ 4 h 38"/>
              <a:gd name="T34" fmla="*/ 9 w 47"/>
              <a:gd name="T35" fmla="*/ 4 h 38"/>
              <a:gd name="T36" fmla="*/ 6 w 47"/>
              <a:gd name="T37" fmla="*/ 6 h 38"/>
              <a:gd name="T38" fmla="*/ 2 w 47"/>
              <a:gd name="T39" fmla="*/ 11 h 38"/>
              <a:gd name="T40" fmla="*/ 2 w 47"/>
              <a:gd name="T41" fmla="*/ 14 h 38"/>
              <a:gd name="T42" fmla="*/ 1 w 47"/>
              <a:gd name="T43" fmla="*/ 19 h 38"/>
              <a:gd name="T44" fmla="*/ 5 w 47"/>
              <a:gd name="T45" fmla="*/ 2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38">
                <a:moveTo>
                  <a:pt x="5" y="24"/>
                </a:moveTo>
                <a:cubicBezTo>
                  <a:pt x="4" y="25"/>
                  <a:pt x="1" y="29"/>
                  <a:pt x="0" y="32"/>
                </a:cubicBezTo>
                <a:cubicBezTo>
                  <a:pt x="0" y="32"/>
                  <a:pt x="0" y="32"/>
                  <a:pt x="0" y="32"/>
                </a:cubicBezTo>
                <a:cubicBezTo>
                  <a:pt x="0" y="34"/>
                  <a:pt x="0" y="34"/>
                  <a:pt x="0" y="34"/>
                </a:cubicBezTo>
                <a:cubicBezTo>
                  <a:pt x="7" y="38"/>
                  <a:pt x="7" y="38"/>
                  <a:pt x="7" y="38"/>
                </a:cubicBezTo>
                <a:cubicBezTo>
                  <a:pt x="7" y="38"/>
                  <a:pt x="11" y="34"/>
                  <a:pt x="13" y="34"/>
                </a:cubicBezTo>
                <a:cubicBezTo>
                  <a:pt x="15" y="34"/>
                  <a:pt x="37" y="22"/>
                  <a:pt x="37" y="22"/>
                </a:cubicBezTo>
                <a:cubicBezTo>
                  <a:pt x="37" y="22"/>
                  <a:pt x="39" y="19"/>
                  <a:pt x="38" y="18"/>
                </a:cubicBezTo>
                <a:cubicBezTo>
                  <a:pt x="38" y="17"/>
                  <a:pt x="38" y="14"/>
                  <a:pt x="39" y="13"/>
                </a:cubicBezTo>
                <a:cubicBezTo>
                  <a:pt x="40" y="11"/>
                  <a:pt x="38" y="9"/>
                  <a:pt x="38" y="7"/>
                </a:cubicBezTo>
                <a:cubicBezTo>
                  <a:pt x="39" y="5"/>
                  <a:pt x="43" y="4"/>
                  <a:pt x="43" y="4"/>
                </a:cubicBezTo>
                <a:cubicBezTo>
                  <a:pt x="47" y="1"/>
                  <a:pt x="47" y="1"/>
                  <a:pt x="47" y="1"/>
                </a:cubicBezTo>
                <a:cubicBezTo>
                  <a:pt x="44" y="0"/>
                  <a:pt x="44" y="0"/>
                  <a:pt x="44" y="0"/>
                </a:cubicBezTo>
                <a:cubicBezTo>
                  <a:pt x="44" y="0"/>
                  <a:pt x="41" y="1"/>
                  <a:pt x="37" y="1"/>
                </a:cubicBezTo>
                <a:cubicBezTo>
                  <a:pt x="33" y="1"/>
                  <a:pt x="32" y="4"/>
                  <a:pt x="27" y="4"/>
                </a:cubicBezTo>
                <a:cubicBezTo>
                  <a:pt x="23" y="4"/>
                  <a:pt x="21" y="5"/>
                  <a:pt x="19" y="3"/>
                </a:cubicBezTo>
                <a:cubicBezTo>
                  <a:pt x="18" y="2"/>
                  <a:pt x="18" y="3"/>
                  <a:pt x="15" y="4"/>
                </a:cubicBezTo>
                <a:cubicBezTo>
                  <a:pt x="12" y="5"/>
                  <a:pt x="10" y="5"/>
                  <a:pt x="9" y="4"/>
                </a:cubicBezTo>
                <a:cubicBezTo>
                  <a:pt x="8" y="3"/>
                  <a:pt x="6" y="4"/>
                  <a:pt x="6" y="6"/>
                </a:cubicBezTo>
                <a:cubicBezTo>
                  <a:pt x="6" y="7"/>
                  <a:pt x="6" y="10"/>
                  <a:pt x="2" y="11"/>
                </a:cubicBezTo>
                <a:cubicBezTo>
                  <a:pt x="2" y="12"/>
                  <a:pt x="1" y="13"/>
                  <a:pt x="2" y="14"/>
                </a:cubicBezTo>
                <a:cubicBezTo>
                  <a:pt x="3" y="15"/>
                  <a:pt x="2" y="17"/>
                  <a:pt x="1" y="19"/>
                </a:cubicBezTo>
                <a:cubicBezTo>
                  <a:pt x="7" y="19"/>
                  <a:pt x="6" y="23"/>
                  <a:pt x="5" y="2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 name="Freeform 51"/>
          <p:cNvSpPr/>
          <p:nvPr/>
        </p:nvSpPr>
        <p:spPr bwMode="auto">
          <a:xfrm>
            <a:off x="6670155" y="2349948"/>
            <a:ext cx="77788" cy="93663"/>
          </a:xfrm>
          <a:custGeom>
            <a:avLst/>
            <a:gdLst>
              <a:gd name="T0" fmla="*/ 7 w 27"/>
              <a:gd name="T1" fmla="*/ 3 h 33"/>
              <a:gd name="T2" fmla="*/ 3 w 27"/>
              <a:gd name="T3" fmla="*/ 6 h 33"/>
              <a:gd name="T4" fmla="*/ 5 w 27"/>
              <a:gd name="T5" fmla="*/ 10 h 33"/>
              <a:gd name="T6" fmla="*/ 4 w 27"/>
              <a:gd name="T7" fmla="*/ 13 h 33"/>
              <a:gd name="T8" fmla="*/ 4 w 27"/>
              <a:gd name="T9" fmla="*/ 19 h 33"/>
              <a:gd name="T10" fmla="*/ 2 w 27"/>
              <a:gd name="T11" fmla="*/ 27 h 33"/>
              <a:gd name="T12" fmla="*/ 3 w 27"/>
              <a:gd name="T13" fmla="*/ 32 h 33"/>
              <a:gd name="T14" fmla="*/ 16 w 27"/>
              <a:gd name="T15" fmla="*/ 28 h 33"/>
              <a:gd name="T16" fmla="*/ 23 w 27"/>
              <a:gd name="T17" fmla="*/ 25 h 33"/>
              <a:gd name="T18" fmla="*/ 25 w 27"/>
              <a:gd name="T19" fmla="*/ 22 h 33"/>
              <a:gd name="T20" fmla="*/ 24 w 27"/>
              <a:gd name="T21" fmla="*/ 12 h 33"/>
              <a:gd name="T22" fmla="*/ 17 w 27"/>
              <a:gd name="T23" fmla="*/ 0 h 33"/>
              <a:gd name="T24" fmla="*/ 13 w 27"/>
              <a:gd name="T25" fmla="*/ 2 h 33"/>
              <a:gd name="T26" fmla="*/ 7 w 27"/>
              <a:gd name="T27"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3">
                <a:moveTo>
                  <a:pt x="7" y="3"/>
                </a:moveTo>
                <a:cubicBezTo>
                  <a:pt x="6" y="4"/>
                  <a:pt x="4" y="5"/>
                  <a:pt x="3" y="6"/>
                </a:cubicBezTo>
                <a:cubicBezTo>
                  <a:pt x="3" y="7"/>
                  <a:pt x="3" y="10"/>
                  <a:pt x="5" y="10"/>
                </a:cubicBezTo>
                <a:cubicBezTo>
                  <a:pt x="7" y="10"/>
                  <a:pt x="7" y="13"/>
                  <a:pt x="4" y="13"/>
                </a:cubicBezTo>
                <a:cubicBezTo>
                  <a:pt x="2" y="12"/>
                  <a:pt x="2" y="16"/>
                  <a:pt x="4" y="19"/>
                </a:cubicBezTo>
                <a:cubicBezTo>
                  <a:pt x="6" y="22"/>
                  <a:pt x="0" y="26"/>
                  <a:pt x="2" y="27"/>
                </a:cubicBezTo>
                <a:cubicBezTo>
                  <a:pt x="3" y="29"/>
                  <a:pt x="2" y="31"/>
                  <a:pt x="3" y="32"/>
                </a:cubicBezTo>
                <a:cubicBezTo>
                  <a:pt x="4" y="33"/>
                  <a:pt x="12" y="32"/>
                  <a:pt x="16" y="28"/>
                </a:cubicBezTo>
                <a:cubicBezTo>
                  <a:pt x="20" y="24"/>
                  <a:pt x="21" y="24"/>
                  <a:pt x="23" y="25"/>
                </a:cubicBezTo>
                <a:cubicBezTo>
                  <a:pt x="25" y="25"/>
                  <a:pt x="27" y="23"/>
                  <a:pt x="25" y="22"/>
                </a:cubicBezTo>
                <a:cubicBezTo>
                  <a:pt x="24" y="20"/>
                  <a:pt x="23" y="17"/>
                  <a:pt x="24" y="12"/>
                </a:cubicBezTo>
                <a:cubicBezTo>
                  <a:pt x="24" y="9"/>
                  <a:pt x="20" y="4"/>
                  <a:pt x="17" y="0"/>
                </a:cubicBezTo>
                <a:cubicBezTo>
                  <a:pt x="15" y="1"/>
                  <a:pt x="14" y="2"/>
                  <a:pt x="13" y="2"/>
                </a:cubicBezTo>
                <a:cubicBezTo>
                  <a:pt x="10" y="2"/>
                  <a:pt x="8" y="2"/>
                  <a:pt x="7"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 name="Freeform 52"/>
          <p:cNvSpPr/>
          <p:nvPr/>
        </p:nvSpPr>
        <p:spPr bwMode="auto">
          <a:xfrm>
            <a:off x="5933555" y="2611885"/>
            <a:ext cx="87313" cy="117475"/>
          </a:xfrm>
          <a:custGeom>
            <a:avLst/>
            <a:gdLst>
              <a:gd name="T0" fmla="*/ 31 w 31"/>
              <a:gd name="T1" fmla="*/ 34 h 41"/>
              <a:gd name="T2" fmla="*/ 28 w 31"/>
              <a:gd name="T3" fmla="*/ 21 h 41"/>
              <a:gd name="T4" fmla="*/ 23 w 31"/>
              <a:gd name="T5" fmla="*/ 26 h 41"/>
              <a:gd name="T6" fmla="*/ 24 w 31"/>
              <a:gd name="T7" fmla="*/ 19 h 41"/>
              <a:gd name="T8" fmla="*/ 29 w 31"/>
              <a:gd name="T9" fmla="*/ 12 h 41"/>
              <a:gd name="T10" fmla="*/ 24 w 31"/>
              <a:gd name="T11" fmla="*/ 10 h 41"/>
              <a:gd name="T12" fmla="*/ 16 w 31"/>
              <a:gd name="T13" fmla="*/ 11 h 41"/>
              <a:gd name="T14" fmla="*/ 13 w 31"/>
              <a:gd name="T15" fmla="*/ 7 h 41"/>
              <a:gd name="T16" fmla="*/ 8 w 31"/>
              <a:gd name="T17" fmla="*/ 4 h 41"/>
              <a:gd name="T18" fmla="*/ 3 w 31"/>
              <a:gd name="T19" fmla="*/ 4 h 41"/>
              <a:gd name="T20" fmla="*/ 7 w 31"/>
              <a:gd name="T21" fmla="*/ 9 h 41"/>
              <a:gd name="T22" fmla="*/ 3 w 31"/>
              <a:gd name="T23" fmla="*/ 12 h 41"/>
              <a:gd name="T24" fmla="*/ 5 w 31"/>
              <a:gd name="T25" fmla="*/ 23 h 41"/>
              <a:gd name="T26" fmla="*/ 7 w 31"/>
              <a:gd name="T27" fmla="*/ 35 h 41"/>
              <a:gd name="T28" fmla="*/ 12 w 31"/>
              <a:gd name="T29" fmla="*/ 34 h 41"/>
              <a:gd name="T30" fmla="*/ 18 w 31"/>
              <a:gd name="T31" fmla="*/ 31 h 41"/>
              <a:gd name="T32" fmla="*/ 22 w 31"/>
              <a:gd name="T33" fmla="*/ 28 h 41"/>
              <a:gd name="T34" fmla="*/ 25 w 31"/>
              <a:gd name="T35" fmla="*/ 37 h 41"/>
              <a:gd name="T36" fmla="*/ 26 w 31"/>
              <a:gd name="T37" fmla="*/ 41 h 41"/>
              <a:gd name="T38" fmla="*/ 29 w 31"/>
              <a:gd name="T39" fmla="*/ 39 h 41"/>
              <a:gd name="T40" fmla="*/ 31 w 31"/>
              <a:gd name="T41" fmla="*/ 3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1">
                <a:moveTo>
                  <a:pt x="31" y="34"/>
                </a:moveTo>
                <a:cubicBezTo>
                  <a:pt x="30" y="28"/>
                  <a:pt x="29" y="21"/>
                  <a:pt x="28" y="21"/>
                </a:cubicBezTo>
                <a:cubicBezTo>
                  <a:pt x="27" y="21"/>
                  <a:pt x="25" y="27"/>
                  <a:pt x="23" y="26"/>
                </a:cubicBezTo>
                <a:cubicBezTo>
                  <a:pt x="21" y="26"/>
                  <a:pt x="21" y="19"/>
                  <a:pt x="24" y="19"/>
                </a:cubicBezTo>
                <a:cubicBezTo>
                  <a:pt x="26" y="19"/>
                  <a:pt x="29" y="14"/>
                  <a:pt x="29" y="12"/>
                </a:cubicBezTo>
                <a:cubicBezTo>
                  <a:pt x="29" y="10"/>
                  <a:pt x="26" y="10"/>
                  <a:pt x="24" y="10"/>
                </a:cubicBezTo>
                <a:cubicBezTo>
                  <a:pt x="21" y="10"/>
                  <a:pt x="16" y="11"/>
                  <a:pt x="16" y="11"/>
                </a:cubicBezTo>
                <a:cubicBezTo>
                  <a:pt x="16" y="11"/>
                  <a:pt x="13" y="9"/>
                  <a:pt x="13" y="7"/>
                </a:cubicBezTo>
                <a:cubicBezTo>
                  <a:pt x="13" y="5"/>
                  <a:pt x="12" y="4"/>
                  <a:pt x="8" y="4"/>
                </a:cubicBezTo>
                <a:cubicBezTo>
                  <a:pt x="5" y="4"/>
                  <a:pt x="5" y="0"/>
                  <a:pt x="3" y="4"/>
                </a:cubicBezTo>
                <a:cubicBezTo>
                  <a:pt x="0" y="7"/>
                  <a:pt x="8" y="7"/>
                  <a:pt x="7" y="9"/>
                </a:cubicBezTo>
                <a:cubicBezTo>
                  <a:pt x="6" y="12"/>
                  <a:pt x="4" y="10"/>
                  <a:pt x="3" y="12"/>
                </a:cubicBezTo>
                <a:cubicBezTo>
                  <a:pt x="3" y="14"/>
                  <a:pt x="4" y="20"/>
                  <a:pt x="5" y="23"/>
                </a:cubicBezTo>
                <a:cubicBezTo>
                  <a:pt x="6" y="25"/>
                  <a:pt x="7" y="31"/>
                  <a:pt x="7" y="35"/>
                </a:cubicBezTo>
                <a:cubicBezTo>
                  <a:pt x="9" y="35"/>
                  <a:pt x="10" y="34"/>
                  <a:pt x="12" y="34"/>
                </a:cubicBezTo>
                <a:cubicBezTo>
                  <a:pt x="14" y="34"/>
                  <a:pt x="17" y="34"/>
                  <a:pt x="18" y="31"/>
                </a:cubicBezTo>
                <a:cubicBezTo>
                  <a:pt x="18" y="29"/>
                  <a:pt x="20" y="27"/>
                  <a:pt x="22" y="28"/>
                </a:cubicBezTo>
                <a:cubicBezTo>
                  <a:pt x="23" y="29"/>
                  <a:pt x="25" y="34"/>
                  <a:pt x="25" y="37"/>
                </a:cubicBezTo>
                <a:cubicBezTo>
                  <a:pt x="25" y="38"/>
                  <a:pt x="26" y="40"/>
                  <a:pt x="26" y="41"/>
                </a:cubicBezTo>
                <a:cubicBezTo>
                  <a:pt x="28" y="40"/>
                  <a:pt x="29" y="39"/>
                  <a:pt x="29" y="39"/>
                </a:cubicBezTo>
                <a:cubicBezTo>
                  <a:pt x="29" y="39"/>
                  <a:pt x="30" y="36"/>
                  <a:pt x="31" y="3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 name="Freeform 53"/>
          <p:cNvSpPr/>
          <p:nvPr/>
        </p:nvSpPr>
        <p:spPr bwMode="auto">
          <a:xfrm>
            <a:off x="5557317" y="2415035"/>
            <a:ext cx="546100" cy="577850"/>
          </a:xfrm>
          <a:custGeom>
            <a:avLst/>
            <a:gdLst>
              <a:gd name="T0" fmla="*/ 135 w 192"/>
              <a:gd name="T1" fmla="*/ 81 h 203"/>
              <a:gd name="T2" fmla="*/ 135 w 192"/>
              <a:gd name="T3" fmla="*/ 73 h 203"/>
              <a:gd name="T4" fmla="*/ 145 w 192"/>
              <a:gd name="T5" fmla="*/ 76 h 203"/>
              <a:gd name="T6" fmla="*/ 156 w 192"/>
              <a:gd name="T7" fmla="*/ 79 h 203"/>
              <a:gd name="T8" fmla="*/ 156 w 192"/>
              <a:gd name="T9" fmla="*/ 88 h 203"/>
              <a:gd name="T10" fmla="*/ 160 w 192"/>
              <a:gd name="T11" fmla="*/ 90 h 203"/>
              <a:gd name="T12" fmla="*/ 164 w 192"/>
              <a:gd name="T13" fmla="*/ 103 h 203"/>
              <a:gd name="T14" fmla="*/ 167 w 192"/>
              <a:gd name="T15" fmla="*/ 89 h 203"/>
              <a:gd name="T16" fmla="*/ 175 w 192"/>
              <a:gd name="T17" fmla="*/ 80 h 203"/>
              <a:gd name="T18" fmla="*/ 182 w 192"/>
              <a:gd name="T19" fmla="*/ 66 h 203"/>
              <a:gd name="T20" fmla="*/ 190 w 192"/>
              <a:gd name="T21" fmla="*/ 64 h 203"/>
              <a:gd name="T22" fmla="*/ 191 w 192"/>
              <a:gd name="T23" fmla="*/ 56 h 203"/>
              <a:gd name="T24" fmla="*/ 185 w 192"/>
              <a:gd name="T25" fmla="*/ 49 h 203"/>
              <a:gd name="T26" fmla="*/ 173 w 192"/>
              <a:gd name="T27" fmla="*/ 50 h 203"/>
              <a:gd name="T28" fmla="*/ 164 w 192"/>
              <a:gd name="T29" fmla="*/ 57 h 203"/>
              <a:gd name="T30" fmla="*/ 157 w 192"/>
              <a:gd name="T31" fmla="*/ 61 h 203"/>
              <a:gd name="T32" fmla="*/ 151 w 192"/>
              <a:gd name="T33" fmla="*/ 68 h 203"/>
              <a:gd name="T34" fmla="*/ 140 w 192"/>
              <a:gd name="T35" fmla="*/ 66 h 203"/>
              <a:gd name="T36" fmla="*/ 136 w 192"/>
              <a:gd name="T37" fmla="*/ 58 h 203"/>
              <a:gd name="T38" fmla="*/ 133 w 192"/>
              <a:gd name="T39" fmla="*/ 68 h 203"/>
              <a:gd name="T40" fmla="*/ 112 w 192"/>
              <a:gd name="T41" fmla="*/ 66 h 203"/>
              <a:gd name="T42" fmla="*/ 102 w 192"/>
              <a:gd name="T43" fmla="*/ 63 h 203"/>
              <a:gd name="T44" fmla="*/ 91 w 192"/>
              <a:gd name="T45" fmla="*/ 57 h 203"/>
              <a:gd name="T46" fmla="*/ 82 w 192"/>
              <a:gd name="T47" fmla="*/ 52 h 203"/>
              <a:gd name="T48" fmla="*/ 86 w 192"/>
              <a:gd name="T49" fmla="*/ 42 h 203"/>
              <a:gd name="T50" fmla="*/ 79 w 192"/>
              <a:gd name="T51" fmla="*/ 36 h 203"/>
              <a:gd name="T52" fmla="*/ 71 w 192"/>
              <a:gd name="T53" fmla="*/ 26 h 203"/>
              <a:gd name="T54" fmla="*/ 77 w 192"/>
              <a:gd name="T55" fmla="*/ 21 h 203"/>
              <a:gd name="T56" fmla="*/ 73 w 192"/>
              <a:gd name="T57" fmla="*/ 8 h 203"/>
              <a:gd name="T58" fmla="*/ 66 w 192"/>
              <a:gd name="T59" fmla="*/ 0 h 203"/>
              <a:gd name="T60" fmla="*/ 60 w 192"/>
              <a:gd name="T61" fmla="*/ 6 h 203"/>
              <a:gd name="T62" fmla="*/ 43 w 192"/>
              <a:gd name="T63" fmla="*/ 6 h 203"/>
              <a:gd name="T64" fmla="*/ 41 w 192"/>
              <a:gd name="T65" fmla="*/ 17 h 203"/>
              <a:gd name="T66" fmla="*/ 48 w 192"/>
              <a:gd name="T67" fmla="*/ 26 h 203"/>
              <a:gd name="T68" fmla="*/ 43 w 192"/>
              <a:gd name="T69" fmla="*/ 37 h 203"/>
              <a:gd name="T70" fmla="*/ 36 w 192"/>
              <a:gd name="T71" fmla="*/ 44 h 203"/>
              <a:gd name="T72" fmla="*/ 27 w 192"/>
              <a:gd name="T73" fmla="*/ 55 h 203"/>
              <a:gd name="T74" fmla="*/ 19 w 192"/>
              <a:gd name="T75" fmla="*/ 60 h 203"/>
              <a:gd name="T76" fmla="*/ 9 w 192"/>
              <a:gd name="T77" fmla="*/ 66 h 203"/>
              <a:gd name="T78" fmla="*/ 16 w 192"/>
              <a:gd name="T79" fmla="*/ 78 h 203"/>
              <a:gd name="T80" fmla="*/ 13 w 192"/>
              <a:gd name="T81" fmla="*/ 86 h 203"/>
              <a:gd name="T82" fmla="*/ 1 w 192"/>
              <a:gd name="T83" fmla="*/ 90 h 203"/>
              <a:gd name="T84" fmla="*/ 6 w 192"/>
              <a:gd name="T85" fmla="*/ 96 h 203"/>
              <a:gd name="T86" fmla="*/ 4 w 192"/>
              <a:gd name="T87" fmla="*/ 100 h 203"/>
              <a:gd name="T88" fmla="*/ 26 w 192"/>
              <a:gd name="T89" fmla="*/ 105 h 203"/>
              <a:gd name="T90" fmla="*/ 30 w 192"/>
              <a:gd name="T91" fmla="*/ 108 h 203"/>
              <a:gd name="T92" fmla="*/ 31 w 192"/>
              <a:gd name="T93" fmla="*/ 126 h 203"/>
              <a:gd name="T94" fmla="*/ 41 w 192"/>
              <a:gd name="T95" fmla="*/ 157 h 203"/>
              <a:gd name="T96" fmla="*/ 54 w 192"/>
              <a:gd name="T97" fmla="*/ 190 h 203"/>
              <a:gd name="T98" fmla="*/ 67 w 192"/>
              <a:gd name="T99" fmla="*/ 197 h 203"/>
              <a:gd name="T100" fmla="*/ 76 w 192"/>
              <a:gd name="T101" fmla="*/ 186 h 203"/>
              <a:gd name="T102" fmla="*/ 80 w 192"/>
              <a:gd name="T103" fmla="*/ 173 h 203"/>
              <a:gd name="T104" fmla="*/ 82 w 192"/>
              <a:gd name="T105" fmla="*/ 153 h 203"/>
              <a:gd name="T106" fmla="*/ 91 w 192"/>
              <a:gd name="T107" fmla="*/ 142 h 203"/>
              <a:gd name="T108" fmla="*/ 113 w 192"/>
              <a:gd name="T109" fmla="*/ 123 h 203"/>
              <a:gd name="T110" fmla="*/ 125 w 192"/>
              <a:gd name="T111" fmla="*/ 109 h 203"/>
              <a:gd name="T112" fmla="*/ 139 w 192"/>
              <a:gd name="T113" fmla="*/ 10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2" h="203">
                <a:moveTo>
                  <a:pt x="137" y="92"/>
                </a:moveTo>
                <a:cubicBezTo>
                  <a:pt x="136" y="89"/>
                  <a:pt x="135" y="83"/>
                  <a:pt x="135" y="81"/>
                </a:cubicBezTo>
                <a:cubicBezTo>
                  <a:pt x="136" y="79"/>
                  <a:pt x="138" y="81"/>
                  <a:pt x="139" y="78"/>
                </a:cubicBezTo>
                <a:cubicBezTo>
                  <a:pt x="140" y="76"/>
                  <a:pt x="132" y="76"/>
                  <a:pt x="135" y="73"/>
                </a:cubicBezTo>
                <a:cubicBezTo>
                  <a:pt x="137" y="69"/>
                  <a:pt x="137" y="73"/>
                  <a:pt x="140" y="73"/>
                </a:cubicBezTo>
                <a:cubicBezTo>
                  <a:pt x="144" y="73"/>
                  <a:pt x="145" y="74"/>
                  <a:pt x="145" y="76"/>
                </a:cubicBezTo>
                <a:cubicBezTo>
                  <a:pt x="145" y="78"/>
                  <a:pt x="148" y="80"/>
                  <a:pt x="148" y="80"/>
                </a:cubicBezTo>
                <a:cubicBezTo>
                  <a:pt x="148" y="80"/>
                  <a:pt x="153" y="79"/>
                  <a:pt x="156" y="79"/>
                </a:cubicBezTo>
                <a:cubicBezTo>
                  <a:pt x="158" y="79"/>
                  <a:pt x="161" y="79"/>
                  <a:pt x="161" y="81"/>
                </a:cubicBezTo>
                <a:cubicBezTo>
                  <a:pt x="161" y="83"/>
                  <a:pt x="158" y="88"/>
                  <a:pt x="156" y="88"/>
                </a:cubicBezTo>
                <a:cubicBezTo>
                  <a:pt x="153" y="88"/>
                  <a:pt x="153" y="95"/>
                  <a:pt x="155" y="95"/>
                </a:cubicBezTo>
                <a:cubicBezTo>
                  <a:pt x="157" y="96"/>
                  <a:pt x="159" y="90"/>
                  <a:pt x="160" y="90"/>
                </a:cubicBezTo>
                <a:cubicBezTo>
                  <a:pt x="161" y="90"/>
                  <a:pt x="162" y="97"/>
                  <a:pt x="163" y="103"/>
                </a:cubicBezTo>
                <a:cubicBezTo>
                  <a:pt x="163" y="103"/>
                  <a:pt x="164" y="103"/>
                  <a:pt x="164" y="103"/>
                </a:cubicBezTo>
                <a:cubicBezTo>
                  <a:pt x="166" y="103"/>
                  <a:pt x="165" y="97"/>
                  <a:pt x="166" y="95"/>
                </a:cubicBezTo>
                <a:cubicBezTo>
                  <a:pt x="167" y="94"/>
                  <a:pt x="166" y="89"/>
                  <a:pt x="167" y="89"/>
                </a:cubicBezTo>
                <a:cubicBezTo>
                  <a:pt x="168" y="89"/>
                  <a:pt x="173" y="90"/>
                  <a:pt x="173" y="89"/>
                </a:cubicBezTo>
                <a:cubicBezTo>
                  <a:pt x="172" y="87"/>
                  <a:pt x="176" y="83"/>
                  <a:pt x="175" y="80"/>
                </a:cubicBezTo>
                <a:cubicBezTo>
                  <a:pt x="174" y="78"/>
                  <a:pt x="177" y="75"/>
                  <a:pt x="177" y="72"/>
                </a:cubicBezTo>
                <a:cubicBezTo>
                  <a:pt x="177" y="69"/>
                  <a:pt x="180" y="68"/>
                  <a:pt x="182" y="66"/>
                </a:cubicBezTo>
                <a:cubicBezTo>
                  <a:pt x="183" y="65"/>
                  <a:pt x="187" y="63"/>
                  <a:pt x="187" y="64"/>
                </a:cubicBezTo>
                <a:cubicBezTo>
                  <a:pt x="188" y="65"/>
                  <a:pt x="192" y="66"/>
                  <a:pt x="190" y="64"/>
                </a:cubicBezTo>
                <a:cubicBezTo>
                  <a:pt x="189" y="62"/>
                  <a:pt x="189" y="60"/>
                  <a:pt x="190" y="59"/>
                </a:cubicBezTo>
                <a:cubicBezTo>
                  <a:pt x="191" y="59"/>
                  <a:pt x="191" y="56"/>
                  <a:pt x="191" y="56"/>
                </a:cubicBezTo>
                <a:cubicBezTo>
                  <a:pt x="191" y="56"/>
                  <a:pt x="188" y="56"/>
                  <a:pt x="187" y="54"/>
                </a:cubicBezTo>
                <a:cubicBezTo>
                  <a:pt x="187" y="52"/>
                  <a:pt x="185" y="51"/>
                  <a:pt x="185" y="49"/>
                </a:cubicBezTo>
                <a:cubicBezTo>
                  <a:pt x="185" y="48"/>
                  <a:pt x="183" y="49"/>
                  <a:pt x="181" y="50"/>
                </a:cubicBezTo>
                <a:cubicBezTo>
                  <a:pt x="179" y="51"/>
                  <a:pt x="176" y="48"/>
                  <a:pt x="173" y="50"/>
                </a:cubicBezTo>
                <a:cubicBezTo>
                  <a:pt x="169" y="52"/>
                  <a:pt x="168" y="54"/>
                  <a:pt x="167" y="54"/>
                </a:cubicBezTo>
                <a:cubicBezTo>
                  <a:pt x="165" y="54"/>
                  <a:pt x="166" y="55"/>
                  <a:pt x="164" y="57"/>
                </a:cubicBezTo>
                <a:cubicBezTo>
                  <a:pt x="163" y="58"/>
                  <a:pt x="162" y="60"/>
                  <a:pt x="161" y="60"/>
                </a:cubicBezTo>
                <a:cubicBezTo>
                  <a:pt x="160" y="60"/>
                  <a:pt x="157" y="61"/>
                  <a:pt x="157" y="61"/>
                </a:cubicBezTo>
                <a:cubicBezTo>
                  <a:pt x="157" y="61"/>
                  <a:pt x="159" y="65"/>
                  <a:pt x="158" y="67"/>
                </a:cubicBezTo>
                <a:cubicBezTo>
                  <a:pt x="157" y="69"/>
                  <a:pt x="154" y="67"/>
                  <a:pt x="151" y="68"/>
                </a:cubicBezTo>
                <a:cubicBezTo>
                  <a:pt x="148" y="69"/>
                  <a:pt x="147" y="67"/>
                  <a:pt x="145" y="67"/>
                </a:cubicBezTo>
                <a:cubicBezTo>
                  <a:pt x="143" y="68"/>
                  <a:pt x="141" y="66"/>
                  <a:pt x="140" y="66"/>
                </a:cubicBezTo>
                <a:cubicBezTo>
                  <a:pt x="139" y="66"/>
                  <a:pt x="138" y="64"/>
                  <a:pt x="138" y="62"/>
                </a:cubicBezTo>
                <a:cubicBezTo>
                  <a:pt x="139" y="59"/>
                  <a:pt x="137" y="56"/>
                  <a:pt x="136" y="58"/>
                </a:cubicBezTo>
                <a:cubicBezTo>
                  <a:pt x="135" y="60"/>
                  <a:pt x="133" y="59"/>
                  <a:pt x="133" y="61"/>
                </a:cubicBezTo>
                <a:cubicBezTo>
                  <a:pt x="133" y="64"/>
                  <a:pt x="135" y="67"/>
                  <a:pt x="133" y="68"/>
                </a:cubicBezTo>
                <a:cubicBezTo>
                  <a:pt x="131" y="70"/>
                  <a:pt x="123" y="71"/>
                  <a:pt x="121" y="69"/>
                </a:cubicBezTo>
                <a:cubicBezTo>
                  <a:pt x="119" y="68"/>
                  <a:pt x="112" y="67"/>
                  <a:pt x="112" y="66"/>
                </a:cubicBezTo>
                <a:cubicBezTo>
                  <a:pt x="112" y="65"/>
                  <a:pt x="110" y="62"/>
                  <a:pt x="108" y="62"/>
                </a:cubicBezTo>
                <a:cubicBezTo>
                  <a:pt x="107" y="62"/>
                  <a:pt x="103" y="64"/>
                  <a:pt x="102" y="63"/>
                </a:cubicBezTo>
                <a:cubicBezTo>
                  <a:pt x="101" y="62"/>
                  <a:pt x="98" y="60"/>
                  <a:pt x="96" y="60"/>
                </a:cubicBezTo>
                <a:cubicBezTo>
                  <a:pt x="94" y="60"/>
                  <a:pt x="91" y="58"/>
                  <a:pt x="91" y="57"/>
                </a:cubicBezTo>
                <a:cubicBezTo>
                  <a:pt x="90" y="56"/>
                  <a:pt x="86" y="56"/>
                  <a:pt x="85" y="55"/>
                </a:cubicBezTo>
                <a:cubicBezTo>
                  <a:pt x="84" y="53"/>
                  <a:pt x="82" y="53"/>
                  <a:pt x="82" y="52"/>
                </a:cubicBezTo>
                <a:cubicBezTo>
                  <a:pt x="82" y="50"/>
                  <a:pt x="83" y="48"/>
                  <a:pt x="83" y="47"/>
                </a:cubicBezTo>
                <a:cubicBezTo>
                  <a:pt x="83" y="45"/>
                  <a:pt x="86" y="43"/>
                  <a:pt x="86" y="42"/>
                </a:cubicBezTo>
                <a:cubicBezTo>
                  <a:pt x="86" y="41"/>
                  <a:pt x="83" y="39"/>
                  <a:pt x="83" y="39"/>
                </a:cubicBezTo>
                <a:cubicBezTo>
                  <a:pt x="83" y="39"/>
                  <a:pt x="81" y="36"/>
                  <a:pt x="79" y="36"/>
                </a:cubicBezTo>
                <a:cubicBezTo>
                  <a:pt x="77" y="36"/>
                  <a:pt x="75" y="32"/>
                  <a:pt x="73" y="32"/>
                </a:cubicBezTo>
                <a:cubicBezTo>
                  <a:pt x="71" y="31"/>
                  <a:pt x="72" y="28"/>
                  <a:pt x="71" y="26"/>
                </a:cubicBezTo>
                <a:cubicBezTo>
                  <a:pt x="70" y="25"/>
                  <a:pt x="71" y="22"/>
                  <a:pt x="73" y="23"/>
                </a:cubicBezTo>
                <a:cubicBezTo>
                  <a:pt x="74" y="25"/>
                  <a:pt x="78" y="23"/>
                  <a:pt x="77" y="21"/>
                </a:cubicBezTo>
                <a:cubicBezTo>
                  <a:pt x="75" y="18"/>
                  <a:pt x="73" y="16"/>
                  <a:pt x="73" y="15"/>
                </a:cubicBezTo>
                <a:cubicBezTo>
                  <a:pt x="73" y="13"/>
                  <a:pt x="74" y="9"/>
                  <a:pt x="73" y="8"/>
                </a:cubicBezTo>
                <a:cubicBezTo>
                  <a:pt x="71" y="7"/>
                  <a:pt x="69" y="6"/>
                  <a:pt x="68" y="4"/>
                </a:cubicBezTo>
                <a:cubicBezTo>
                  <a:pt x="68" y="2"/>
                  <a:pt x="66" y="0"/>
                  <a:pt x="66" y="0"/>
                </a:cubicBezTo>
                <a:cubicBezTo>
                  <a:pt x="63" y="1"/>
                  <a:pt x="63" y="1"/>
                  <a:pt x="63" y="1"/>
                </a:cubicBezTo>
                <a:cubicBezTo>
                  <a:pt x="63" y="1"/>
                  <a:pt x="61" y="5"/>
                  <a:pt x="60" y="6"/>
                </a:cubicBezTo>
                <a:cubicBezTo>
                  <a:pt x="59" y="6"/>
                  <a:pt x="55" y="7"/>
                  <a:pt x="54" y="8"/>
                </a:cubicBezTo>
                <a:cubicBezTo>
                  <a:pt x="52" y="10"/>
                  <a:pt x="46" y="6"/>
                  <a:pt x="43" y="6"/>
                </a:cubicBezTo>
                <a:cubicBezTo>
                  <a:pt x="40" y="6"/>
                  <a:pt x="38" y="9"/>
                  <a:pt x="40" y="10"/>
                </a:cubicBezTo>
                <a:cubicBezTo>
                  <a:pt x="41" y="11"/>
                  <a:pt x="41" y="17"/>
                  <a:pt x="41" y="17"/>
                </a:cubicBezTo>
                <a:cubicBezTo>
                  <a:pt x="41" y="17"/>
                  <a:pt x="42" y="24"/>
                  <a:pt x="45" y="23"/>
                </a:cubicBezTo>
                <a:cubicBezTo>
                  <a:pt x="47" y="23"/>
                  <a:pt x="50" y="26"/>
                  <a:pt x="48" y="26"/>
                </a:cubicBezTo>
                <a:cubicBezTo>
                  <a:pt x="46" y="27"/>
                  <a:pt x="45" y="29"/>
                  <a:pt x="45" y="31"/>
                </a:cubicBezTo>
                <a:cubicBezTo>
                  <a:pt x="44" y="34"/>
                  <a:pt x="45" y="36"/>
                  <a:pt x="43" y="37"/>
                </a:cubicBezTo>
                <a:cubicBezTo>
                  <a:pt x="42" y="37"/>
                  <a:pt x="40" y="37"/>
                  <a:pt x="40" y="40"/>
                </a:cubicBezTo>
                <a:cubicBezTo>
                  <a:pt x="40" y="43"/>
                  <a:pt x="36" y="43"/>
                  <a:pt x="36" y="44"/>
                </a:cubicBezTo>
                <a:cubicBezTo>
                  <a:pt x="35" y="45"/>
                  <a:pt x="34" y="50"/>
                  <a:pt x="33" y="51"/>
                </a:cubicBezTo>
                <a:cubicBezTo>
                  <a:pt x="32" y="52"/>
                  <a:pt x="28" y="52"/>
                  <a:pt x="27" y="55"/>
                </a:cubicBezTo>
                <a:cubicBezTo>
                  <a:pt x="27" y="57"/>
                  <a:pt x="25" y="60"/>
                  <a:pt x="24" y="60"/>
                </a:cubicBezTo>
                <a:cubicBezTo>
                  <a:pt x="22" y="59"/>
                  <a:pt x="20" y="58"/>
                  <a:pt x="19" y="60"/>
                </a:cubicBezTo>
                <a:cubicBezTo>
                  <a:pt x="18" y="62"/>
                  <a:pt x="15" y="59"/>
                  <a:pt x="14" y="59"/>
                </a:cubicBezTo>
                <a:cubicBezTo>
                  <a:pt x="13" y="60"/>
                  <a:pt x="9" y="64"/>
                  <a:pt x="9" y="66"/>
                </a:cubicBezTo>
                <a:cubicBezTo>
                  <a:pt x="9" y="68"/>
                  <a:pt x="13" y="68"/>
                  <a:pt x="13" y="71"/>
                </a:cubicBezTo>
                <a:cubicBezTo>
                  <a:pt x="13" y="74"/>
                  <a:pt x="15" y="77"/>
                  <a:pt x="16" y="78"/>
                </a:cubicBezTo>
                <a:cubicBezTo>
                  <a:pt x="17" y="79"/>
                  <a:pt x="20" y="83"/>
                  <a:pt x="18" y="84"/>
                </a:cubicBezTo>
                <a:cubicBezTo>
                  <a:pt x="17" y="86"/>
                  <a:pt x="16" y="86"/>
                  <a:pt x="13" y="86"/>
                </a:cubicBezTo>
                <a:cubicBezTo>
                  <a:pt x="11" y="85"/>
                  <a:pt x="11" y="87"/>
                  <a:pt x="7" y="86"/>
                </a:cubicBezTo>
                <a:cubicBezTo>
                  <a:pt x="2" y="85"/>
                  <a:pt x="2" y="88"/>
                  <a:pt x="1" y="90"/>
                </a:cubicBezTo>
                <a:cubicBezTo>
                  <a:pt x="0" y="90"/>
                  <a:pt x="0" y="90"/>
                  <a:pt x="0" y="91"/>
                </a:cubicBezTo>
                <a:cubicBezTo>
                  <a:pt x="2" y="92"/>
                  <a:pt x="3" y="95"/>
                  <a:pt x="6" y="96"/>
                </a:cubicBezTo>
                <a:cubicBezTo>
                  <a:pt x="10" y="98"/>
                  <a:pt x="14" y="94"/>
                  <a:pt x="14" y="97"/>
                </a:cubicBezTo>
                <a:cubicBezTo>
                  <a:pt x="14" y="100"/>
                  <a:pt x="5" y="99"/>
                  <a:pt x="4" y="100"/>
                </a:cubicBezTo>
                <a:cubicBezTo>
                  <a:pt x="4" y="101"/>
                  <a:pt x="14" y="113"/>
                  <a:pt x="19" y="112"/>
                </a:cubicBezTo>
                <a:cubicBezTo>
                  <a:pt x="24" y="111"/>
                  <a:pt x="28" y="106"/>
                  <a:pt x="26" y="105"/>
                </a:cubicBezTo>
                <a:cubicBezTo>
                  <a:pt x="25" y="104"/>
                  <a:pt x="27" y="101"/>
                  <a:pt x="28" y="101"/>
                </a:cubicBezTo>
                <a:cubicBezTo>
                  <a:pt x="30" y="102"/>
                  <a:pt x="29" y="107"/>
                  <a:pt x="30" y="108"/>
                </a:cubicBezTo>
                <a:cubicBezTo>
                  <a:pt x="32" y="110"/>
                  <a:pt x="31" y="112"/>
                  <a:pt x="30" y="115"/>
                </a:cubicBezTo>
                <a:cubicBezTo>
                  <a:pt x="29" y="118"/>
                  <a:pt x="31" y="123"/>
                  <a:pt x="31" y="126"/>
                </a:cubicBezTo>
                <a:cubicBezTo>
                  <a:pt x="32" y="130"/>
                  <a:pt x="34" y="134"/>
                  <a:pt x="35" y="139"/>
                </a:cubicBezTo>
                <a:cubicBezTo>
                  <a:pt x="35" y="143"/>
                  <a:pt x="38" y="152"/>
                  <a:pt x="41" y="157"/>
                </a:cubicBezTo>
                <a:cubicBezTo>
                  <a:pt x="44" y="162"/>
                  <a:pt x="46" y="173"/>
                  <a:pt x="48" y="175"/>
                </a:cubicBezTo>
                <a:cubicBezTo>
                  <a:pt x="50" y="178"/>
                  <a:pt x="54" y="185"/>
                  <a:pt x="54" y="190"/>
                </a:cubicBezTo>
                <a:cubicBezTo>
                  <a:pt x="54" y="194"/>
                  <a:pt x="59" y="200"/>
                  <a:pt x="61" y="202"/>
                </a:cubicBezTo>
                <a:cubicBezTo>
                  <a:pt x="63" y="203"/>
                  <a:pt x="66" y="200"/>
                  <a:pt x="67" y="197"/>
                </a:cubicBezTo>
                <a:cubicBezTo>
                  <a:pt x="68" y="195"/>
                  <a:pt x="73" y="193"/>
                  <a:pt x="74" y="191"/>
                </a:cubicBezTo>
                <a:cubicBezTo>
                  <a:pt x="74" y="189"/>
                  <a:pt x="75" y="187"/>
                  <a:pt x="76" y="186"/>
                </a:cubicBezTo>
                <a:cubicBezTo>
                  <a:pt x="78" y="186"/>
                  <a:pt x="78" y="184"/>
                  <a:pt x="78" y="181"/>
                </a:cubicBezTo>
                <a:cubicBezTo>
                  <a:pt x="78" y="179"/>
                  <a:pt x="78" y="175"/>
                  <a:pt x="80" y="173"/>
                </a:cubicBezTo>
                <a:cubicBezTo>
                  <a:pt x="82" y="170"/>
                  <a:pt x="82" y="164"/>
                  <a:pt x="81" y="162"/>
                </a:cubicBezTo>
                <a:cubicBezTo>
                  <a:pt x="80" y="159"/>
                  <a:pt x="81" y="155"/>
                  <a:pt x="82" y="153"/>
                </a:cubicBezTo>
                <a:cubicBezTo>
                  <a:pt x="83" y="150"/>
                  <a:pt x="82" y="147"/>
                  <a:pt x="84" y="147"/>
                </a:cubicBezTo>
                <a:cubicBezTo>
                  <a:pt x="86" y="147"/>
                  <a:pt x="89" y="145"/>
                  <a:pt x="91" y="142"/>
                </a:cubicBezTo>
                <a:cubicBezTo>
                  <a:pt x="93" y="140"/>
                  <a:pt x="99" y="136"/>
                  <a:pt x="102" y="134"/>
                </a:cubicBezTo>
                <a:cubicBezTo>
                  <a:pt x="104" y="132"/>
                  <a:pt x="111" y="126"/>
                  <a:pt x="113" y="123"/>
                </a:cubicBezTo>
                <a:cubicBezTo>
                  <a:pt x="115" y="120"/>
                  <a:pt x="121" y="118"/>
                  <a:pt x="123" y="116"/>
                </a:cubicBezTo>
                <a:cubicBezTo>
                  <a:pt x="126" y="113"/>
                  <a:pt x="125" y="112"/>
                  <a:pt x="125" y="109"/>
                </a:cubicBezTo>
                <a:cubicBezTo>
                  <a:pt x="126" y="106"/>
                  <a:pt x="134" y="104"/>
                  <a:pt x="138" y="104"/>
                </a:cubicBezTo>
                <a:cubicBezTo>
                  <a:pt x="138" y="104"/>
                  <a:pt x="139" y="104"/>
                  <a:pt x="139" y="104"/>
                </a:cubicBezTo>
                <a:cubicBezTo>
                  <a:pt x="139" y="100"/>
                  <a:pt x="138" y="94"/>
                  <a:pt x="137" y="92"/>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48" name="Freeform 54"/>
          <p:cNvSpPr/>
          <p:nvPr/>
        </p:nvSpPr>
        <p:spPr bwMode="auto">
          <a:xfrm>
            <a:off x="5933555" y="2013398"/>
            <a:ext cx="617538" cy="265113"/>
          </a:xfrm>
          <a:custGeom>
            <a:avLst/>
            <a:gdLst>
              <a:gd name="T0" fmla="*/ 201 w 217"/>
              <a:gd name="T1" fmla="*/ 40 h 93"/>
              <a:gd name="T2" fmla="*/ 187 w 217"/>
              <a:gd name="T3" fmla="*/ 39 h 93"/>
              <a:gd name="T4" fmla="*/ 189 w 217"/>
              <a:gd name="T5" fmla="*/ 32 h 93"/>
              <a:gd name="T6" fmla="*/ 189 w 217"/>
              <a:gd name="T7" fmla="*/ 20 h 93"/>
              <a:gd name="T8" fmla="*/ 175 w 217"/>
              <a:gd name="T9" fmla="*/ 19 h 93"/>
              <a:gd name="T10" fmla="*/ 164 w 217"/>
              <a:gd name="T11" fmla="*/ 24 h 93"/>
              <a:gd name="T12" fmla="*/ 146 w 217"/>
              <a:gd name="T13" fmla="*/ 26 h 93"/>
              <a:gd name="T14" fmla="*/ 133 w 217"/>
              <a:gd name="T15" fmla="*/ 21 h 93"/>
              <a:gd name="T16" fmla="*/ 122 w 217"/>
              <a:gd name="T17" fmla="*/ 17 h 93"/>
              <a:gd name="T18" fmla="*/ 110 w 217"/>
              <a:gd name="T19" fmla="*/ 16 h 93"/>
              <a:gd name="T20" fmla="*/ 99 w 217"/>
              <a:gd name="T21" fmla="*/ 17 h 93"/>
              <a:gd name="T22" fmla="*/ 94 w 217"/>
              <a:gd name="T23" fmla="*/ 8 h 93"/>
              <a:gd name="T24" fmla="*/ 82 w 217"/>
              <a:gd name="T25" fmla="*/ 4 h 93"/>
              <a:gd name="T26" fmla="*/ 72 w 217"/>
              <a:gd name="T27" fmla="*/ 1 h 93"/>
              <a:gd name="T28" fmla="*/ 66 w 217"/>
              <a:gd name="T29" fmla="*/ 5 h 93"/>
              <a:gd name="T30" fmla="*/ 66 w 217"/>
              <a:gd name="T31" fmla="*/ 14 h 93"/>
              <a:gd name="T32" fmla="*/ 60 w 217"/>
              <a:gd name="T33" fmla="*/ 21 h 93"/>
              <a:gd name="T34" fmla="*/ 50 w 217"/>
              <a:gd name="T35" fmla="*/ 20 h 93"/>
              <a:gd name="T36" fmla="*/ 42 w 217"/>
              <a:gd name="T37" fmla="*/ 14 h 93"/>
              <a:gd name="T38" fmla="*/ 27 w 217"/>
              <a:gd name="T39" fmla="*/ 13 h 93"/>
              <a:gd name="T40" fmla="*/ 18 w 217"/>
              <a:gd name="T41" fmla="*/ 19 h 93"/>
              <a:gd name="T42" fmla="*/ 6 w 217"/>
              <a:gd name="T43" fmla="*/ 24 h 93"/>
              <a:gd name="T44" fmla="*/ 0 w 217"/>
              <a:gd name="T45" fmla="*/ 27 h 93"/>
              <a:gd name="T46" fmla="*/ 6 w 217"/>
              <a:gd name="T47" fmla="*/ 34 h 93"/>
              <a:gd name="T48" fmla="*/ 18 w 217"/>
              <a:gd name="T49" fmla="*/ 42 h 93"/>
              <a:gd name="T50" fmla="*/ 21 w 217"/>
              <a:gd name="T51" fmla="*/ 54 h 93"/>
              <a:gd name="T52" fmla="*/ 35 w 217"/>
              <a:gd name="T53" fmla="*/ 64 h 93"/>
              <a:gd name="T54" fmla="*/ 45 w 217"/>
              <a:gd name="T55" fmla="*/ 70 h 93"/>
              <a:gd name="T56" fmla="*/ 54 w 217"/>
              <a:gd name="T57" fmla="*/ 83 h 93"/>
              <a:gd name="T58" fmla="*/ 79 w 217"/>
              <a:gd name="T59" fmla="*/ 84 h 93"/>
              <a:gd name="T60" fmla="*/ 99 w 217"/>
              <a:gd name="T61" fmla="*/ 88 h 93"/>
              <a:gd name="T62" fmla="*/ 112 w 217"/>
              <a:gd name="T63" fmla="*/ 93 h 93"/>
              <a:gd name="T64" fmla="*/ 139 w 217"/>
              <a:gd name="T65" fmla="*/ 86 h 93"/>
              <a:gd name="T66" fmla="*/ 160 w 217"/>
              <a:gd name="T67" fmla="*/ 74 h 93"/>
              <a:gd name="T68" fmla="*/ 165 w 217"/>
              <a:gd name="T69" fmla="*/ 64 h 93"/>
              <a:gd name="T70" fmla="*/ 186 w 217"/>
              <a:gd name="T71" fmla="*/ 60 h 93"/>
              <a:gd name="T72" fmla="*/ 201 w 217"/>
              <a:gd name="T73" fmla="*/ 51 h 93"/>
              <a:gd name="T74" fmla="*/ 217 w 217"/>
              <a:gd name="T75" fmla="*/ 4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7" h="93">
                <a:moveTo>
                  <a:pt x="208" y="39"/>
                </a:moveTo>
                <a:cubicBezTo>
                  <a:pt x="206" y="37"/>
                  <a:pt x="202" y="38"/>
                  <a:pt x="201" y="40"/>
                </a:cubicBezTo>
                <a:cubicBezTo>
                  <a:pt x="200" y="42"/>
                  <a:pt x="198" y="39"/>
                  <a:pt x="194" y="39"/>
                </a:cubicBezTo>
                <a:cubicBezTo>
                  <a:pt x="190" y="39"/>
                  <a:pt x="190" y="41"/>
                  <a:pt x="187" y="39"/>
                </a:cubicBezTo>
                <a:cubicBezTo>
                  <a:pt x="185" y="36"/>
                  <a:pt x="188" y="35"/>
                  <a:pt x="188" y="35"/>
                </a:cubicBezTo>
                <a:cubicBezTo>
                  <a:pt x="189" y="32"/>
                  <a:pt x="189" y="32"/>
                  <a:pt x="189" y="32"/>
                </a:cubicBezTo>
                <a:cubicBezTo>
                  <a:pt x="194" y="21"/>
                  <a:pt x="194" y="21"/>
                  <a:pt x="194" y="21"/>
                </a:cubicBezTo>
                <a:cubicBezTo>
                  <a:pt x="193" y="20"/>
                  <a:pt x="190" y="20"/>
                  <a:pt x="189" y="20"/>
                </a:cubicBezTo>
                <a:cubicBezTo>
                  <a:pt x="188" y="21"/>
                  <a:pt x="184" y="20"/>
                  <a:pt x="183" y="19"/>
                </a:cubicBezTo>
                <a:cubicBezTo>
                  <a:pt x="183" y="17"/>
                  <a:pt x="176" y="17"/>
                  <a:pt x="175" y="19"/>
                </a:cubicBezTo>
                <a:cubicBezTo>
                  <a:pt x="173" y="20"/>
                  <a:pt x="169" y="21"/>
                  <a:pt x="169" y="22"/>
                </a:cubicBezTo>
                <a:cubicBezTo>
                  <a:pt x="169" y="24"/>
                  <a:pt x="165" y="23"/>
                  <a:pt x="164" y="24"/>
                </a:cubicBezTo>
                <a:cubicBezTo>
                  <a:pt x="162" y="25"/>
                  <a:pt x="155" y="26"/>
                  <a:pt x="155" y="26"/>
                </a:cubicBezTo>
                <a:cubicBezTo>
                  <a:pt x="155" y="27"/>
                  <a:pt x="147" y="27"/>
                  <a:pt x="146" y="26"/>
                </a:cubicBezTo>
                <a:cubicBezTo>
                  <a:pt x="144" y="25"/>
                  <a:pt x="138" y="26"/>
                  <a:pt x="137" y="25"/>
                </a:cubicBezTo>
                <a:cubicBezTo>
                  <a:pt x="136" y="23"/>
                  <a:pt x="133" y="22"/>
                  <a:pt x="133" y="21"/>
                </a:cubicBezTo>
                <a:cubicBezTo>
                  <a:pt x="133" y="20"/>
                  <a:pt x="128" y="20"/>
                  <a:pt x="128" y="18"/>
                </a:cubicBezTo>
                <a:cubicBezTo>
                  <a:pt x="127" y="17"/>
                  <a:pt x="123" y="16"/>
                  <a:pt x="122" y="17"/>
                </a:cubicBezTo>
                <a:cubicBezTo>
                  <a:pt x="122" y="17"/>
                  <a:pt x="117" y="16"/>
                  <a:pt x="116" y="15"/>
                </a:cubicBezTo>
                <a:cubicBezTo>
                  <a:pt x="115" y="15"/>
                  <a:pt x="111" y="16"/>
                  <a:pt x="110" y="16"/>
                </a:cubicBezTo>
                <a:cubicBezTo>
                  <a:pt x="108" y="16"/>
                  <a:pt x="106" y="19"/>
                  <a:pt x="105" y="19"/>
                </a:cubicBezTo>
                <a:cubicBezTo>
                  <a:pt x="103" y="19"/>
                  <a:pt x="99" y="16"/>
                  <a:pt x="99" y="17"/>
                </a:cubicBezTo>
                <a:cubicBezTo>
                  <a:pt x="98" y="17"/>
                  <a:pt x="95" y="15"/>
                  <a:pt x="94" y="14"/>
                </a:cubicBezTo>
                <a:cubicBezTo>
                  <a:pt x="93" y="12"/>
                  <a:pt x="94" y="9"/>
                  <a:pt x="94" y="8"/>
                </a:cubicBezTo>
                <a:cubicBezTo>
                  <a:pt x="93" y="6"/>
                  <a:pt x="88" y="6"/>
                  <a:pt x="87" y="6"/>
                </a:cubicBezTo>
                <a:cubicBezTo>
                  <a:pt x="85" y="5"/>
                  <a:pt x="83" y="4"/>
                  <a:pt x="82" y="4"/>
                </a:cubicBezTo>
                <a:cubicBezTo>
                  <a:pt x="80" y="4"/>
                  <a:pt x="78" y="3"/>
                  <a:pt x="77" y="3"/>
                </a:cubicBezTo>
                <a:cubicBezTo>
                  <a:pt x="77" y="2"/>
                  <a:pt x="74" y="1"/>
                  <a:pt x="72" y="1"/>
                </a:cubicBezTo>
                <a:cubicBezTo>
                  <a:pt x="71" y="0"/>
                  <a:pt x="71" y="2"/>
                  <a:pt x="70" y="3"/>
                </a:cubicBezTo>
                <a:cubicBezTo>
                  <a:pt x="69" y="4"/>
                  <a:pt x="67" y="4"/>
                  <a:pt x="66" y="5"/>
                </a:cubicBezTo>
                <a:cubicBezTo>
                  <a:pt x="66" y="7"/>
                  <a:pt x="63" y="7"/>
                  <a:pt x="63" y="9"/>
                </a:cubicBezTo>
                <a:cubicBezTo>
                  <a:pt x="64" y="10"/>
                  <a:pt x="65" y="14"/>
                  <a:pt x="66" y="14"/>
                </a:cubicBezTo>
                <a:cubicBezTo>
                  <a:pt x="67" y="15"/>
                  <a:pt x="66" y="18"/>
                  <a:pt x="66" y="19"/>
                </a:cubicBezTo>
                <a:cubicBezTo>
                  <a:pt x="65" y="19"/>
                  <a:pt x="61" y="20"/>
                  <a:pt x="60" y="21"/>
                </a:cubicBezTo>
                <a:cubicBezTo>
                  <a:pt x="59" y="23"/>
                  <a:pt x="57" y="21"/>
                  <a:pt x="55" y="20"/>
                </a:cubicBezTo>
                <a:cubicBezTo>
                  <a:pt x="53" y="19"/>
                  <a:pt x="51" y="20"/>
                  <a:pt x="50" y="20"/>
                </a:cubicBezTo>
                <a:cubicBezTo>
                  <a:pt x="49" y="21"/>
                  <a:pt x="45" y="18"/>
                  <a:pt x="44" y="18"/>
                </a:cubicBezTo>
                <a:cubicBezTo>
                  <a:pt x="43" y="18"/>
                  <a:pt x="43" y="14"/>
                  <a:pt x="42" y="14"/>
                </a:cubicBezTo>
                <a:cubicBezTo>
                  <a:pt x="41" y="14"/>
                  <a:pt x="33" y="13"/>
                  <a:pt x="32" y="13"/>
                </a:cubicBezTo>
                <a:cubicBezTo>
                  <a:pt x="31" y="12"/>
                  <a:pt x="28" y="12"/>
                  <a:pt x="27" y="13"/>
                </a:cubicBezTo>
                <a:cubicBezTo>
                  <a:pt x="27" y="14"/>
                  <a:pt x="23" y="14"/>
                  <a:pt x="23" y="15"/>
                </a:cubicBezTo>
                <a:cubicBezTo>
                  <a:pt x="22" y="17"/>
                  <a:pt x="19" y="17"/>
                  <a:pt x="18" y="19"/>
                </a:cubicBezTo>
                <a:cubicBezTo>
                  <a:pt x="17" y="20"/>
                  <a:pt x="14" y="20"/>
                  <a:pt x="13" y="22"/>
                </a:cubicBezTo>
                <a:cubicBezTo>
                  <a:pt x="12" y="23"/>
                  <a:pt x="8" y="24"/>
                  <a:pt x="6" y="24"/>
                </a:cubicBezTo>
                <a:cubicBezTo>
                  <a:pt x="5" y="25"/>
                  <a:pt x="2" y="25"/>
                  <a:pt x="2" y="26"/>
                </a:cubicBezTo>
                <a:cubicBezTo>
                  <a:pt x="2" y="27"/>
                  <a:pt x="1" y="27"/>
                  <a:pt x="0" y="27"/>
                </a:cubicBezTo>
                <a:cubicBezTo>
                  <a:pt x="1" y="27"/>
                  <a:pt x="1" y="27"/>
                  <a:pt x="1" y="27"/>
                </a:cubicBezTo>
                <a:cubicBezTo>
                  <a:pt x="2" y="32"/>
                  <a:pt x="4" y="32"/>
                  <a:pt x="6" y="34"/>
                </a:cubicBezTo>
                <a:cubicBezTo>
                  <a:pt x="8" y="36"/>
                  <a:pt x="10" y="37"/>
                  <a:pt x="12" y="37"/>
                </a:cubicBezTo>
                <a:cubicBezTo>
                  <a:pt x="14" y="37"/>
                  <a:pt x="17" y="40"/>
                  <a:pt x="18" y="42"/>
                </a:cubicBezTo>
                <a:cubicBezTo>
                  <a:pt x="18" y="44"/>
                  <a:pt x="20" y="46"/>
                  <a:pt x="21" y="47"/>
                </a:cubicBezTo>
                <a:cubicBezTo>
                  <a:pt x="23" y="48"/>
                  <a:pt x="21" y="52"/>
                  <a:pt x="21" y="54"/>
                </a:cubicBezTo>
                <a:cubicBezTo>
                  <a:pt x="21" y="57"/>
                  <a:pt x="18" y="57"/>
                  <a:pt x="19" y="60"/>
                </a:cubicBezTo>
                <a:cubicBezTo>
                  <a:pt x="21" y="62"/>
                  <a:pt x="32" y="64"/>
                  <a:pt x="35" y="64"/>
                </a:cubicBezTo>
                <a:cubicBezTo>
                  <a:pt x="38" y="64"/>
                  <a:pt x="39" y="67"/>
                  <a:pt x="40" y="67"/>
                </a:cubicBezTo>
                <a:cubicBezTo>
                  <a:pt x="42" y="67"/>
                  <a:pt x="42" y="69"/>
                  <a:pt x="45" y="70"/>
                </a:cubicBezTo>
                <a:cubicBezTo>
                  <a:pt x="47" y="70"/>
                  <a:pt x="49" y="72"/>
                  <a:pt x="50" y="76"/>
                </a:cubicBezTo>
                <a:cubicBezTo>
                  <a:pt x="51" y="80"/>
                  <a:pt x="53" y="81"/>
                  <a:pt x="54" y="83"/>
                </a:cubicBezTo>
                <a:cubicBezTo>
                  <a:pt x="54" y="84"/>
                  <a:pt x="59" y="83"/>
                  <a:pt x="63" y="84"/>
                </a:cubicBezTo>
                <a:cubicBezTo>
                  <a:pt x="66" y="84"/>
                  <a:pt x="76" y="84"/>
                  <a:pt x="79" y="84"/>
                </a:cubicBezTo>
                <a:cubicBezTo>
                  <a:pt x="82" y="84"/>
                  <a:pt x="88" y="84"/>
                  <a:pt x="92" y="87"/>
                </a:cubicBezTo>
                <a:cubicBezTo>
                  <a:pt x="95" y="89"/>
                  <a:pt x="97" y="87"/>
                  <a:pt x="99" y="88"/>
                </a:cubicBezTo>
                <a:cubicBezTo>
                  <a:pt x="101" y="90"/>
                  <a:pt x="103" y="91"/>
                  <a:pt x="106" y="90"/>
                </a:cubicBezTo>
                <a:cubicBezTo>
                  <a:pt x="109" y="90"/>
                  <a:pt x="109" y="92"/>
                  <a:pt x="112" y="93"/>
                </a:cubicBezTo>
                <a:cubicBezTo>
                  <a:pt x="114" y="93"/>
                  <a:pt x="118" y="89"/>
                  <a:pt x="124" y="87"/>
                </a:cubicBezTo>
                <a:cubicBezTo>
                  <a:pt x="129" y="84"/>
                  <a:pt x="136" y="86"/>
                  <a:pt x="139" y="86"/>
                </a:cubicBezTo>
                <a:cubicBezTo>
                  <a:pt x="142" y="87"/>
                  <a:pt x="148" y="85"/>
                  <a:pt x="151" y="81"/>
                </a:cubicBezTo>
                <a:cubicBezTo>
                  <a:pt x="155" y="77"/>
                  <a:pt x="159" y="78"/>
                  <a:pt x="160" y="74"/>
                </a:cubicBezTo>
                <a:cubicBezTo>
                  <a:pt x="160" y="71"/>
                  <a:pt x="156" y="69"/>
                  <a:pt x="158" y="66"/>
                </a:cubicBezTo>
                <a:cubicBezTo>
                  <a:pt x="160" y="63"/>
                  <a:pt x="163" y="64"/>
                  <a:pt x="165" y="64"/>
                </a:cubicBezTo>
                <a:cubicBezTo>
                  <a:pt x="167" y="65"/>
                  <a:pt x="171" y="67"/>
                  <a:pt x="176" y="64"/>
                </a:cubicBezTo>
                <a:cubicBezTo>
                  <a:pt x="180" y="60"/>
                  <a:pt x="182" y="61"/>
                  <a:pt x="186" y="60"/>
                </a:cubicBezTo>
                <a:cubicBezTo>
                  <a:pt x="190" y="60"/>
                  <a:pt x="190" y="57"/>
                  <a:pt x="192" y="55"/>
                </a:cubicBezTo>
                <a:cubicBezTo>
                  <a:pt x="195" y="52"/>
                  <a:pt x="198" y="51"/>
                  <a:pt x="201" y="51"/>
                </a:cubicBezTo>
                <a:cubicBezTo>
                  <a:pt x="203" y="51"/>
                  <a:pt x="207" y="48"/>
                  <a:pt x="210" y="49"/>
                </a:cubicBezTo>
                <a:cubicBezTo>
                  <a:pt x="212" y="50"/>
                  <a:pt x="216" y="51"/>
                  <a:pt x="217" y="48"/>
                </a:cubicBezTo>
                <a:cubicBezTo>
                  <a:pt x="217" y="46"/>
                  <a:pt x="210" y="42"/>
                  <a:pt x="208" y="3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 name="Freeform 55"/>
          <p:cNvSpPr/>
          <p:nvPr/>
        </p:nvSpPr>
        <p:spPr bwMode="auto">
          <a:xfrm>
            <a:off x="4896917" y="2478535"/>
            <a:ext cx="7938" cy="28575"/>
          </a:xfrm>
          <a:custGeom>
            <a:avLst/>
            <a:gdLst>
              <a:gd name="T0" fmla="*/ 1 w 3"/>
              <a:gd name="T1" fmla="*/ 0 h 10"/>
              <a:gd name="T2" fmla="*/ 0 w 3"/>
              <a:gd name="T3" fmla="*/ 5 h 10"/>
              <a:gd name="T4" fmla="*/ 2 w 3"/>
              <a:gd name="T5" fmla="*/ 10 h 10"/>
              <a:gd name="T6" fmla="*/ 3 w 3"/>
              <a:gd name="T7" fmla="*/ 2 h 10"/>
              <a:gd name="T8" fmla="*/ 3 w 3"/>
              <a:gd name="T9" fmla="*/ 0 h 10"/>
              <a:gd name="T10" fmla="*/ 1 w 3"/>
              <a:gd name="T11" fmla="*/ 0 h 10"/>
            </a:gdLst>
            <a:ahLst/>
            <a:cxnLst>
              <a:cxn ang="0">
                <a:pos x="T0" y="T1"/>
              </a:cxn>
              <a:cxn ang="0">
                <a:pos x="T2" y="T3"/>
              </a:cxn>
              <a:cxn ang="0">
                <a:pos x="T4" y="T5"/>
              </a:cxn>
              <a:cxn ang="0">
                <a:pos x="T6" y="T7"/>
              </a:cxn>
              <a:cxn ang="0">
                <a:pos x="T8" y="T9"/>
              </a:cxn>
              <a:cxn ang="0">
                <a:pos x="T10" y="T11"/>
              </a:cxn>
            </a:cxnLst>
            <a:rect l="0" t="0" r="r" b="b"/>
            <a:pathLst>
              <a:path w="3" h="10">
                <a:moveTo>
                  <a:pt x="1" y="0"/>
                </a:moveTo>
                <a:cubicBezTo>
                  <a:pt x="0" y="1"/>
                  <a:pt x="0" y="5"/>
                  <a:pt x="0" y="5"/>
                </a:cubicBezTo>
                <a:cubicBezTo>
                  <a:pt x="0" y="6"/>
                  <a:pt x="0" y="8"/>
                  <a:pt x="2" y="10"/>
                </a:cubicBezTo>
                <a:cubicBezTo>
                  <a:pt x="3" y="7"/>
                  <a:pt x="3" y="3"/>
                  <a:pt x="3" y="2"/>
                </a:cubicBezTo>
                <a:cubicBezTo>
                  <a:pt x="3" y="1"/>
                  <a:pt x="3" y="1"/>
                  <a:pt x="3" y="0"/>
                </a:cubicBezTo>
                <a:cubicBezTo>
                  <a:pt x="2" y="0"/>
                  <a:pt x="1" y="0"/>
                  <a:pt x="1"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 name="Freeform 56"/>
          <p:cNvSpPr/>
          <p:nvPr/>
        </p:nvSpPr>
        <p:spPr bwMode="auto">
          <a:xfrm>
            <a:off x="4879455" y="2461073"/>
            <a:ext cx="28575" cy="82550"/>
          </a:xfrm>
          <a:custGeom>
            <a:avLst/>
            <a:gdLst>
              <a:gd name="T0" fmla="*/ 4 w 10"/>
              <a:gd name="T1" fmla="*/ 29 h 29"/>
              <a:gd name="T2" fmla="*/ 5 w 10"/>
              <a:gd name="T3" fmla="*/ 29 h 29"/>
              <a:gd name="T4" fmla="*/ 7 w 10"/>
              <a:gd name="T5" fmla="*/ 19 h 29"/>
              <a:gd name="T6" fmla="*/ 8 w 10"/>
              <a:gd name="T7" fmla="*/ 16 h 29"/>
              <a:gd name="T8" fmla="*/ 6 w 10"/>
              <a:gd name="T9" fmla="*/ 11 h 29"/>
              <a:gd name="T10" fmla="*/ 7 w 10"/>
              <a:gd name="T11" fmla="*/ 6 h 29"/>
              <a:gd name="T12" fmla="*/ 9 w 10"/>
              <a:gd name="T13" fmla="*/ 6 h 29"/>
              <a:gd name="T14" fmla="*/ 10 w 10"/>
              <a:gd name="T15" fmla="*/ 2 h 29"/>
              <a:gd name="T16" fmla="*/ 6 w 10"/>
              <a:gd name="T17" fmla="*/ 0 h 29"/>
              <a:gd name="T18" fmla="*/ 5 w 10"/>
              <a:gd name="T19" fmla="*/ 4 h 29"/>
              <a:gd name="T20" fmla="*/ 0 w 10"/>
              <a:gd name="T21" fmla="*/ 16 h 29"/>
              <a:gd name="T22" fmla="*/ 5 w 10"/>
              <a:gd name="T23" fmla="*/ 28 h 29"/>
              <a:gd name="T24" fmla="*/ 4 w 10"/>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29">
                <a:moveTo>
                  <a:pt x="4" y="29"/>
                </a:moveTo>
                <a:cubicBezTo>
                  <a:pt x="5" y="29"/>
                  <a:pt x="5" y="29"/>
                  <a:pt x="5" y="29"/>
                </a:cubicBezTo>
                <a:cubicBezTo>
                  <a:pt x="6" y="25"/>
                  <a:pt x="7" y="20"/>
                  <a:pt x="7" y="19"/>
                </a:cubicBezTo>
                <a:cubicBezTo>
                  <a:pt x="8" y="19"/>
                  <a:pt x="8" y="17"/>
                  <a:pt x="8" y="16"/>
                </a:cubicBezTo>
                <a:cubicBezTo>
                  <a:pt x="6" y="14"/>
                  <a:pt x="6" y="12"/>
                  <a:pt x="6" y="11"/>
                </a:cubicBezTo>
                <a:cubicBezTo>
                  <a:pt x="6" y="11"/>
                  <a:pt x="6" y="7"/>
                  <a:pt x="7" y="6"/>
                </a:cubicBezTo>
                <a:cubicBezTo>
                  <a:pt x="7" y="6"/>
                  <a:pt x="8" y="6"/>
                  <a:pt x="9" y="6"/>
                </a:cubicBezTo>
                <a:cubicBezTo>
                  <a:pt x="9" y="5"/>
                  <a:pt x="10" y="3"/>
                  <a:pt x="10" y="2"/>
                </a:cubicBezTo>
                <a:cubicBezTo>
                  <a:pt x="6" y="0"/>
                  <a:pt x="6" y="0"/>
                  <a:pt x="6" y="0"/>
                </a:cubicBezTo>
                <a:cubicBezTo>
                  <a:pt x="6" y="1"/>
                  <a:pt x="5" y="3"/>
                  <a:pt x="5" y="4"/>
                </a:cubicBezTo>
                <a:cubicBezTo>
                  <a:pt x="5" y="7"/>
                  <a:pt x="1" y="13"/>
                  <a:pt x="0" y="16"/>
                </a:cubicBezTo>
                <a:cubicBezTo>
                  <a:pt x="5" y="28"/>
                  <a:pt x="5" y="28"/>
                  <a:pt x="5" y="28"/>
                </a:cubicBezTo>
                <a:lnTo>
                  <a:pt x="4" y="29"/>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 name="Freeform 57"/>
          <p:cNvSpPr/>
          <p:nvPr/>
        </p:nvSpPr>
        <p:spPr bwMode="auto">
          <a:xfrm>
            <a:off x="4893742" y="2461073"/>
            <a:ext cx="82550" cy="90488"/>
          </a:xfrm>
          <a:custGeom>
            <a:avLst/>
            <a:gdLst>
              <a:gd name="T0" fmla="*/ 27 w 29"/>
              <a:gd name="T1" fmla="*/ 0 h 32"/>
              <a:gd name="T2" fmla="*/ 18 w 29"/>
              <a:gd name="T3" fmla="*/ 4 h 32"/>
              <a:gd name="T4" fmla="*/ 12 w 29"/>
              <a:gd name="T5" fmla="*/ 8 h 32"/>
              <a:gd name="T6" fmla="*/ 5 w 29"/>
              <a:gd name="T7" fmla="*/ 4 h 32"/>
              <a:gd name="T8" fmla="*/ 5 w 29"/>
              <a:gd name="T9" fmla="*/ 2 h 32"/>
              <a:gd name="T10" fmla="*/ 5 w 29"/>
              <a:gd name="T11" fmla="*/ 2 h 32"/>
              <a:gd name="T12" fmla="*/ 4 w 29"/>
              <a:gd name="T13" fmla="*/ 8 h 32"/>
              <a:gd name="T14" fmla="*/ 2 w 29"/>
              <a:gd name="T15" fmla="*/ 19 h 32"/>
              <a:gd name="T16" fmla="*/ 0 w 29"/>
              <a:gd name="T17" fmla="*/ 29 h 32"/>
              <a:gd name="T18" fmla="*/ 6 w 29"/>
              <a:gd name="T19" fmla="*/ 32 h 32"/>
              <a:gd name="T20" fmla="*/ 12 w 29"/>
              <a:gd name="T21" fmla="*/ 28 h 32"/>
              <a:gd name="T22" fmla="*/ 16 w 29"/>
              <a:gd name="T23" fmla="*/ 26 h 32"/>
              <a:gd name="T24" fmla="*/ 20 w 29"/>
              <a:gd name="T25" fmla="*/ 22 h 32"/>
              <a:gd name="T26" fmla="*/ 15 w 29"/>
              <a:gd name="T27" fmla="*/ 16 h 32"/>
              <a:gd name="T28" fmla="*/ 22 w 29"/>
              <a:gd name="T29" fmla="*/ 12 h 32"/>
              <a:gd name="T30" fmla="*/ 29 w 29"/>
              <a:gd name="T31" fmla="*/ 10 h 32"/>
              <a:gd name="T32" fmla="*/ 29 w 29"/>
              <a:gd name="T33" fmla="*/ 10 h 32"/>
              <a:gd name="T34" fmla="*/ 28 w 29"/>
              <a:gd name="T35" fmla="*/ 3 h 32"/>
              <a:gd name="T36" fmla="*/ 27 w 29"/>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32">
                <a:moveTo>
                  <a:pt x="27" y="0"/>
                </a:moveTo>
                <a:cubicBezTo>
                  <a:pt x="23" y="2"/>
                  <a:pt x="19" y="4"/>
                  <a:pt x="18" y="4"/>
                </a:cubicBezTo>
                <a:cubicBezTo>
                  <a:pt x="16" y="4"/>
                  <a:pt x="12" y="8"/>
                  <a:pt x="12" y="8"/>
                </a:cubicBezTo>
                <a:cubicBezTo>
                  <a:pt x="5" y="4"/>
                  <a:pt x="5" y="4"/>
                  <a:pt x="5" y="4"/>
                </a:cubicBezTo>
                <a:cubicBezTo>
                  <a:pt x="5" y="2"/>
                  <a:pt x="5" y="2"/>
                  <a:pt x="5" y="2"/>
                </a:cubicBezTo>
                <a:cubicBezTo>
                  <a:pt x="5" y="2"/>
                  <a:pt x="5" y="2"/>
                  <a:pt x="5" y="2"/>
                </a:cubicBezTo>
                <a:cubicBezTo>
                  <a:pt x="5" y="4"/>
                  <a:pt x="4" y="7"/>
                  <a:pt x="4" y="8"/>
                </a:cubicBezTo>
                <a:cubicBezTo>
                  <a:pt x="4" y="9"/>
                  <a:pt x="4" y="17"/>
                  <a:pt x="2" y="19"/>
                </a:cubicBezTo>
                <a:cubicBezTo>
                  <a:pt x="2" y="20"/>
                  <a:pt x="1" y="25"/>
                  <a:pt x="0" y="29"/>
                </a:cubicBezTo>
                <a:cubicBezTo>
                  <a:pt x="2" y="30"/>
                  <a:pt x="5" y="32"/>
                  <a:pt x="6" y="32"/>
                </a:cubicBezTo>
                <a:cubicBezTo>
                  <a:pt x="9" y="32"/>
                  <a:pt x="12" y="29"/>
                  <a:pt x="12" y="28"/>
                </a:cubicBezTo>
                <a:cubicBezTo>
                  <a:pt x="12" y="26"/>
                  <a:pt x="14" y="26"/>
                  <a:pt x="16" y="26"/>
                </a:cubicBezTo>
                <a:cubicBezTo>
                  <a:pt x="18" y="26"/>
                  <a:pt x="18" y="23"/>
                  <a:pt x="20" y="22"/>
                </a:cubicBezTo>
                <a:cubicBezTo>
                  <a:pt x="22" y="22"/>
                  <a:pt x="17" y="17"/>
                  <a:pt x="15" y="16"/>
                </a:cubicBezTo>
                <a:cubicBezTo>
                  <a:pt x="13" y="16"/>
                  <a:pt x="16" y="12"/>
                  <a:pt x="22" y="12"/>
                </a:cubicBezTo>
                <a:cubicBezTo>
                  <a:pt x="27" y="12"/>
                  <a:pt x="26" y="10"/>
                  <a:pt x="29" y="10"/>
                </a:cubicBezTo>
                <a:cubicBezTo>
                  <a:pt x="29" y="10"/>
                  <a:pt x="29" y="10"/>
                  <a:pt x="29" y="10"/>
                </a:cubicBezTo>
                <a:cubicBezTo>
                  <a:pt x="29" y="8"/>
                  <a:pt x="28" y="5"/>
                  <a:pt x="28" y="3"/>
                </a:cubicBezTo>
                <a:cubicBezTo>
                  <a:pt x="27" y="2"/>
                  <a:pt x="27" y="1"/>
                  <a:pt x="27"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 name="Freeform 58"/>
          <p:cNvSpPr/>
          <p:nvPr/>
        </p:nvSpPr>
        <p:spPr bwMode="auto">
          <a:xfrm>
            <a:off x="5579542" y="2235648"/>
            <a:ext cx="214313" cy="93663"/>
          </a:xfrm>
          <a:custGeom>
            <a:avLst/>
            <a:gdLst>
              <a:gd name="T0" fmla="*/ 69 w 75"/>
              <a:gd name="T1" fmla="*/ 6 h 33"/>
              <a:gd name="T2" fmla="*/ 63 w 75"/>
              <a:gd name="T3" fmla="*/ 5 h 33"/>
              <a:gd name="T4" fmla="*/ 45 w 75"/>
              <a:gd name="T5" fmla="*/ 4 h 33"/>
              <a:gd name="T6" fmla="*/ 36 w 75"/>
              <a:gd name="T7" fmla="*/ 1 h 33"/>
              <a:gd name="T8" fmla="*/ 29 w 75"/>
              <a:gd name="T9" fmla="*/ 4 h 33"/>
              <a:gd name="T10" fmla="*/ 23 w 75"/>
              <a:gd name="T11" fmla="*/ 5 h 33"/>
              <a:gd name="T12" fmla="*/ 13 w 75"/>
              <a:gd name="T13" fmla="*/ 5 h 33"/>
              <a:gd name="T14" fmla="*/ 9 w 75"/>
              <a:gd name="T15" fmla="*/ 10 h 33"/>
              <a:gd name="T16" fmla="*/ 7 w 75"/>
              <a:gd name="T17" fmla="*/ 14 h 33"/>
              <a:gd name="T18" fmla="*/ 9 w 75"/>
              <a:gd name="T19" fmla="*/ 16 h 33"/>
              <a:gd name="T20" fmla="*/ 15 w 75"/>
              <a:gd name="T21" fmla="*/ 16 h 33"/>
              <a:gd name="T22" fmla="*/ 24 w 75"/>
              <a:gd name="T23" fmla="*/ 20 h 33"/>
              <a:gd name="T24" fmla="*/ 21 w 75"/>
              <a:gd name="T25" fmla="*/ 23 h 33"/>
              <a:gd name="T26" fmla="*/ 15 w 75"/>
              <a:gd name="T27" fmla="*/ 25 h 33"/>
              <a:gd name="T28" fmla="*/ 5 w 75"/>
              <a:gd name="T29" fmla="*/ 26 h 33"/>
              <a:gd name="T30" fmla="*/ 0 w 75"/>
              <a:gd name="T31" fmla="*/ 30 h 33"/>
              <a:gd name="T32" fmla="*/ 10 w 75"/>
              <a:gd name="T33" fmla="*/ 31 h 33"/>
              <a:gd name="T34" fmla="*/ 16 w 75"/>
              <a:gd name="T35" fmla="*/ 31 h 33"/>
              <a:gd name="T36" fmla="*/ 22 w 75"/>
              <a:gd name="T37" fmla="*/ 32 h 33"/>
              <a:gd name="T38" fmla="*/ 31 w 75"/>
              <a:gd name="T39" fmla="*/ 32 h 33"/>
              <a:gd name="T40" fmla="*/ 32 w 75"/>
              <a:gd name="T41" fmla="*/ 28 h 33"/>
              <a:gd name="T42" fmla="*/ 35 w 75"/>
              <a:gd name="T43" fmla="*/ 26 h 33"/>
              <a:gd name="T44" fmla="*/ 39 w 75"/>
              <a:gd name="T45" fmla="*/ 24 h 33"/>
              <a:gd name="T46" fmla="*/ 43 w 75"/>
              <a:gd name="T47" fmla="*/ 23 h 33"/>
              <a:gd name="T48" fmla="*/ 47 w 75"/>
              <a:gd name="T49" fmla="*/ 24 h 33"/>
              <a:gd name="T50" fmla="*/ 51 w 75"/>
              <a:gd name="T51" fmla="*/ 21 h 33"/>
              <a:gd name="T52" fmla="*/ 57 w 75"/>
              <a:gd name="T53" fmla="*/ 19 h 33"/>
              <a:gd name="T54" fmla="*/ 63 w 75"/>
              <a:gd name="T55" fmla="*/ 16 h 33"/>
              <a:gd name="T56" fmla="*/ 68 w 75"/>
              <a:gd name="T57" fmla="*/ 13 h 33"/>
              <a:gd name="T58" fmla="*/ 74 w 75"/>
              <a:gd name="T59" fmla="*/ 10 h 33"/>
              <a:gd name="T60" fmla="*/ 75 w 75"/>
              <a:gd name="T61" fmla="*/ 9 h 33"/>
              <a:gd name="T62" fmla="*/ 69 w 75"/>
              <a:gd name="T63"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 h="33">
                <a:moveTo>
                  <a:pt x="69" y="6"/>
                </a:moveTo>
                <a:cubicBezTo>
                  <a:pt x="66" y="3"/>
                  <a:pt x="66" y="5"/>
                  <a:pt x="63" y="5"/>
                </a:cubicBezTo>
                <a:cubicBezTo>
                  <a:pt x="60" y="4"/>
                  <a:pt x="47" y="3"/>
                  <a:pt x="45" y="4"/>
                </a:cubicBezTo>
                <a:cubicBezTo>
                  <a:pt x="42" y="5"/>
                  <a:pt x="37" y="2"/>
                  <a:pt x="36" y="1"/>
                </a:cubicBezTo>
                <a:cubicBezTo>
                  <a:pt x="34" y="0"/>
                  <a:pt x="29" y="1"/>
                  <a:pt x="29" y="4"/>
                </a:cubicBezTo>
                <a:cubicBezTo>
                  <a:pt x="28" y="7"/>
                  <a:pt x="26" y="7"/>
                  <a:pt x="23" y="5"/>
                </a:cubicBezTo>
                <a:cubicBezTo>
                  <a:pt x="19" y="3"/>
                  <a:pt x="13" y="3"/>
                  <a:pt x="13" y="5"/>
                </a:cubicBezTo>
                <a:cubicBezTo>
                  <a:pt x="13" y="7"/>
                  <a:pt x="10" y="9"/>
                  <a:pt x="9" y="10"/>
                </a:cubicBezTo>
                <a:cubicBezTo>
                  <a:pt x="8" y="10"/>
                  <a:pt x="8" y="12"/>
                  <a:pt x="7" y="14"/>
                </a:cubicBezTo>
                <a:cubicBezTo>
                  <a:pt x="8" y="14"/>
                  <a:pt x="9" y="15"/>
                  <a:pt x="9" y="16"/>
                </a:cubicBezTo>
                <a:cubicBezTo>
                  <a:pt x="11" y="17"/>
                  <a:pt x="14" y="17"/>
                  <a:pt x="15" y="16"/>
                </a:cubicBezTo>
                <a:cubicBezTo>
                  <a:pt x="15" y="14"/>
                  <a:pt x="21" y="17"/>
                  <a:pt x="24" y="20"/>
                </a:cubicBezTo>
                <a:cubicBezTo>
                  <a:pt x="28" y="23"/>
                  <a:pt x="23" y="21"/>
                  <a:pt x="21" y="23"/>
                </a:cubicBezTo>
                <a:cubicBezTo>
                  <a:pt x="20" y="26"/>
                  <a:pt x="16" y="23"/>
                  <a:pt x="15" y="25"/>
                </a:cubicBezTo>
                <a:cubicBezTo>
                  <a:pt x="14" y="26"/>
                  <a:pt x="7" y="26"/>
                  <a:pt x="5" y="26"/>
                </a:cubicBezTo>
                <a:cubicBezTo>
                  <a:pt x="3" y="26"/>
                  <a:pt x="0" y="29"/>
                  <a:pt x="0" y="30"/>
                </a:cubicBezTo>
                <a:cubicBezTo>
                  <a:pt x="0" y="31"/>
                  <a:pt x="7" y="29"/>
                  <a:pt x="10" y="31"/>
                </a:cubicBezTo>
                <a:cubicBezTo>
                  <a:pt x="12" y="32"/>
                  <a:pt x="15" y="29"/>
                  <a:pt x="16" y="31"/>
                </a:cubicBezTo>
                <a:cubicBezTo>
                  <a:pt x="17" y="33"/>
                  <a:pt x="20" y="32"/>
                  <a:pt x="22" y="32"/>
                </a:cubicBezTo>
                <a:cubicBezTo>
                  <a:pt x="23" y="33"/>
                  <a:pt x="30" y="32"/>
                  <a:pt x="31" y="32"/>
                </a:cubicBezTo>
                <a:cubicBezTo>
                  <a:pt x="31" y="31"/>
                  <a:pt x="32" y="29"/>
                  <a:pt x="32" y="28"/>
                </a:cubicBezTo>
                <a:cubicBezTo>
                  <a:pt x="32" y="26"/>
                  <a:pt x="33" y="27"/>
                  <a:pt x="35" y="26"/>
                </a:cubicBezTo>
                <a:cubicBezTo>
                  <a:pt x="36" y="26"/>
                  <a:pt x="37" y="24"/>
                  <a:pt x="39" y="24"/>
                </a:cubicBezTo>
                <a:cubicBezTo>
                  <a:pt x="40" y="24"/>
                  <a:pt x="41" y="22"/>
                  <a:pt x="43" y="23"/>
                </a:cubicBezTo>
                <a:cubicBezTo>
                  <a:pt x="44" y="23"/>
                  <a:pt x="45" y="25"/>
                  <a:pt x="47" y="24"/>
                </a:cubicBezTo>
                <a:cubicBezTo>
                  <a:pt x="48" y="23"/>
                  <a:pt x="49" y="24"/>
                  <a:pt x="51" y="21"/>
                </a:cubicBezTo>
                <a:cubicBezTo>
                  <a:pt x="53" y="19"/>
                  <a:pt x="55" y="19"/>
                  <a:pt x="57" y="19"/>
                </a:cubicBezTo>
                <a:cubicBezTo>
                  <a:pt x="61" y="20"/>
                  <a:pt x="62" y="18"/>
                  <a:pt x="63" y="16"/>
                </a:cubicBezTo>
                <a:cubicBezTo>
                  <a:pt x="64" y="14"/>
                  <a:pt x="66" y="14"/>
                  <a:pt x="68" y="13"/>
                </a:cubicBezTo>
                <a:cubicBezTo>
                  <a:pt x="70" y="12"/>
                  <a:pt x="73" y="11"/>
                  <a:pt x="74" y="10"/>
                </a:cubicBezTo>
                <a:cubicBezTo>
                  <a:pt x="75" y="10"/>
                  <a:pt x="75" y="9"/>
                  <a:pt x="75" y="9"/>
                </a:cubicBezTo>
                <a:cubicBezTo>
                  <a:pt x="72" y="7"/>
                  <a:pt x="71" y="9"/>
                  <a:pt x="69"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 name="Freeform 59"/>
          <p:cNvSpPr/>
          <p:nvPr/>
        </p:nvSpPr>
        <p:spPr bwMode="auto">
          <a:xfrm>
            <a:off x="4990580" y="2224535"/>
            <a:ext cx="136525" cy="61913"/>
          </a:xfrm>
          <a:custGeom>
            <a:avLst/>
            <a:gdLst>
              <a:gd name="T0" fmla="*/ 19 w 48"/>
              <a:gd name="T1" fmla="*/ 17 h 22"/>
              <a:gd name="T2" fmla="*/ 24 w 48"/>
              <a:gd name="T3" fmla="*/ 21 h 22"/>
              <a:gd name="T4" fmla="*/ 24 w 48"/>
              <a:gd name="T5" fmla="*/ 21 h 22"/>
              <a:gd name="T6" fmla="*/ 31 w 48"/>
              <a:gd name="T7" fmla="*/ 20 h 22"/>
              <a:gd name="T8" fmla="*/ 37 w 48"/>
              <a:gd name="T9" fmla="*/ 21 h 22"/>
              <a:gd name="T10" fmla="*/ 37 w 48"/>
              <a:gd name="T11" fmla="*/ 19 h 22"/>
              <a:gd name="T12" fmla="*/ 42 w 48"/>
              <a:gd name="T13" fmla="*/ 20 h 22"/>
              <a:gd name="T14" fmla="*/ 47 w 48"/>
              <a:gd name="T15" fmla="*/ 21 h 22"/>
              <a:gd name="T16" fmla="*/ 45 w 48"/>
              <a:gd name="T17" fmla="*/ 18 h 22"/>
              <a:gd name="T18" fmla="*/ 46 w 48"/>
              <a:gd name="T19" fmla="*/ 15 h 22"/>
              <a:gd name="T20" fmla="*/ 42 w 48"/>
              <a:gd name="T21" fmla="*/ 13 h 22"/>
              <a:gd name="T22" fmla="*/ 40 w 48"/>
              <a:gd name="T23" fmla="*/ 9 h 22"/>
              <a:gd name="T24" fmla="*/ 37 w 48"/>
              <a:gd name="T25" fmla="*/ 8 h 22"/>
              <a:gd name="T26" fmla="*/ 30 w 48"/>
              <a:gd name="T27" fmla="*/ 9 h 22"/>
              <a:gd name="T28" fmla="*/ 26 w 48"/>
              <a:gd name="T29" fmla="*/ 7 h 22"/>
              <a:gd name="T30" fmla="*/ 22 w 48"/>
              <a:gd name="T31" fmla="*/ 4 h 22"/>
              <a:gd name="T32" fmla="*/ 11 w 48"/>
              <a:gd name="T33" fmla="*/ 3 h 22"/>
              <a:gd name="T34" fmla="*/ 3 w 48"/>
              <a:gd name="T35" fmla="*/ 1 h 22"/>
              <a:gd name="T36" fmla="*/ 0 w 48"/>
              <a:gd name="T37" fmla="*/ 2 h 22"/>
              <a:gd name="T38" fmla="*/ 11 w 48"/>
              <a:gd name="T39" fmla="*/ 8 h 22"/>
              <a:gd name="T40" fmla="*/ 14 w 48"/>
              <a:gd name="T41" fmla="*/ 15 h 22"/>
              <a:gd name="T42" fmla="*/ 12 w 48"/>
              <a:gd name="T43" fmla="*/ 17 h 22"/>
              <a:gd name="T44" fmla="*/ 19 w 48"/>
              <a:gd name="T45"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22">
                <a:moveTo>
                  <a:pt x="19" y="17"/>
                </a:moveTo>
                <a:cubicBezTo>
                  <a:pt x="21" y="16"/>
                  <a:pt x="22" y="18"/>
                  <a:pt x="24" y="21"/>
                </a:cubicBezTo>
                <a:cubicBezTo>
                  <a:pt x="24" y="21"/>
                  <a:pt x="24" y="21"/>
                  <a:pt x="24" y="21"/>
                </a:cubicBezTo>
                <a:cubicBezTo>
                  <a:pt x="27" y="21"/>
                  <a:pt x="29" y="20"/>
                  <a:pt x="31" y="20"/>
                </a:cubicBezTo>
                <a:cubicBezTo>
                  <a:pt x="33" y="20"/>
                  <a:pt x="36" y="20"/>
                  <a:pt x="37" y="21"/>
                </a:cubicBezTo>
                <a:cubicBezTo>
                  <a:pt x="37" y="20"/>
                  <a:pt x="37" y="19"/>
                  <a:pt x="37" y="19"/>
                </a:cubicBezTo>
                <a:cubicBezTo>
                  <a:pt x="38" y="18"/>
                  <a:pt x="41" y="19"/>
                  <a:pt x="42" y="20"/>
                </a:cubicBezTo>
                <a:cubicBezTo>
                  <a:pt x="43" y="21"/>
                  <a:pt x="46" y="22"/>
                  <a:pt x="47" y="21"/>
                </a:cubicBezTo>
                <a:cubicBezTo>
                  <a:pt x="48" y="20"/>
                  <a:pt x="45" y="19"/>
                  <a:pt x="45" y="18"/>
                </a:cubicBezTo>
                <a:cubicBezTo>
                  <a:pt x="45" y="17"/>
                  <a:pt x="45" y="16"/>
                  <a:pt x="46" y="15"/>
                </a:cubicBezTo>
                <a:cubicBezTo>
                  <a:pt x="44" y="14"/>
                  <a:pt x="43" y="13"/>
                  <a:pt x="42" y="13"/>
                </a:cubicBezTo>
                <a:cubicBezTo>
                  <a:pt x="41" y="13"/>
                  <a:pt x="41" y="9"/>
                  <a:pt x="40" y="9"/>
                </a:cubicBezTo>
                <a:cubicBezTo>
                  <a:pt x="39" y="9"/>
                  <a:pt x="39" y="8"/>
                  <a:pt x="37" y="8"/>
                </a:cubicBezTo>
                <a:cubicBezTo>
                  <a:pt x="36" y="8"/>
                  <a:pt x="32" y="8"/>
                  <a:pt x="30" y="9"/>
                </a:cubicBezTo>
                <a:cubicBezTo>
                  <a:pt x="29" y="10"/>
                  <a:pt x="28" y="7"/>
                  <a:pt x="26" y="7"/>
                </a:cubicBezTo>
                <a:cubicBezTo>
                  <a:pt x="25" y="7"/>
                  <a:pt x="23" y="5"/>
                  <a:pt x="22" y="4"/>
                </a:cubicBezTo>
                <a:cubicBezTo>
                  <a:pt x="21" y="3"/>
                  <a:pt x="13" y="5"/>
                  <a:pt x="11" y="3"/>
                </a:cubicBezTo>
                <a:cubicBezTo>
                  <a:pt x="9" y="2"/>
                  <a:pt x="5" y="0"/>
                  <a:pt x="3" y="1"/>
                </a:cubicBezTo>
                <a:cubicBezTo>
                  <a:pt x="2" y="1"/>
                  <a:pt x="1" y="1"/>
                  <a:pt x="0" y="2"/>
                </a:cubicBezTo>
                <a:cubicBezTo>
                  <a:pt x="4" y="4"/>
                  <a:pt x="10" y="4"/>
                  <a:pt x="11" y="8"/>
                </a:cubicBezTo>
                <a:cubicBezTo>
                  <a:pt x="12" y="13"/>
                  <a:pt x="15" y="11"/>
                  <a:pt x="14" y="15"/>
                </a:cubicBezTo>
                <a:cubicBezTo>
                  <a:pt x="13" y="16"/>
                  <a:pt x="13" y="16"/>
                  <a:pt x="12" y="17"/>
                </a:cubicBezTo>
                <a:cubicBezTo>
                  <a:pt x="15" y="17"/>
                  <a:pt x="18" y="17"/>
                  <a:pt x="19" y="1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 name="Freeform 60"/>
          <p:cNvSpPr>
            <a:spLocks noEditPoints="1"/>
          </p:cNvSpPr>
          <p:nvPr/>
        </p:nvSpPr>
        <p:spPr bwMode="auto">
          <a:xfrm>
            <a:off x="4719117" y="2259460"/>
            <a:ext cx="371475" cy="147638"/>
          </a:xfrm>
          <a:custGeom>
            <a:avLst/>
            <a:gdLst>
              <a:gd name="T0" fmla="*/ 126 w 130"/>
              <a:gd name="T1" fmla="*/ 36 h 52"/>
              <a:gd name="T2" fmla="*/ 126 w 130"/>
              <a:gd name="T3" fmla="*/ 29 h 52"/>
              <a:gd name="T4" fmla="*/ 126 w 130"/>
              <a:gd name="T5" fmla="*/ 23 h 52"/>
              <a:gd name="T6" fmla="*/ 128 w 130"/>
              <a:gd name="T7" fmla="*/ 20 h 52"/>
              <a:gd name="T8" fmla="*/ 126 w 130"/>
              <a:gd name="T9" fmla="*/ 17 h 52"/>
              <a:gd name="T10" fmla="*/ 121 w 130"/>
              <a:gd name="T11" fmla="*/ 15 h 52"/>
              <a:gd name="T12" fmla="*/ 119 w 130"/>
              <a:gd name="T13" fmla="*/ 9 h 52"/>
              <a:gd name="T14" fmla="*/ 114 w 130"/>
              <a:gd name="T15" fmla="*/ 5 h 52"/>
              <a:gd name="T16" fmla="*/ 107 w 130"/>
              <a:gd name="T17" fmla="*/ 5 h 52"/>
              <a:gd name="T18" fmla="*/ 94 w 130"/>
              <a:gd name="T19" fmla="*/ 9 h 52"/>
              <a:gd name="T20" fmla="*/ 82 w 130"/>
              <a:gd name="T21" fmla="*/ 10 h 52"/>
              <a:gd name="T22" fmla="*/ 74 w 130"/>
              <a:gd name="T23" fmla="*/ 7 h 52"/>
              <a:gd name="T24" fmla="*/ 68 w 130"/>
              <a:gd name="T25" fmla="*/ 4 h 52"/>
              <a:gd name="T26" fmla="*/ 58 w 130"/>
              <a:gd name="T27" fmla="*/ 2 h 52"/>
              <a:gd name="T28" fmla="*/ 37 w 130"/>
              <a:gd name="T29" fmla="*/ 8 h 52"/>
              <a:gd name="T30" fmla="*/ 22 w 130"/>
              <a:gd name="T31" fmla="*/ 9 h 52"/>
              <a:gd name="T32" fmla="*/ 18 w 130"/>
              <a:gd name="T33" fmla="*/ 14 h 52"/>
              <a:gd name="T34" fmla="*/ 4 w 130"/>
              <a:gd name="T35" fmla="*/ 15 h 52"/>
              <a:gd name="T36" fmla="*/ 2 w 130"/>
              <a:gd name="T37" fmla="*/ 20 h 52"/>
              <a:gd name="T38" fmla="*/ 5 w 130"/>
              <a:gd name="T39" fmla="*/ 22 h 52"/>
              <a:gd name="T40" fmla="*/ 6 w 130"/>
              <a:gd name="T41" fmla="*/ 27 h 52"/>
              <a:gd name="T42" fmla="*/ 6 w 130"/>
              <a:gd name="T43" fmla="*/ 32 h 52"/>
              <a:gd name="T44" fmla="*/ 6 w 130"/>
              <a:gd name="T45" fmla="*/ 36 h 52"/>
              <a:gd name="T46" fmla="*/ 10 w 130"/>
              <a:gd name="T47" fmla="*/ 40 h 52"/>
              <a:gd name="T48" fmla="*/ 14 w 130"/>
              <a:gd name="T49" fmla="*/ 42 h 52"/>
              <a:gd name="T50" fmla="*/ 18 w 130"/>
              <a:gd name="T51" fmla="*/ 43 h 52"/>
              <a:gd name="T52" fmla="*/ 22 w 130"/>
              <a:gd name="T53" fmla="*/ 48 h 52"/>
              <a:gd name="T54" fmla="*/ 31 w 130"/>
              <a:gd name="T55" fmla="*/ 46 h 52"/>
              <a:gd name="T56" fmla="*/ 36 w 130"/>
              <a:gd name="T57" fmla="*/ 44 h 52"/>
              <a:gd name="T58" fmla="*/ 46 w 130"/>
              <a:gd name="T59" fmla="*/ 49 h 52"/>
              <a:gd name="T60" fmla="*/ 53 w 130"/>
              <a:gd name="T61" fmla="*/ 48 h 52"/>
              <a:gd name="T62" fmla="*/ 59 w 130"/>
              <a:gd name="T63" fmla="*/ 44 h 52"/>
              <a:gd name="T64" fmla="*/ 64 w 130"/>
              <a:gd name="T65" fmla="*/ 45 h 52"/>
              <a:gd name="T66" fmla="*/ 70 w 130"/>
              <a:gd name="T67" fmla="*/ 44 h 52"/>
              <a:gd name="T68" fmla="*/ 68 w 130"/>
              <a:gd name="T69" fmla="*/ 49 h 52"/>
              <a:gd name="T70" fmla="*/ 68 w 130"/>
              <a:gd name="T71" fmla="*/ 52 h 52"/>
              <a:gd name="T72" fmla="*/ 72 w 130"/>
              <a:gd name="T73" fmla="*/ 47 h 52"/>
              <a:gd name="T74" fmla="*/ 75 w 130"/>
              <a:gd name="T75" fmla="*/ 45 h 52"/>
              <a:gd name="T76" fmla="*/ 81 w 130"/>
              <a:gd name="T77" fmla="*/ 45 h 52"/>
              <a:gd name="T78" fmla="*/ 85 w 130"/>
              <a:gd name="T79" fmla="*/ 44 h 52"/>
              <a:gd name="T80" fmla="*/ 93 w 130"/>
              <a:gd name="T81" fmla="*/ 45 h 52"/>
              <a:gd name="T82" fmla="*/ 103 w 130"/>
              <a:gd name="T83" fmla="*/ 42 h 52"/>
              <a:gd name="T84" fmla="*/ 110 w 130"/>
              <a:gd name="T85" fmla="*/ 41 h 52"/>
              <a:gd name="T86" fmla="*/ 113 w 130"/>
              <a:gd name="T87" fmla="*/ 42 h 52"/>
              <a:gd name="T88" fmla="*/ 116 w 130"/>
              <a:gd name="T89" fmla="*/ 39 h 52"/>
              <a:gd name="T90" fmla="*/ 122 w 130"/>
              <a:gd name="T91" fmla="*/ 40 h 52"/>
              <a:gd name="T92" fmla="*/ 129 w 130"/>
              <a:gd name="T93" fmla="*/ 42 h 52"/>
              <a:gd name="T94" fmla="*/ 126 w 130"/>
              <a:gd name="T95" fmla="*/ 36 h 52"/>
              <a:gd name="T96" fmla="*/ 11 w 130"/>
              <a:gd name="T97" fmla="*/ 10 h 52"/>
              <a:gd name="T98" fmla="*/ 21 w 130"/>
              <a:gd name="T99" fmla="*/ 9 h 52"/>
              <a:gd name="T100" fmla="*/ 15 w 130"/>
              <a:gd name="T101" fmla="*/ 5 h 52"/>
              <a:gd name="T102" fmla="*/ 14 w 130"/>
              <a:gd name="T103" fmla="*/ 1 h 52"/>
              <a:gd name="T104" fmla="*/ 11 w 130"/>
              <a:gd name="T105" fmla="*/ 2 h 52"/>
              <a:gd name="T106" fmla="*/ 4 w 130"/>
              <a:gd name="T107" fmla="*/ 2 h 52"/>
              <a:gd name="T108" fmla="*/ 4 w 130"/>
              <a:gd name="T109" fmla="*/ 6 h 52"/>
              <a:gd name="T110" fmla="*/ 3 w 130"/>
              <a:gd name="T111" fmla="*/ 10 h 52"/>
              <a:gd name="T112" fmla="*/ 1 w 130"/>
              <a:gd name="T113" fmla="*/ 12 h 52"/>
              <a:gd name="T114" fmla="*/ 5 w 130"/>
              <a:gd name="T115" fmla="*/ 14 h 52"/>
              <a:gd name="T116" fmla="*/ 11 w 130"/>
              <a:gd name="T1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52">
                <a:moveTo>
                  <a:pt x="126" y="36"/>
                </a:moveTo>
                <a:cubicBezTo>
                  <a:pt x="125" y="36"/>
                  <a:pt x="127" y="30"/>
                  <a:pt x="126" y="29"/>
                </a:cubicBezTo>
                <a:cubicBezTo>
                  <a:pt x="125" y="28"/>
                  <a:pt x="124" y="23"/>
                  <a:pt x="126" y="23"/>
                </a:cubicBezTo>
                <a:cubicBezTo>
                  <a:pt x="127" y="23"/>
                  <a:pt x="126" y="20"/>
                  <a:pt x="128" y="20"/>
                </a:cubicBezTo>
                <a:cubicBezTo>
                  <a:pt x="127" y="18"/>
                  <a:pt x="127" y="17"/>
                  <a:pt x="126" y="17"/>
                </a:cubicBezTo>
                <a:cubicBezTo>
                  <a:pt x="125" y="16"/>
                  <a:pt x="122" y="18"/>
                  <a:pt x="121" y="15"/>
                </a:cubicBezTo>
                <a:cubicBezTo>
                  <a:pt x="120" y="12"/>
                  <a:pt x="121" y="11"/>
                  <a:pt x="119" y="9"/>
                </a:cubicBezTo>
                <a:cubicBezTo>
                  <a:pt x="117" y="6"/>
                  <a:pt x="116" y="4"/>
                  <a:pt x="114" y="5"/>
                </a:cubicBezTo>
                <a:cubicBezTo>
                  <a:pt x="113" y="5"/>
                  <a:pt x="110" y="5"/>
                  <a:pt x="107" y="5"/>
                </a:cubicBezTo>
                <a:cubicBezTo>
                  <a:pt x="104" y="8"/>
                  <a:pt x="96" y="10"/>
                  <a:pt x="94" y="9"/>
                </a:cubicBezTo>
                <a:cubicBezTo>
                  <a:pt x="92" y="8"/>
                  <a:pt x="86" y="10"/>
                  <a:pt x="82" y="10"/>
                </a:cubicBezTo>
                <a:cubicBezTo>
                  <a:pt x="78" y="10"/>
                  <a:pt x="77" y="7"/>
                  <a:pt x="74" y="7"/>
                </a:cubicBezTo>
                <a:cubicBezTo>
                  <a:pt x="71" y="7"/>
                  <a:pt x="71" y="4"/>
                  <a:pt x="68" y="4"/>
                </a:cubicBezTo>
                <a:cubicBezTo>
                  <a:pt x="65" y="4"/>
                  <a:pt x="67" y="3"/>
                  <a:pt x="58" y="2"/>
                </a:cubicBezTo>
                <a:cubicBezTo>
                  <a:pt x="48" y="0"/>
                  <a:pt x="40" y="5"/>
                  <a:pt x="37" y="8"/>
                </a:cubicBezTo>
                <a:cubicBezTo>
                  <a:pt x="34" y="11"/>
                  <a:pt x="23" y="8"/>
                  <a:pt x="22" y="9"/>
                </a:cubicBezTo>
                <a:cubicBezTo>
                  <a:pt x="21" y="10"/>
                  <a:pt x="22" y="13"/>
                  <a:pt x="18" y="14"/>
                </a:cubicBezTo>
                <a:cubicBezTo>
                  <a:pt x="15" y="16"/>
                  <a:pt x="7" y="14"/>
                  <a:pt x="4" y="15"/>
                </a:cubicBezTo>
                <a:cubicBezTo>
                  <a:pt x="1" y="17"/>
                  <a:pt x="0" y="21"/>
                  <a:pt x="2" y="20"/>
                </a:cubicBezTo>
                <a:cubicBezTo>
                  <a:pt x="5" y="20"/>
                  <a:pt x="6" y="21"/>
                  <a:pt x="5" y="22"/>
                </a:cubicBezTo>
                <a:cubicBezTo>
                  <a:pt x="5" y="23"/>
                  <a:pt x="7" y="26"/>
                  <a:pt x="6" y="27"/>
                </a:cubicBezTo>
                <a:cubicBezTo>
                  <a:pt x="5" y="29"/>
                  <a:pt x="4" y="31"/>
                  <a:pt x="6" y="32"/>
                </a:cubicBezTo>
                <a:cubicBezTo>
                  <a:pt x="8" y="33"/>
                  <a:pt x="8" y="36"/>
                  <a:pt x="6" y="36"/>
                </a:cubicBezTo>
                <a:cubicBezTo>
                  <a:pt x="4" y="36"/>
                  <a:pt x="9" y="39"/>
                  <a:pt x="10" y="40"/>
                </a:cubicBezTo>
                <a:cubicBezTo>
                  <a:pt x="10" y="41"/>
                  <a:pt x="14" y="41"/>
                  <a:pt x="14" y="42"/>
                </a:cubicBezTo>
                <a:cubicBezTo>
                  <a:pt x="14" y="44"/>
                  <a:pt x="15" y="44"/>
                  <a:pt x="18" y="43"/>
                </a:cubicBezTo>
                <a:cubicBezTo>
                  <a:pt x="20" y="43"/>
                  <a:pt x="20" y="46"/>
                  <a:pt x="22" y="48"/>
                </a:cubicBezTo>
                <a:cubicBezTo>
                  <a:pt x="23" y="50"/>
                  <a:pt x="31" y="48"/>
                  <a:pt x="31" y="46"/>
                </a:cubicBezTo>
                <a:cubicBezTo>
                  <a:pt x="31" y="44"/>
                  <a:pt x="33" y="43"/>
                  <a:pt x="36" y="44"/>
                </a:cubicBezTo>
                <a:cubicBezTo>
                  <a:pt x="40" y="44"/>
                  <a:pt x="44" y="48"/>
                  <a:pt x="46" y="49"/>
                </a:cubicBezTo>
                <a:cubicBezTo>
                  <a:pt x="47" y="50"/>
                  <a:pt x="51" y="48"/>
                  <a:pt x="53" y="48"/>
                </a:cubicBezTo>
                <a:cubicBezTo>
                  <a:pt x="55" y="48"/>
                  <a:pt x="58" y="44"/>
                  <a:pt x="59" y="44"/>
                </a:cubicBezTo>
                <a:cubicBezTo>
                  <a:pt x="60" y="43"/>
                  <a:pt x="63" y="46"/>
                  <a:pt x="64" y="45"/>
                </a:cubicBezTo>
                <a:cubicBezTo>
                  <a:pt x="66" y="44"/>
                  <a:pt x="69" y="43"/>
                  <a:pt x="70" y="44"/>
                </a:cubicBezTo>
                <a:cubicBezTo>
                  <a:pt x="71" y="44"/>
                  <a:pt x="67" y="48"/>
                  <a:pt x="68" y="49"/>
                </a:cubicBezTo>
                <a:cubicBezTo>
                  <a:pt x="68" y="50"/>
                  <a:pt x="68" y="51"/>
                  <a:pt x="68" y="52"/>
                </a:cubicBezTo>
                <a:cubicBezTo>
                  <a:pt x="72" y="51"/>
                  <a:pt x="72" y="48"/>
                  <a:pt x="72" y="47"/>
                </a:cubicBezTo>
                <a:cubicBezTo>
                  <a:pt x="72" y="45"/>
                  <a:pt x="74" y="44"/>
                  <a:pt x="75" y="45"/>
                </a:cubicBezTo>
                <a:cubicBezTo>
                  <a:pt x="76" y="46"/>
                  <a:pt x="78" y="46"/>
                  <a:pt x="81" y="45"/>
                </a:cubicBezTo>
                <a:cubicBezTo>
                  <a:pt x="84" y="44"/>
                  <a:pt x="84" y="43"/>
                  <a:pt x="85" y="44"/>
                </a:cubicBezTo>
                <a:cubicBezTo>
                  <a:pt x="87" y="46"/>
                  <a:pt x="89" y="45"/>
                  <a:pt x="93" y="45"/>
                </a:cubicBezTo>
                <a:cubicBezTo>
                  <a:pt x="98" y="45"/>
                  <a:pt x="99" y="42"/>
                  <a:pt x="103" y="42"/>
                </a:cubicBezTo>
                <a:cubicBezTo>
                  <a:pt x="107" y="42"/>
                  <a:pt x="110" y="41"/>
                  <a:pt x="110" y="41"/>
                </a:cubicBezTo>
                <a:cubicBezTo>
                  <a:pt x="113" y="42"/>
                  <a:pt x="113" y="42"/>
                  <a:pt x="113" y="42"/>
                </a:cubicBezTo>
                <a:cubicBezTo>
                  <a:pt x="114" y="41"/>
                  <a:pt x="114" y="39"/>
                  <a:pt x="116" y="39"/>
                </a:cubicBezTo>
                <a:cubicBezTo>
                  <a:pt x="119" y="39"/>
                  <a:pt x="120" y="41"/>
                  <a:pt x="122" y="40"/>
                </a:cubicBezTo>
                <a:cubicBezTo>
                  <a:pt x="124" y="40"/>
                  <a:pt x="129" y="45"/>
                  <a:pt x="129" y="42"/>
                </a:cubicBezTo>
                <a:cubicBezTo>
                  <a:pt x="130" y="41"/>
                  <a:pt x="127" y="36"/>
                  <a:pt x="126" y="36"/>
                </a:cubicBezTo>
                <a:close/>
                <a:moveTo>
                  <a:pt x="11" y="10"/>
                </a:moveTo>
                <a:cubicBezTo>
                  <a:pt x="14" y="9"/>
                  <a:pt x="19" y="10"/>
                  <a:pt x="21" y="9"/>
                </a:cubicBezTo>
                <a:cubicBezTo>
                  <a:pt x="22" y="8"/>
                  <a:pt x="17" y="6"/>
                  <a:pt x="15" y="5"/>
                </a:cubicBezTo>
                <a:cubicBezTo>
                  <a:pt x="14" y="4"/>
                  <a:pt x="14" y="2"/>
                  <a:pt x="14" y="1"/>
                </a:cubicBezTo>
                <a:cubicBezTo>
                  <a:pt x="13" y="2"/>
                  <a:pt x="12" y="2"/>
                  <a:pt x="11" y="2"/>
                </a:cubicBezTo>
                <a:cubicBezTo>
                  <a:pt x="9" y="1"/>
                  <a:pt x="5" y="1"/>
                  <a:pt x="4" y="2"/>
                </a:cubicBezTo>
                <a:cubicBezTo>
                  <a:pt x="3" y="2"/>
                  <a:pt x="4" y="5"/>
                  <a:pt x="4" y="6"/>
                </a:cubicBezTo>
                <a:cubicBezTo>
                  <a:pt x="4" y="8"/>
                  <a:pt x="3" y="8"/>
                  <a:pt x="3" y="10"/>
                </a:cubicBezTo>
                <a:cubicBezTo>
                  <a:pt x="3" y="10"/>
                  <a:pt x="2" y="11"/>
                  <a:pt x="1" y="12"/>
                </a:cubicBezTo>
                <a:cubicBezTo>
                  <a:pt x="2" y="13"/>
                  <a:pt x="4" y="14"/>
                  <a:pt x="5" y="14"/>
                </a:cubicBezTo>
                <a:cubicBezTo>
                  <a:pt x="8" y="14"/>
                  <a:pt x="9" y="11"/>
                  <a:pt x="11" y="1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 name="Freeform 61"/>
          <p:cNvSpPr/>
          <p:nvPr/>
        </p:nvSpPr>
        <p:spPr bwMode="auto">
          <a:xfrm>
            <a:off x="5747817" y="2407098"/>
            <a:ext cx="49213" cy="42863"/>
          </a:xfrm>
          <a:custGeom>
            <a:avLst/>
            <a:gdLst>
              <a:gd name="T0" fmla="*/ 8 w 17"/>
              <a:gd name="T1" fmla="*/ 0 h 15"/>
              <a:gd name="T2" fmla="*/ 0 w 17"/>
              <a:gd name="T3" fmla="*/ 5 h 15"/>
              <a:gd name="T4" fmla="*/ 1 w 17"/>
              <a:gd name="T5" fmla="*/ 7 h 15"/>
              <a:gd name="T6" fmla="*/ 6 w 17"/>
              <a:gd name="T7" fmla="*/ 11 h 15"/>
              <a:gd name="T8" fmla="*/ 6 w 17"/>
              <a:gd name="T9" fmla="*/ 15 h 15"/>
              <a:gd name="T10" fmla="*/ 9 w 17"/>
              <a:gd name="T11" fmla="*/ 15 h 15"/>
              <a:gd name="T12" fmla="*/ 16 w 17"/>
              <a:gd name="T13" fmla="*/ 7 h 15"/>
              <a:gd name="T14" fmla="*/ 8 w 17"/>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5">
                <a:moveTo>
                  <a:pt x="8" y="0"/>
                </a:moveTo>
                <a:cubicBezTo>
                  <a:pt x="6" y="0"/>
                  <a:pt x="1" y="3"/>
                  <a:pt x="0" y="5"/>
                </a:cubicBezTo>
                <a:cubicBezTo>
                  <a:pt x="1" y="5"/>
                  <a:pt x="1" y="6"/>
                  <a:pt x="1" y="7"/>
                </a:cubicBezTo>
                <a:cubicBezTo>
                  <a:pt x="2" y="9"/>
                  <a:pt x="4" y="10"/>
                  <a:pt x="6" y="11"/>
                </a:cubicBezTo>
                <a:cubicBezTo>
                  <a:pt x="7" y="12"/>
                  <a:pt x="7" y="14"/>
                  <a:pt x="6" y="15"/>
                </a:cubicBezTo>
                <a:cubicBezTo>
                  <a:pt x="7" y="15"/>
                  <a:pt x="8" y="15"/>
                  <a:pt x="9" y="15"/>
                </a:cubicBezTo>
                <a:cubicBezTo>
                  <a:pt x="11" y="15"/>
                  <a:pt x="15" y="9"/>
                  <a:pt x="16" y="7"/>
                </a:cubicBezTo>
                <a:cubicBezTo>
                  <a:pt x="17" y="5"/>
                  <a:pt x="11" y="0"/>
                  <a:pt x="8"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 name="Freeform 62"/>
          <p:cNvSpPr/>
          <p:nvPr/>
        </p:nvSpPr>
        <p:spPr bwMode="auto">
          <a:xfrm>
            <a:off x="6633642" y="2245173"/>
            <a:ext cx="133350" cy="127000"/>
          </a:xfrm>
          <a:custGeom>
            <a:avLst/>
            <a:gdLst>
              <a:gd name="T0" fmla="*/ 46 w 47"/>
              <a:gd name="T1" fmla="*/ 2 h 45"/>
              <a:gd name="T2" fmla="*/ 40 w 47"/>
              <a:gd name="T3" fmla="*/ 0 h 45"/>
              <a:gd name="T4" fmla="*/ 36 w 47"/>
              <a:gd name="T5" fmla="*/ 5 h 45"/>
              <a:gd name="T6" fmla="*/ 31 w 47"/>
              <a:gd name="T7" fmla="*/ 9 h 45"/>
              <a:gd name="T8" fmla="*/ 28 w 47"/>
              <a:gd name="T9" fmla="*/ 11 h 45"/>
              <a:gd name="T10" fmla="*/ 24 w 47"/>
              <a:gd name="T11" fmla="*/ 13 h 45"/>
              <a:gd name="T12" fmla="*/ 19 w 47"/>
              <a:gd name="T13" fmla="*/ 11 h 45"/>
              <a:gd name="T14" fmla="*/ 15 w 47"/>
              <a:gd name="T15" fmla="*/ 16 h 45"/>
              <a:gd name="T16" fmla="*/ 2 w 47"/>
              <a:gd name="T17" fmla="*/ 23 h 45"/>
              <a:gd name="T18" fmla="*/ 0 w 47"/>
              <a:gd name="T19" fmla="*/ 26 h 45"/>
              <a:gd name="T20" fmla="*/ 8 w 47"/>
              <a:gd name="T21" fmla="*/ 30 h 45"/>
              <a:gd name="T22" fmla="*/ 4 w 47"/>
              <a:gd name="T23" fmla="*/ 37 h 45"/>
              <a:gd name="T24" fmla="*/ 5 w 47"/>
              <a:gd name="T25" fmla="*/ 41 h 45"/>
              <a:gd name="T26" fmla="*/ 9 w 47"/>
              <a:gd name="T27" fmla="*/ 43 h 45"/>
              <a:gd name="T28" fmla="*/ 14 w 47"/>
              <a:gd name="T29" fmla="*/ 42 h 45"/>
              <a:gd name="T30" fmla="*/ 16 w 47"/>
              <a:gd name="T31" fmla="*/ 43 h 45"/>
              <a:gd name="T32" fmla="*/ 20 w 47"/>
              <a:gd name="T33" fmla="*/ 40 h 45"/>
              <a:gd name="T34" fmla="*/ 26 w 47"/>
              <a:gd name="T35" fmla="*/ 39 h 45"/>
              <a:gd name="T36" fmla="*/ 30 w 47"/>
              <a:gd name="T37" fmla="*/ 37 h 45"/>
              <a:gd name="T38" fmla="*/ 23 w 47"/>
              <a:gd name="T39" fmla="*/ 32 h 45"/>
              <a:gd name="T40" fmla="*/ 25 w 47"/>
              <a:gd name="T41" fmla="*/ 25 h 45"/>
              <a:gd name="T42" fmla="*/ 37 w 47"/>
              <a:gd name="T43" fmla="*/ 18 h 45"/>
              <a:gd name="T44" fmla="*/ 40 w 47"/>
              <a:gd name="T45" fmla="*/ 10 h 45"/>
              <a:gd name="T46" fmla="*/ 47 w 47"/>
              <a:gd name="T47" fmla="*/ 2 h 45"/>
              <a:gd name="T48" fmla="*/ 46 w 47"/>
              <a:gd name="T49" fmla="*/ 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45">
                <a:moveTo>
                  <a:pt x="46" y="2"/>
                </a:moveTo>
                <a:cubicBezTo>
                  <a:pt x="43" y="3"/>
                  <a:pt x="42" y="0"/>
                  <a:pt x="40" y="0"/>
                </a:cubicBezTo>
                <a:cubicBezTo>
                  <a:pt x="38" y="0"/>
                  <a:pt x="38" y="5"/>
                  <a:pt x="36" y="5"/>
                </a:cubicBezTo>
                <a:cubicBezTo>
                  <a:pt x="34" y="5"/>
                  <a:pt x="34" y="8"/>
                  <a:pt x="31" y="9"/>
                </a:cubicBezTo>
                <a:cubicBezTo>
                  <a:pt x="28" y="9"/>
                  <a:pt x="27" y="9"/>
                  <a:pt x="28" y="11"/>
                </a:cubicBezTo>
                <a:cubicBezTo>
                  <a:pt x="30" y="14"/>
                  <a:pt x="27" y="13"/>
                  <a:pt x="24" y="13"/>
                </a:cubicBezTo>
                <a:cubicBezTo>
                  <a:pt x="21" y="13"/>
                  <a:pt x="21" y="11"/>
                  <a:pt x="19" y="11"/>
                </a:cubicBezTo>
                <a:cubicBezTo>
                  <a:pt x="18" y="11"/>
                  <a:pt x="16" y="14"/>
                  <a:pt x="15" y="16"/>
                </a:cubicBezTo>
                <a:cubicBezTo>
                  <a:pt x="14" y="18"/>
                  <a:pt x="5" y="22"/>
                  <a:pt x="2" y="23"/>
                </a:cubicBezTo>
                <a:cubicBezTo>
                  <a:pt x="1" y="23"/>
                  <a:pt x="1" y="24"/>
                  <a:pt x="0" y="26"/>
                </a:cubicBezTo>
                <a:cubicBezTo>
                  <a:pt x="3" y="26"/>
                  <a:pt x="7" y="28"/>
                  <a:pt x="8" y="30"/>
                </a:cubicBezTo>
                <a:cubicBezTo>
                  <a:pt x="10" y="32"/>
                  <a:pt x="6" y="35"/>
                  <a:pt x="4" y="37"/>
                </a:cubicBezTo>
                <a:cubicBezTo>
                  <a:pt x="2" y="40"/>
                  <a:pt x="5" y="40"/>
                  <a:pt x="5" y="41"/>
                </a:cubicBezTo>
                <a:cubicBezTo>
                  <a:pt x="5" y="43"/>
                  <a:pt x="8" y="45"/>
                  <a:pt x="9" y="43"/>
                </a:cubicBezTo>
                <a:cubicBezTo>
                  <a:pt x="10" y="42"/>
                  <a:pt x="11" y="42"/>
                  <a:pt x="14" y="42"/>
                </a:cubicBezTo>
                <a:cubicBezTo>
                  <a:pt x="15" y="42"/>
                  <a:pt x="15" y="43"/>
                  <a:pt x="16" y="43"/>
                </a:cubicBezTo>
                <a:cubicBezTo>
                  <a:pt x="17" y="42"/>
                  <a:pt x="19" y="41"/>
                  <a:pt x="20" y="40"/>
                </a:cubicBezTo>
                <a:cubicBezTo>
                  <a:pt x="21" y="39"/>
                  <a:pt x="23" y="39"/>
                  <a:pt x="26" y="39"/>
                </a:cubicBezTo>
                <a:cubicBezTo>
                  <a:pt x="27" y="39"/>
                  <a:pt x="28" y="38"/>
                  <a:pt x="30" y="37"/>
                </a:cubicBezTo>
                <a:cubicBezTo>
                  <a:pt x="27" y="34"/>
                  <a:pt x="24" y="32"/>
                  <a:pt x="23" y="32"/>
                </a:cubicBezTo>
                <a:cubicBezTo>
                  <a:pt x="21" y="30"/>
                  <a:pt x="23" y="26"/>
                  <a:pt x="25" y="25"/>
                </a:cubicBezTo>
                <a:cubicBezTo>
                  <a:pt x="28" y="25"/>
                  <a:pt x="35" y="19"/>
                  <a:pt x="37" y="18"/>
                </a:cubicBezTo>
                <a:cubicBezTo>
                  <a:pt x="40" y="17"/>
                  <a:pt x="38" y="13"/>
                  <a:pt x="40" y="10"/>
                </a:cubicBezTo>
                <a:cubicBezTo>
                  <a:pt x="41" y="8"/>
                  <a:pt x="44" y="5"/>
                  <a:pt x="47" y="2"/>
                </a:cubicBezTo>
                <a:cubicBezTo>
                  <a:pt x="47" y="2"/>
                  <a:pt x="46" y="2"/>
                  <a:pt x="46"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 name="Freeform 63"/>
          <p:cNvSpPr/>
          <p:nvPr/>
        </p:nvSpPr>
        <p:spPr bwMode="auto">
          <a:xfrm>
            <a:off x="5790680" y="2529335"/>
            <a:ext cx="150813" cy="88900"/>
          </a:xfrm>
          <a:custGeom>
            <a:avLst/>
            <a:gdLst>
              <a:gd name="T0" fmla="*/ 52 w 53"/>
              <a:gd name="T1" fmla="*/ 20 h 31"/>
              <a:gd name="T2" fmla="*/ 50 w 53"/>
              <a:gd name="T3" fmla="*/ 20 h 31"/>
              <a:gd name="T4" fmla="*/ 41 w 53"/>
              <a:gd name="T5" fmla="*/ 18 h 31"/>
              <a:gd name="T6" fmla="*/ 28 w 53"/>
              <a:gd name="T7" fmla="*/ 13 h 31"/>
              <a:gd name="T8" fmla="*/ 14 w 53"/>
              <a:gd name="T9" fmla="*/ 2 h 31"/>
              <a:gd name="T10" fmla="*/ 8 w 53"/>
              <a:gd name="T11" fmla="*/ 1 h 31"/>
              <a:gd name="T12" fmla="*/ 4 w 53"/>
              <a:gd name="T13" fmla="*/ 3 h 31"/>
              <a:gd name="T14" fmla="*/ 1 w 53"/>
              <a:gd name="T15" fmla="*/ 7 h 31"/>
              <a:gd name="T16" fmla="*/ 0 w 53"/>
              <a:gd name="T17" fmla="*/ 12 h 31"/>
              <a:gd name="T18" fmla="*/ 3 w 53"/>
              <a:gd name="T19" fmla="*/ 15 h 31"/>
              <a:gd name="T20" fmla="*/ 9 w 53"/>
              <a:gd name="T21" fmla="*/ 17 h 31"/>
              <a:gd name="T22" fmla="*/ 14 w 53"/>
              <a:gd name="T23" fmla="*/ 20 h 31"/>
              <a:gd name="T24" fmla="*/ 20 w 53"/>
              <a:gd name="T25" fmla="*/ 23 h 31"/>
              <a:gd name="T26" fmla="*/ 26 w 53"/>
              <a:gd name="T27" fmla="*/ 22 h 31"/>
              <a:gd name="T28" fmla="*/ 30 w 53"/>
              <a:gd name="T29" fmla="*/ 26 h 31"/>
              <a:gd name="T30" fmla="*/ 39 w 53"/>
              <a:gd name="T31" fmla="*/ 29 h 31"/>
              <a:gd name="T32" fmla="*/ 51 w 53"/>
              <a:gd name="T33" fmla="*/ 28 h 31"/>
              <a:gd name="T34" fmla="*/ 51 w 53"/>
              <a:gd name="T35" fmla="*/ 21 h 31"/>
              <a:gd name="T36" fmla="*/ 52 w 53"/>
              <a:gd name="T3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1">
                <a:moveTo>
                  <a:pt x="52" y="20"/>
                </a:moveTo>
                <a:cubicBezTo>
                  <a:pt x="51" y="20"/>
                  <a:pt x="51" y="20"/>
                  <a:pt x="50" y="20"/>
                </a:cubicBezTo>
                <a:cubicBezTo>
                  <a:pt x="46" y="20"/>
                  <a:pt x="44" y="18"/>
                  <a:pt x="41" y="18"/>
                </a:cubicBezTo>
                <a:cubicBezTo>
                  <a:pt x="38" y="18"/>
                  <a:pt x="31" y="15"/>
                  <a:pt x="28" y="13"/>
                </a:cubicBezTo>
                <a:cubicBezTo>
                  <a:pt x="25" y="10"/>
                  <a:pt x="16" y="5"/>
                  <a:pt x="14" y="2"/>
                </a:cubicBezTo>
                <a:cubicBezTo>
                  <a:pt x="12" y="0"/>
                  <a:pt x="9" y="0"/>
                  <a:pt x="8" y="1"/>
                </a:cubicBezTo>
                <a:cubicBezTo>
                  <a:pt x="8" y="2"/>
                  <a:pt x="6" y="2"/>
                  <a:pt x="4" y="3"/>
                </a:cubicBezTo>
                <a:cubicBezTo>
                  <a:pt x="3" y="4"/>
                  <a:pt x="1" y="5"/>
                  <a:pt x="1" y="7"/>
                </a:cubicBezTo>
                <a:cubicBezTo>
                  <a:pt x="1" y="8"/>
                  <a:pt x="0" y="10"/>
                  <a:pt x="0" y="12"/>
                </a:cubicBezTo>
                <a:cubicBezTo>
                  <a:pt x="0" y="13"/>
                  <a:pt x="2" y="13"/>
                  <a:pt x="3" y="15"/>
                </a:cubicBezTo>
                <a:cubicBezTo>
                  <a:pt x="4" y="16"/>
                  <a:pt x="8" y="16"/>
                  <a:pt x="9" y="17"/>
                </a:cubicBezTo>
                <a:cubicBezTo>
                  <a:pt x="9" y="18"/>
                  <a:pt x="12" y="20"/>
                  <a:pt x="14" y="20"/>
                </a:cubicBezTo>
                <a:cubicBezTo>
                  <a:pt x="16" y="20"/>
                  <a:pt x="19" y="22"/>
                  <a:pt x="20" y="23"/>
                </a:cubicBezTo>
                <a:cubicBezTo>
                  <a:pt x="21" y="24"/>
                  <a:pt x="25" y="22"/>
                  <a:pt x="26" y="22"/>
                </a:cubicBezTo>
                <a:cubicBezTo>
                  <a:pt x="28" y="22"/>
                  <a:pt x="30" y="25"/>
                  <a:pt x="30" y="26"/>
                </a:cubicBezTo>
                <a:cubicBezTo>
                  <a:pt x="30" y="27"/>
                  <a:pt x="37" y="28"/>
                  <a:pt x="39" y="29"/>
                </a:cubicBezTo>
                <a:cubicBezTo>
                  <a:pt x="41" y="31"/>
                  <a:pt x="49" y="30"/>
                  <a:pt x="51" y="28"/>
                </a:cubicBezTo>
                <a:cubicBezTo>
                  <a:pt x="53" y="27"/>
                  <a:pt x="51" y="24"/>
                  <a:pt x="51" y="21"/>
                </a:cubicBezTo>
                <a:cubicBezTo>
                  <a:pt x="51" y="21"/>
                  <a:pt x="51" y="20"/>
                  <a:pt x="52" y="2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 name="Freeform 64"/>
          <p:cNvSpPr/>
          <p:nvPr/>
        </p:nvSpPr>
        <p:spPr bwMode="auto">
          <a:xfrm>
            <a:off x="6006580" y="2569023"/>
            <a:ext cx="168275" cy="369888"/>
          </a:xfrm>
          <a:custGeom>
            <a:avLst/>
            <a:gdLst>
              <a:gd name="T0" fmla="*/ 48 w 59"/>
              <a:gd name="T1" fmla="*/ 119 h 130"/>
              <a:gd name="T2" fmla="*/ 46 w 59"/>
              <a:gd name="T3" fmla="*/ 113 h 130"/>
              <a:gd name="T4" fmla="*/ 43 w 59"/>
              <a:gd name="T5" fmla="*/ 105 h 130"/>
              <a:gd name="T6" fmla="*/ 41 w 59"/>
              <a:gd name="T7" fmla="*/ 98 h 130"/>
              <a:gd name="T8" fmla="*/ 42 w 59"/>
              <a:gd name="T9" fmla="*/ 93 h 130"/>
              <a:gd name="T10" fmla="*/ 42 w 59"/>
              <a:gd name="T11" fmla="*/ 89 h 130"/>
              <a:gd name="T12" fmla="*/ 41 w 59"/>
              <a:gd name="T13" fmla="*/ 85 h 130"/>
              <a:gd name="T14" fmla="*/ 36 w 59"/>
              <a:gd name="T15" fmla="*/ 79 h 130"/>
              <a:gd name="T16" fmla="*/ 37 w 59"/>
              <a:gd name="T17" fmla="*/ 68 h 130"/>
              <a:gd name="T18" fmla="*/ 41 w 59"/>
              <a:gd name="T19" fmla="*/ 65 h 130"/>
              <a:gd name="T20" fmla="*/ 46 w 59"/>
              <a:gd name="T21" fmla="*/ 64 h 130"/>
              <a:gd name="T22" fmla="*/ 52 w 59"/>
              <a:gd name="T23" fmla="*/ 60 h 130"/>
              <a:gd name="T24" fmla="*/ 56 w 59"/>
              <a:gd name="T25" fmla="*/ 57 h 130"/>
              <a:gd name="T26" fmla="*/ 59 w 59"/>
              <a:gd name="T27" fmla="*/ 52 h 130"/>
              <a:gd name="T28" fmla="*/ 59 w 59"/>
              <a:gd name="T29" fmla="*/ 52 h 130"/>
              <a:gd name="T30" fmla="*/ 56 w 59"/>
              <a:gd name="T31" fmla="*/ 52 h 130"/>
              <a:gd name="T32" fmla="*/ 52 w 59"/>
              <a:gd name="T33" fmla="*/ 50 h 130"/>
              <a:gd name="T34" fmla="*/ 48 w 59"/>
              <a:gd name="T35" fmla="*/ 48 h 130"/>
              <a:gd name="T36" fmla="*/ 48 w 59"/>
              <a:gd name="T37" fmla="*/ 44 h 130"/>
              <a:gd name="T38" fmla="*/ 46 w 59"/>
              <a:gd name="T39" fmla="*/ 41 h 130"/>
              <a:gd name="T40" fmla="*/ 43 w 59"/>
              <a:gd name="T41" fmla="*/ 35 h 130"/>
              <a:gd name="T42" fmla="*/ 37 w 59"/>
              <a:gd name="T43" fmla="*/ 34 h 130"/>
              <a:gd name="T44" fmla="*/ 36 w 59"/>
              <a:gd name="T45" fmla="*/ 30 h 130"/>
              <a:gd name="T46" fmla="*/ 42 w 59"/>
              <a:gd name="T47" fmla="*/ 21 h 130"/>
              <a:gd name="T48" fmla="*/ 43 w 59"/>
              <a:gd name="T49" fmla="*/ 11 h 130"/>
              <a:gd name="T50" fmla="*/ 40 w 59"/>
              <a:gd name="T51" fmla="*/ 7 h 130"/>
              <a:gd name="T52" fmla="*/ 39 w 59"/>
              <a:gd name="T53" fmla="*/ 3 h 130"/>
              <a:gd name="T54" fmla="*/ 34 w 59"/>
              <a:gd name="T55" fmla="*/ 1 h 130"/>
              <a:gd name="T56" fmla="*/ 33 w 59"/>
              <a:gd name="T57" fmla="*/ 2 h 130"/>
              <a:gd name="T58" fmla="*/ 33 w 59"/>
              <a:gd name="T59" fmla="*/ 2 h 130"/>
              <a:gd name="T60" fmla="*/ 32 w 59"/>
              <a:gd name="T61" fmla="*/ 5 h 130"/>
              <a:gd name="T62" fmla="*/ 32 w 59"/>
              <a:gd name="T63" fmla="*/ 10 h 130"/>
              <a:gd name="T64" fmla="*/ 29 w 59"/>
              <a:gd name="T65" fmla="*/ 10 h 130"/>
              <a:gd name="T66" fmla="*/ 24 w 59"/>
              <a:gd name="T67" fmla="*/ 12 h 130"/>
              <a:gd name="T68" fmla="*/ 19 w 59"/>
              <a:gd name="T69" fmla="*/ 18 h 130"/>
              <a:gd name="T70" fmla="*/ 17 w 59"/>
              <a:gd name="T71" fmla="*/ 26 h 130"/>
              <a:gd name="T72" fmla="*/ 15 w 59"/>
              <a:gd name="T73" fmla="*/ 35 h 130"/>
              <a:gd name="T74" fmla="*/ 9 w 59"/>
              <a:gd name="T75" fmla="*/ 35 h 130"/>
              <a:gd name="T76" fmla="*/ 8 w 59"/>
              <a:gd name="T77" fmla="*/ 41 h 130"/>
              <a:gd name="T78" fmla="*/ 6 w 59"/>
              <a:gd name="T79" fmla="*/ 49 h 130"/>
              <a:gd name="T80" fmla="*/ 3 w 59"/>
              <a:gd name="T81" fmla="*/ 54 h 130"/>
              <a:gd name="T82" fmla="*/ 0 w 59"/>
              <a:gd name="T83" fmla="*/ 56 h 130"/>
              <a:gd name="T84" fmla="*/ 7 w 59"/>
              <a:gd name="T85" fmla="*/ 63 h 130"/>
              <a:gd name="T86" fmla="*/ 15 w 59"/>
              <a:gd name="T87" fmla="*/ 77 h 130"/>
              <a:gd name="T88" fmla="*/ 14 w 59"/>
              <a:gd name="T89" fmla="*/ 88 h 130"/>
              <a:gd name="T90" fmla="*/ 17 w 59"/>
              <a:gd name="T91" fmla="*/ 91 h 130"/>
              <a:gd name="T92" fmla="*/ 23 w 59"/>
              <a:gd name="T93" fmla="*/ 91 h 130"/>
              <a:gd name="T94" fmla="*/ 29 w 59"/>
              <a:gd name="T95" fmla="*/ 84 h 130"/>
              <a:gd name="T96" fmla="*/ 33 w 59"/>
              <a:gd name="T97" fmla="*/ 86 h 130"/>
              <a:gd name="T98" fmla="*/ 35 w 59"/>
              <a:gd name="T99" fmla="*/ 94 h 130"/>
              <a:gd name="T100" fmla="*/ 39 w 59"/>
              <a:gd name="T101" fmla="*/ 109 h 130"/>
              <a:gd name="T102" fmla="*/ 42 w 59"/>
              <a:gd name="T103" fmla="*/ 120 h 130"/>
              <a:gd name="T104" fmla="*/ 42 w 59"/>
              <a:gd name="T105" fmla="*/ 128 h 130"/>
              <a:gd name="T106" fmla="*/ 42 w 59"/>
              <a:gd name="T107" fmla="*/ 130 h 130"/>
              <a:gd name="T108" fmla="*/ 48 w 59"/>
              <a:gd name="T109" fmla="*/ 11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9" h="130">
                <a:moveTo>
                  <a:pt x="48" y="119"/>
                </a:moveTo>
                <a:cubicBezTo>
                  <a:pt x="48" y="116"/>
                  <a:pt x="46" y="115"/>
                  <a:pt x="46" y="113"/>
                </a:cubicBezTo>
                <a:cubicBezTo>
                  <a:pt x="46" y="111"/>
                  <a:pt x="46" y="107"/>
                  <a:pt x="43" y="105"/>
                </a:cubicBezTo>
                <a:cubicBezTo>
                  <a:pt x="40" y="102"/>
                  <a:pt x="39" y="99"/>
                  <a:pt x="41" y="98"/>
                </a:cubicBezTo>
                <a:cubicBezTo>
                  <a:pt x="42" y="96"/>
                  <a:pt x="41" y="92"/>
                  <a:pt x="42" y="93"/>
                </a:cubicBezTo>
                <a:cubicBezTo>
                  <a:pt x="43" y="93"/>
                  <a:pt x="44" y="90"/>
                  <a:pt x="42" y="89"/>
                </a:cubicBezTo>
                <a:cubicBezTo>
                  <a:pt x="40" y="89"/>
                  <a:pt x="42" y="85"/>
                  <a:pt x="41" y="85"/>
                </a:cubicBezTo>
                <a:cubicBezTo>
                  <a:pt x="39" y="84"/>
                  <a:pt x="36" y="80"/>
                  <a:pt x="36" y="79"/>
                </a:cubicBezTo>
                <a:cubicBezTo>
                  <a:pt x="36" y="77"/>
                  <a:pt x="37" y="70"/>
                  <a:pt x="37" y="68"/>
                </a:cubicBezTo>
                <a:cubicBezTo>
                  <a:pt x="37" y="66"/>
                  <a:pt x="40" y="65"/>
                  <a:pt x="41" y="65"/>
                </a:cubicBezTo>
                <a:cubicBezTo>
                  <a:pt x="41" y="65"/>
                  <a:pt x="45" y="66"/>
                  <a:pt x="46" y="64"/>
                </a:cubicBezTo>
                <a:cubicBezTo>
                  <a:pt x="47" y="62"/>
                  <a:pt x="52" y="62"/>
                  <a:pt x="52" y="60"/>
                </a:cubicBezTo>
                <a:cubicBezTo>
                  <a:pt x="53" y="59"/>
                  <a:pt x="56" y="59"/>
                  <a:pt x="56" y="57"/>
                </a:cubicBezTo>
                <a:cubicBezTo>
                  <a:pt x="56" y="56"/>
                  <a:pt x="59" y="52"/>
                  <a:pt x="59" y="52"/>
                </a:cubicBezTo>
                <a:cubicBezTo>
                  <a:pt x="59" y="52"/>
                  <a:pt x="59" y="52"/>
                  <a:pt x="59" y="52"/>
                </a:cubicBezTo>
                <a:cubicBezTo>
                  <a:pt x="59" y="51"/>
                  <a:pt x="58" y="52"/>
                  <a:pt x="56" y="52"/>
                </a:cubicBezTo>
                <a:cubicBezTo>
                  <a:pt x="53" y="54"/>
                  <a:pt x="52" y="52"/>
                  <a:pt x="52" y="50"/>
                </a:cubicBezTo>
                <a:cubicBezTo>
                  <a:pt x="52" y="48"/>
                  <a:pt x="50" y="48"/>
                  <a:pt x="48" y="48"/>
                </a:cubicBezTo>
                <a:cubicBezTo>
                  <a:pt x="46" y="48"/>
                  <a:pt x="47" y="45"/>
                  <a:pt x="48" y="44"/>
                </a:cubicBezTo>
                <a:cubicBezTo>
                  <a:pt x="49" y="42"/>
                  <a:pt x="47" y="41"/>
                  <a:pt x="46" y="41"/>
                </a:cubicBezTo>
                <a:cubicBezTo>
                  <a:pt x="44" y="40"/>
                  <a:pt x="43" y="36"/>
                  <a:pt x="43" y="35"/>
                </a:cubicBezTo>
                <a:cubicBezTo>
                  <a:pt x="44" y="34"/>
                  <a:pt x="39" y="33"/>
                  <a:pt x="37" y="34"/>
                </a:cubicBezTo>
                <a:cubicBezTo>
                  <a:pt x="35" y="35"/>
                  <a:pt x="37" y="32"/>
                  <a:pt x="36" y="30"/>
                </a:cubicBezTo>
                <a:cubicBezTo>
                  <a:pt x="35" y="29"/>
                  <a:pt x="39" y="24"/>
                  <a:pt x="42" y="21"/>
                </a:cubicBezTo>
                <a:cubicBezTo>
                  <a:pt x="44" y="18"/>
                  <a:pt x="43" y="14"/>
                  <a:pt x="43" y="11"/>
                </a:cubicBezTo>
                <a:cubicBezTo>
                  <a:pt x="43" y="7"/>
                  <a:pt x="42" y="7"/>
                  <a:pt x="40" y="7"/>
                </a:cubicBezTo>
                <a:cubicBezTo>
                  <a:pt x="39" y="7"/>
                  <a:pt x="39" y="5"/>
                  <a:pt x="39" y="3"/>
                </a:cubicBezTo>
                <a:cubicBezTo>
                  <a:pt x="39" y="2"/>
                  <a:pt x="36" y="0"/>
                  <a:pt x="34" y="1"/>
                </a:cubicBezTo>
                <a:cubicBezTo>
                  <a:pt x="34" y="2"/>
                  <a:pt x="34" y="2"/>
                  <a:pt x="33" y="2"/>
                </a:cubicBezTo>
                <a:cubicBezTo>
                  <a:pt x="33" y="2"/>
                  <a:pt x="33" y="2"/>
                  <a:pt x="33" y="2"/>
                </a:cubicBezTo>
                <a:cubicBezTo>
                  <a:pt x="33" y="2"/>
                  <a:pt x="33" y="5"/>
                  <a:pt x="32" y="5"/>
                </a:cubicBezTo>
                <a:cubicBezTo>
                  <a:pt x="31" y="6"/>
                  <a:pt x="31" y="8"/>
                  <a:pt x="32" y="10"/>
                </a:cubicBezTo>
                <a:cubicBezTo>
                  <a:pt x="34" y="12"/>
                  <a:pt x="30" y="11"/>
                  <a:pt x="29" y="10"/>
                </a:cubicBezTo>
                <a:cubicBezTo>
                  <a:pt x="29" y="9"/>
                  <a:pt x="25" y="11"/>
                  <a:pt x="24" y="12"/>
                </a:cubicBezTo>
                <a:cubicBezTo>
                  <a:pt x="22" y="14"/>
                  <a:pt x="19" y="15"/>
                  <a:pt x="19" y="18"/>
                </a:cubicBezTo>
                <a:cubicBezTo>
                  <a:pt x="19" y="21"/>
                  <a:pt x="16" y="24"/>
                  <a:pt x="17" y="26"/>
                </a:cubicBezTo>
                <a:cubicBezTo>
                  <a:pt x="18" y="29"/>
                  <a:pt x="14" y="33"/>
                  <a:pt x="15" y="35"/>
                </a:cubicBezTo>
                <a:cubicBezTo>
                  <a:pt x="15" y="36"/>
                  <a:pt x="10" y="35"/>
                  <a:pt x="9" y="35"/>
                </a:cubicBezTo>
                <a:cubicBezTo>
                  <a:pt x="8" y="35"/>
                  <a:pt x="9" y="40"/>
                  <a:pt x="8" y="41"/>
                </a:cubicBezTo>
                <a:cubicBezTo>
                  <a:pt x="7" y="43"/>
                  <a:pt x="8" y="49"/>
                  <a:pt x="6" y="49"/>
                </a:cubicBezTo>
                <a:cubicBezTo>
                  <a:pt x="4" y="49"/>
                  <a:pt x="3" y="54"/>
                  <a:pt x="3" y="54"/>
                </a:cubicBezTo>
                <a:cubicBezTo>
                  <a:pt x="3" y="54"/>
                  <a:pt x="2" y="55"/>
                  <a:pt x="0" y="56"/>
                </a:cubicBezTo>
                <a:cubicBezTo>
                  <a:pt x="2" y="59"/>
                  <a:pt x="4" y="62"/>
                  <a:pt x="7" y="63"/>
                </a:cubicBezTo>
                <a:cubicBezTo>
                  <a:pt x="11" y="64"/>
                  <a:pt x="14" y="72"/>
                  <a:pt x="15" y="77"/>
                </a:cubicBezTo>
                <a:cubicBezTo>
                  <a:pt x="16" y="81"/>
                  <a:pt x="15" y="85"/>
                  <a:pt x="14" y="88"/>
                </a:cubicBezTo>
                <a:cubicBezTo>
                  <a:pt x="12" y="90"/>
                  <a:pt x="14" y="90"/>
                  <a:pt x="17" y="91"/>
                </a:cubicBezTo>
                <a:cubicBezTo>
                  <a:pt x="19" y="93"/>
                  <a:pt x="22" y="93"/>
                  <a:pt x="23" y="91"/>
                </a:cubicBezTo>
                <a:cubicBezTo>
                  <a:pt x="25" y="88"/>
                  <a:pt x="29" y="86"/>
                  <a:pt x="29" y="84"/>
                </a:cubicBezTo>
                <a:cubicBezTo>
                  <a:pt x="30" y="81"/>
                  <a:pt x="31" y="85"/>
                  <a:pt x="33" y="86"/>
                </a:cubicBezTo>
                <a:cubicBezTo>
                  <a:pt x="34" y="88"/>
                  <a:pt x="35" y="91"/>
                  <a:pt x="35" y="94"/>
                </a:cubicBezTo>
                <a:cubicBezTo>
                  <a:pt x="36" y="98"/>
                  <a:pt x="36" y="106"/>
                  <a:pt x="39" y="109"/>
                </a:cubicBezTo>
                <a:cubicBezTo>
                  <a:pt x="42" y="112"/>
                  <a:pt x="42" y="118"/>
                  <a:pt x="42" y="120"/>
                </a:cubicBezTo>
                <a:cubicBezTo>
                  <a:pt x="41" y="122"/>
                  <a:pt x="43" y="126"/>
                  <a:pt x="42" y="128"/>
                </a:cubicBezTo>
                <a:cubicBezTo>
                  <a:pt x="42" y="128"/>
                  <a:pt x="42" y="129"/>
                  <a:pt x="42" y="130"/>
                </a:cubicBezTo>
                <a:cubicBezTo>
                  <a:pt x="45" y="130"/>
                  <a:pt x="48" y="119"/>
                  <a:pt x="48" y="11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9" name="Freeform 65"/>
          <p:cNvSpPr/>
          <p:nvPr/>
        </p:nvSpPr>
        <p:spPr bwMode="auto">
          <a:xfrm>
            <a:off x="5949430" y="2575373"/>
            <a:ext cx="60325" cy="36513"/>
          </a:xfrm>
          <a:custGeom>
            <a:avLst/>
            <a:gdLst>
              <a:gd name="T0" fmla="*/ 20 w 21"/>
              <a:gd name="T1" fmla="*/ 5 h 13"/>
              <a:gd name="T2" fmla="*/ 13 w 21"/>
              <a:gd name="T3" fmla="*/ 2 h 13"/>
              <a:gd name="T4" fmla="*/ 7 w 21"/>
              <a:gd name="T5" fmla="*/ 1 h 13"/>
              <a:gd name="T6" fmla="*/ 2 w 21"/>
              <a:gd name="T7" fmla="*/ 6 h 13"/>
              <a:gd name="T8" fmla="*/ 0 w 21"/>
              <a:gd name="T9" fmla="*/ 9 h 13"/>
              <a:gd name="T10" fmla="*/ 2 w 21"/>
              <a:gd name="T11" fmla="*/ 10 h 13"/>
              <a:gd name="T12" fmla="*/ 7 w 21"/>
              <a:gd name="T13" fmla="*/ 11 h 13"/>
              <a:gd name="T14" fmla="*/ 13 w 21"/>
              <a:gd name="T15" fmla="*/ 12 h 13"/>
              <a:gd name="T16" fmla="*/ 20 w 21"/>
              <a:gd name="T17" fmla="*/ 11 h 13"/>
              <a:gd name="T18" fmla="*/ 19 w 21"/>
              <a:gd name="T19" fmla="*/ 5 h 13"/>
              <a:gd name="T20" fmla="*/ 20 w 21"/>
              <a:gd name="T21"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20" y="5"/>
                </a:moveTo>
                <a:cubicBezTo>
                  <a:pt x="16" y="1"/>
                  <a:pt x="15" y="4"/>
                  <a:pt x="13" y="2"/>
                </a:cubicBezTo>
                <a:cubicBezTo>
                  <a:pt x="10" y="1"/>
                  <a:pt x="8" y="0"/>
                  <a:pt x="7" y="1"/>
                </a:cubicBezTo>
                <a:cubicBezTo>
                  <a:pt x="6" y="3"/>
                  <a:pt x="3" y="2"/>
                  <a:pt x="2" y="6"/>
                </a:cubicBezTo>
                <a:cubicBezTo>
                  <a:pt x="2" y="7"/>
                  <a:pt x="1" y="8"/>
                  <a:pt x="0" y="9"/>
                </a:cubicBezTo>
                <a:cubicBezTo>
                  <a:pt x="1" y="10"/>
                  <a:pt x="2" y="10"/>
                  <a:pt x="2" y="10"/>
                </a:cubicBezTo>
                <a:cubicBezTo>
                  <a:pt x="3" y="10"/>
                  <a:pt x="5" y="12"/>
                  <a:pt x="7" y="11"/>
                </a:cubicBezTo>
                <a:cubicBezTo>
                  <a:pt x="9" y="11"/>
                  <a:pt x="10" y="13"/>
                  <a:pt x="13" y="12"/>
                </a:cubicBezTo>
                <a:cubicBezTo>
                  <a:pt x="16" y="11"/>
                  <a:pt x="19" y="13"/>
                  <a:pt x="20" y="11"/>
                </a:cubicBezTo>
                <a:cubicBezTo>
                  <a:pt x="21" y="9"/>
                  <a:pt x="19" y="5"/>
                  <a:pt x="19" y="5"/>
                </a:cubicBezTo>
                <a:cubicBezTo>
                  <a:pt x="19" y="5"/>
                  <a:pt x="20" y="5"/>
                  <a:pt x="20" y="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 name="Freeform 66"/>
          <p:cNvSpPr/>
          <p:nvPr/>
        </p:nvSpPr>
        <p:spPr bwMode="auto">
          <a:xfrm>
            <a:off x="6198667" y="2680148"/>
            <a:ext cx="144463" cy="298450"/>
          </a:xfrm>
          <a:custGeom>
            <a:avLst/>
            <a:gdLst>
              <a:gd name="T0" fmla="*/ 37 w 51"/>
              <a:gd name="T1" fmla="*/ 13 h 105"/>
              <a:gd name="T2" fmla="*/ 30 w 51"/>
              <a:gd name="T3" fmla="*/ 7 h 105"/>
              <a:gd name="T4" fmla="*/ 29 w 51"/>
              <a:gd name="T5" fmla="*/ 3 h 105"/>
              <a:gd name="T6" fmla="*/ 23 w 51"/>
              <a:gd name="T7" fmla="*/ 0 h 105"/>
              <a:gd name="T8" fmla="*/ 17 w 51"/>
              <a:gd name="T9" fmla="*/ 4 h 105"/>
              <a:gd name="T10" fmla="*/ 13 w 51"/>
              <a:gd name="T11" fmla="*/ 5 h 105"/>
              <a:gd name="T12" fmla="*/ 7 w 51"/>
              <a:gd name="T13" fmla="*/ 5 h 105"/>
              <a:gd name="T14" fmla="*/ 2 w 51"/>
              <a:gd name="T15" fmla="*/ 5 h 105"/>
              <a:gd name="T16" fmla="*/ 0 w 51"/>
              <a:gd name="T17" fmla="*/ 7 h 105"/>
              <a:gd name="T18" fmla="*/ 2 w 51"/>
              <a:gd name="T19" fmla="*/ 10 h 105"/>
              <a:gd name="T20" fmla="*/ 6 w 51"/>
              <a:gd name="T21" fmla="*/ 16 h 105"/>
              <a:gd name="T22" fmla="*/ 11 w 51"/>
              <a:gd name="T23" fmla="*/ 19 h 105"/>
              <a:gd name="T24" fmla="*/ 16 w 51"/>
              <a:gd name="T25" fmla="*/ 20 h 105"/>
              <a:gd name="T26" fmla="*/ 18 w 51"/>
              <a:gd name="T27" fmla="*/ 25 h 105"/>
              <a:gd name="T28" fmla="*/ 13 w 51"/>
              <a:gd name="T29" fmla="*/ 28 h 105"/>
              <a:gd name="T30" fmla="*/ 21 w 51"/>
              <a:gd name="T31" fmla="*/ 35 h 105"/>
              <a:gd name="T32" fmla="*/ 24 w 51"/>
              <a:gd name="T33" fmla="*/ 41 h 105"/>
              <a:gd name="T34" fmla="*/ 30 w 51"/>
              <a:gd name="T35" fmla="*/ 48 h 105"/>
              <a:gd name="T36" fmla="*/ 35 w 51"/>
              <a:gd name="T37" fmla="*/ 54 h 105"/>
              <a:gd name="T38" fmla="*/ 37 w 51"/>
              <a:gd name="T39" fmla="*/ 61 h 105"/>
              <a:gd name="T40" fmla="*/ 39 w 51"/>
              <a:gd name="T41" fmla="*/ 72 h 105"/>
              <a:gd name="T42" fmla="*/ 34 w 51"/>
              <a:gd name="T43" fmla="*/ 80 h 105"/>
              <a:gd name="T44" fmla="*/ 28 w 51"/>
              <a:gd name="T45" fmla="*/ 84 h 105"/>
              <a:gd name="T46" fmla="*/ 28 w 51"/>
              <a:gd name="T47" fmla="*/ 90 h 105"/>
              <a:gd name="T48" fmla="*/ 20 w 51"/>
              <a:gd name="T49" fmla="*/ 90 h 105"/>
              <a:gd name="T50" fmla="*/ 16 w 51"/>
              <a:gd name="T51" fmla="*/ 93 h 105"/>
              <a:gd name="T52" fmla="*/ 19 w 51"/>
              <a:gd name="T53" fmla="*/ 95 h 105"/>
              <a:gd name="T54" fmla="*/ 17 w 51"/>
              <a:gd name="T55" fmla="*/ 101 h 105"/>
              <a:gd name="T56" fmla="*/ 21 w 51"/>
              <a:gd name="T57" fmla="*/ 104 h 105"/>
              <a:gd name="T58" fmla="*/ 27 w 51"/>
              <a:gd name="T59" fmla="*/ 99 h 105"/>
              <a:gd name="T60" fmla="*/ 28 w 51"/>
              <a:gd name="T61" fmla="*/ 97 h 105"/>
              <a:gd name="T62" fmla="*/ 30 w 51"/>
              <a:gd name="T63" fmla="*/ 93 h 105"/>
              <a:gd name="T64" fmla="*/ 34 w 51"/>
              <a:gd name="T65" fmla="*/ 92 h 105"/>
              <a:gd name="T66" fmla="*/ 44 w 51"/>
              <a:gd name="T67" fmla="*/ 88 h 105"/>
              <a:gd name="T68" fmla="*/ 49 w 51"/>
              <a:gd name="T69" fmla="*/ 79 h 105"/>
              <a:gd name="T70" fmla="*/ 48 w 51"/>
              <a:gd name="T71" fmla="*/ 63 h 105"/>
              <a:gd name="T72" fmla="*/ 41 w 51"/>
              <a:gd name="T73" fmla="*/ 52 h 105"/>
              <a:gd name="T74" fmla="*/ 30 w 51"/>
              <a:gd name="T75" fmla="*/ 43 h 105"/>
              <a:gd name="T76" fmla="*/ 27 w 51"/>
              <a:gd name="T77" fmla="*/ 37 h 105"/>
              <a:gd name="T78" fmla="*/ 25 w 51"/>
              <a:gd name="T79" fmla="*/ 28 h 105"/>
              <a:gd name="T80" fmla="*/ 30 w 51"/>
              <a:gd name="T81" fmla="*/ 22 h 105"/>
              <a:gd name="T82" fmla="*/ 33 w 51"/>
              <a:gd name="T83" fmla="*/ 18 h 105"/>
              <a:gd name="T84" fmla="*/ 38 w 51"/>
              <a:gd name="T85" fmla="*/ 14 h 105"/>
              <a:gd name="T86" fmla="*/ 39 w 51"/>
              <a:gd name="T87" fmla="*/ 14 h 105"/>
              <a:gd name="T88" fmla="*/ 37 w 51"/>
              <a:gd name="T89" fmla="*/ 1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 h="105">
                <a:moveTo>
                  <a:pt x="37" y="13"/>
                </a:moveTo>
                <a:cubicBezTo>
                  <a:pt x="35" y="12"/>
                  <a:pt x="30" y="9"/>
                  <a:pt x="30" y="7"/>
                </a:cubicBezTo>
                <a:cubicBezTo>
                  <a:pt x="30" y="6"/>
                  <a:pt x="33" y="4"/>
                  <a:pt x="29" y="3"/>
                </a:cubicBezTo>
                <a:cubicBezTo>
                  <a:pt x="24" y="3"/>
                  <a:pt x="24" y="1"/>
                  <a:pt x="23" y="0"/>
                </a:cubicBezTo>
                <a:cubicBezTo>
                  <a:pt x="22" y="0"/>
                  <a:pt x="19" y="2"/>
                  <a:pt x="17" y="4"/>
                </a:cubicBezTo>
                <a:cubicBezTo>
                  <a:pt x="16" y="6"/>
                  <a:pt x="15" y="3"/>
                  <a:pt x="13" y="5"/>
                </a:cubicBezTo>
                <a:cubicBezTo>
                  <a:pt x="10" y="6"/>
                  <a:pt x="8" y="3"/>
                  <a:pt x="7" y="5"/>
                </a:cubicBezTo>
                <a:cubicBezTo>
                  <a:pt x="6" y="7"/>
                  <a:pt x="3" y="4"/>
                  <a:pt x="2" y="5"/>
                </a:cubicBezTo>
                <a:cubicBezTo>
                  <a:pt x="1" y="6"/>
                  <a:pt x="0" y="6"/>
                  <a:pt x="0" y="7"/>
                </a:cubicBezTo>
                <a:cubicBezTo>
                  <a:pt x="1" y="8"/>
                  <a:pt x="2" y="9"/>
                  <a:pt x="2" y="10"/>
                </a:cubicBezTo>
                <a:cubicBezTo>
                  <a:pt x="2" y="12"/>
                  <a:pt x="6" y="13"/>
                  <a:pt x="6" y="16"/>
                </a:cubicBezTo>
                <a:cubicBezTo>
                  <a:pt x="6" y="18"/>
                  <a:pt x="10" y="20"/>
                  <a:pt x="11" y="19"/>
                </a:cubicBezTo>
                <a:cubicBezTo>
                  <a:pt x="13" y="18"/>
                  <a:pt x="16" y="17"/>
                  <a:pt x="16" y="20"/>
                </a:cubicBezTo>
                <a:cubicBezTo>
                  <a:pt x="17" y="23"/>
                  <a:pt x="18" y="23"/>
                  <a:pt x="18" y="25"/>
                </a:cubicBezTo>
                <a:cubicBezTo>
                  <a:pt x="18" y="27"/>
                  <a:pt x="14" y="26"/>
                  <a:pt x="13" y="28"/>
                </a:cubicBezTo>
                <a:cubicBezTo>
                  <a:pt x="12" y="30"/>
                  <a:pt x="21" y="33"/>
                  <a:pt x="21" y="35"/>
                </a:cubicBezTo>
                <a:cubicBezTo>
                  <a:pt x="21" y="37"/>
                  <a:pt x="23" y="39"/>
                  <a:pt x="24" y="41"/>
                </a:cubicBezTo>
                <a:cubicBezTo>
                  <a:pt x="25" y="43"/>
                  <a:pt x="29" y="46"/>
                  <a:pt x="30" y="48"/>
                </a:cubicBezTo>
                <a:cubicBezTo>
                  <a:pt x="31" y="51"/>
                  <a:pt x="34" y="52"/>
                  <a:pt x="35" y="54"/>
                </a:cubicBezTo>
                <a:cubicBezTo>
                  <a:pt x="37" y="55"/>
                  <a:pt x="37" y="58"/>
                  <a:pt x="37" y="61"/>
                </a:cubicBezTo>
                <a:cubicBezTo>
                  <a:pt x="36" y="63"/>
                  <a:pt x="36" y="68"/>
                  <a:pt x="39" y="72"/>
                </a:cubicBezTo>
                <a:cubicBezTo>
                  <a:pt x="42" y="76"/>
                  <a:pt x="36" y="78"/>
                  <a:pt x="34" y="80"/>
                </a:cubicBezTo>
                <a:cubicBezTo>
                  <a:pt x="32" y="82"/>
                  <a:pt x="33" y="85"/>
                  <a:pt x="28" y="84"/>
                </a:cubicBezTo>
                <a:cubicBezTo>
                  <a:pt x="23" y="82"/>
                  <a:pt x="29" y="88"/>
                  <a:pt x="28" y="90"/>
                </a:cubicBezTo>
                <a:cubicBezTo>
                  <a:pt x="27" y="91"/>
                  <a:pt x="20" y="88"/>
                  <a:pt x="20" y="90"/>
                </a:cubicBezTo>
                <a:cubicBezTo>
                  <a:pt x="20" y="91"/>
                  <a:pt x="18" y="92"/>
                  <a:pt x="16" y="93"/>
                </a:cubicBezTo>
                <a:cubicBezTo>
                  <a:pt x="17" y="94"/>
                  <a:pt x="18" y="95"/>
                  <a:pt x="19" y="95"/>
                </a:cubicBezTo>
                <a:cubicBezTo>
                  <a:pt x="21" y="96"/>
                  <a:pt x="17" y="98"/>
                  <a:pt x="17" y="101"/>
                </a:cubicBezTo>
                <a:cubicBezTo>
                  <a:pt x="17" y="105"/>
                  <a:pt x="20" y="105"/>
                  <a:pt x="21" y="104"/>
                </a:cubicBezTo>
                <a:cubicBezTo>
                  <a:pt x="21" y="103"/>
                  <a:pt x="25" y="100"/>
                  <a:pt x="27" y="99"/>
                </a:cubicBezTo>
                <a:cubicBezTo>
                  <a:pt x="28" y="99"/>
                  <a:pt x="27" y="97"/>
                  <a:pt x="28" y="97"/>
                </a:cubicBezTo>
                <a:cubicBezTo>
                  <a:pt x="30" y="97"/>
                  <a:pt x="29" y="94"/>
                  <a:pt x="30" y="93"/>
                </a:cubicBezTo>
                <a:cubicBezTo>
                  <a:pt x="31" y="92"/>
                  <a:pt x="32" y="92"/>
                  <a:pt x="34" y="92"/>
                </a:cubicBezTo>
                <a:cubicBezTo>
                  <a:pt x="37" y="92"/>
                  <a:pt x="40" y="90"/>
                  <a:pt x="44" y="88"/>
                </a:cubicBezTo>
                <a:cubicBezTo>
                  <a:pt x="47" y="86"/>
                  <a:pt x="48" y="85"/>
                  <a:pt x="49" y="79"/>
                </a:cubicBezTo>
                <a:cubicBezTo>
                  <a:pt x="51" y="72"/>
                  <a:pt x="48" y="65"/>
                  <a:pt x="48" y="63"/>
                </a:cubicBezTo>
                <a:cubicBezTo>
                  <a:pt x="47" y="61"/>
                  <a:pt x="43" y="52"/>
                  <a:pt x="41" y="52"/>
                </a:cubicBezTo>
                <a:cubicBezTo>
                  <a:pt x="39" y="52"/>
                  <a:pt x="31" y="44"/>
                  <a:pt x="30" y="43"/>
                </a:cubicBezTo>
                <a:cubicBezTo>
                  <a:pt x="29" y="41"/>
                  <a:pt x="29" y="39"/>
                  <a:pt x="27" y="37"/>
                </a:cubicBezTo>
                <a:cubicBezTo>
                  <a:pt x="25" y="36"/>
                  <a:pt x="25" y="31"/>
                  <a:pt x="25" y="28"/>
                </a:cubicBezTo>
                <a:cubicBezTo>
                  <a:pt x="26" y="25"/>
                  <a:pt x="30" y="24"/>
                  <a:pt x="30" y="22"/>
                </a:cubicBezTo>
                <a:cubicBezTo>
                  <a:pt x="30" y="20"/>
                  <a:pt x="30" y="18"/>
                  <a:pt x="33" y="18"/>
                </a:cubicBezTo>
                <a:cubicBezTo>
                  <a:pt x="35" y="18"/>
                  <a:pt x="37" y="16"/>
                  <a:pt x="38" y="14"/>
                </a:cubicBezTo>
                <a:cubicBezTo>
                  <a:pt x="38" y="14"/>
                  <a:pt x="38" y="14"/>
                  <a:pt x="39" y="14"/>
                </a:cubicBezTo>
                <a:cubicBezTo>
                  <a:pt x="38" y="13"/>
                  <a:pt x="38" y="13"/>
                  <a:pt x="37" y="1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 name="Freeform 67"/>
          <p:cNvSpPr/>
          <p:nvPr/>
        </p:nvSpPr>
        <p:spPr bwMode="auto">
          <a:xfrm>
            <a:off x="6198667" y="2859535"/>
            <a:ext cx="119063" cy="85725"/>
          </a:xfrm>
          <a:custGeom>
            <a:avLst/>
            <a:gdLst>
              <a:gd name="T0" fmla="*/ 20 w 42"/>
              <a:gd name="T1" fmla="*/ 27 h 30"/>
              <a:gd name="T2" fmla="*/ 28 w 42"/>
              <a:gd name="T3" fmla="*/ 27 h 30"/>
              <a:gd name="T4" fmla="*/ 28 w 42"/>
              <a:gd name="T5" fmla="*/ 21 h 30"/>
              <a:gd name="T6" fmla="*/ 34 w 42"/>
              <a:gd name="T7" fmla="*/ 17 h 30"/>
              <a:gd name="T8" fmla="*/ 39 w 42"/>
              <a:gd name="T9" fmla="*/ 9 h 30"/>
              <a:gd name="T10" fmla="*/ 37 w 42"/>
              <a:gd name="T11" fmla="*/ 0 h 30"/>
              <a:gd name="T12" fmla="*/ 32 w 42"/>
              <a:gd name="T13" fmla="*/ 1 h 30"/>
              <a:gd name="T14" fmla="*/ 27 w 42"/>
              <a:gd name="T15" fmla="*/ 3 h 30"/>
              <a:gd name="T16" fmla="*/ 25 w 42"/>
              <a:gd name="T17" fmla="*/ 5 h 30"/>
              <a:gd name="T18" fmla="*/ 21 w 42"/>
              <a:gd name="T19" fmla="*/ 2 h 30"/>
              <a:gd name="T20" fmla="*/ 12 w 42"/>
              <a:gd name="T21" fmla="*/ 2 h 30"/>
              <a:gd name="T22" fmla="*/ 2 w 42"/>
              <a:gd name="T23" fmla="*/ 6 h 30"/>
              <a:gd name="T24" fmla="*/ 3 w 42"/>
              <a:gd name="T25" fmla="*/ 12 h 30"/>
              <a:gd name="T26" fmla="*/ 3 w 42"/>
              <a:gd name="T27" fmla="*/ 18 h 30"/>
              <a:gd name="T28" fmla="*/ 3 w 42"/>
              <a:gd name="T29" fmla="*/ 18 h 30"/>
              <a:gd name="T30" fmla="*/ 5 w 42"/>
              <a:gd name="T31" fmla="*/ 24 h 30"/>
              <a:gd name="T32" fmla="*/ 10 w 42"/>
              <a:gd name="T33" fmla="*/ 25 h 30"/>
              <a:gd name="T34" fmla="*/ 10 w 42"/>
              <a:gd name="T35" fmla="*/ 29 h 30"/>
              <a:gd name="T36" fmla="*/ 15 w 42"/>
              <a:gd name="T37" fmla="*/ 29 h 30"/>
              <a:gd name="T38" fmla="*/ 16 w 42"/>
              <a:gd name="T39" fmla="*/ 30 h 30"/>
              <a:gd name="T40" fmla="*/ 20 w 42"/>
              <a:gd name="T4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30">
                <a:moveTo>
                  <a:pt x="20" y="27"/>
                </a:moveTo>
                <a:cubicBezTo>
                  <a:pt x="20" y="25"/>
                  <a:pt x="27" y="28"/>
                  <a:pt x="28" y="27"/>
                </a:cubicBezTo>
                <a:cubicBezTo>
                  <a:pt x="29" y="25"/>
                  <a:pt x="23" y="19"/>
                  <a:pt x="28" y="21"/>
                </a:cubicBezTo>
                <a:cubicBezTo>
                  <a:pt x="33" y="22"/>
                  <a:pt x="32" y="19"/>
                  <a:pt x="34" y="17"/>
                </a:cubicBezTo>
                <a:cubicBezTo>
                  <a:pt x="36" y="15"/>
                  <a:pt x="42" y="13"/>
                  <a:pt x="39" y="9"/>
                </a:cubicBezTo>
                <a:cubicBezTo>
                  <a:pt x="37" y="6"/>
                  <a:pt x="37" y="3"/>
                  <a:pt x="37" y="0"/>
                </a:cubicBezTo>
                <a:cubicBezTo>
                  <a:pt x="35" y="2"/>
                  <a:pt x="33" y="2"/>
                  <a:pt x="32" y="1"/>
                </a:cubicBezTo>
                <a:cubicBezTo>
                  <a:pt x="30" y="1"/>
                  <a:pt x="27" y="0"/>
                  <a:pt x="27" y="3"/>
                </a:cubicBezTo>
                <a:cubicBezTo>
                  <a:pt x="27" y="5"/>
                  <a:pt x="25" y="6"/>
                  <a:pt x="25" y="5"/>
                </a:cubicBezTo>
                <a:cubicBezTo>
                  <a:pt x="25" y="3"/>
                  <a:pt x="23" y="4"/>
                  <a:pt x="21" y="2"/>
                </a:cubicBezTo>
                <a:cubicBezTo>
                  <a:pt x="20" y="0"/>
                  <a:pt x="14" y="2"/>
                  <a:pt x="12" y="2"/>
                </a:cubicBezTo>
                <a:cubicBezTo>
                  <a:pt x="9" y="1"/>
                  <a:pt x="5" y="3"/>
                  <a:pt x="2" y="6"/>
                </a:cubicBezTo>
                <a:cubicBezTo>
                  <a:pt x="0" y="10"/>
                  <a:pt x="3" y="10"/>
                  <a:pt x="3" y="12"/>
                </a:cubicBezTo>
                <a:cubicBezTo>
                  <a:pt x="3" y="15"/>
                  <a:pt x="4" y="15"/>
                  <a:pt x="3" y="18"/>
                </a:cubicBezTo>
                <a:cubicBezTo>
                  <a:pt x="3" y="18"/>
                  <a:pt x="3" y="18"/>
                  <a:pt x="3" y="18"/>
                </a:cubicBezTo>
                <a:cubicBezTo>
                  <a:pt x="6" y="19"/>
                  <a:pt x="5" y="22"/>
                  <a:pt x="5" y="24"/>
                </a:cubicBezTo>
                <a:cubicBezTo>
                  <a:pt x="6" y="26"/>
                  <a:pt x="8" y="25"/>
                  <a:pt x="10" y="25"/>
                </a:cubicBezTo>
                <a:cubicBezTo>
                  <a:pt x="11" y="25"/>
                  <a:pt x="9" y="27"/>
                  <a:pt x="10" y="29"/>
                </a:cubicBezTo>
                <a:cubicBezTo>
                  <a:pt x="11" y="30"/>
                  <a:pt x="15" y="27"/>
                  <a:pt x="15" y="29"/>
                </a:cubicBezTo>
                <a:cubicBezTo>
                  <a:pt x="15" y="29"/>
                  <a:pt x="16" y="30"/>
                  <a:pt x="16" y="30"/>
                </a:cubicBezTo>
                <a:cubicBezTo>
                  <a:pt x="18" y="29"/>
                  <a:pt x="20" y="28"/>
                  <a:pt x="20" y="2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 name="Freeform 68"/>
          <p:cNvSpPr/>
          <p:nvPr/>
        </p:nvSpPr>
        <p:spPr bwMode="auto">
          <a:xfrm>
            <a:off x="6157392" y="2697610"/>
            <a:ext cx="146050" cy="179388"/>
          </a:xfrm>
          <a:custGeom>
            <a:avLst/>
            <a:gdLst>
              <a:gd name="T0" fmla="*/ 35 w 51"/>
              <a:gd name="T1" fmla="*/ 29 h 63"/>
              <a:gd name="T2" fmla="*/ 27 w 51"/>
              <a:gd name="T3" fmla="*/ 22 h 63"/>
              <a:gd name="T4" fmla="*/ 32 w 51"/>
              <a:gd name="T5" fmla="*/ 19 h 63"/>
              <a:gd name="T6" fmla="*/ 30 w 51"/>
              <a:gd name="T7" fmla="*/ 14 h 63"/>
              <a:gd name="T8" fmla="*/ 25 w 51"/>
              <a:gd name="T9" fmla="*/ 13 h 63"/>
              <a:gd name="T10" fmla="*/ 20 w 51"/>
              <a:gd name="T11" fmla="*/ 10 h 63"/>
              <a:gd name="T12" fmla="*/ 16 w 51"/>
              <a:gd name="T13" fmla="*/ 4 h 63"/>
              <a:gd name="T14" fmla="*/ 14 w 51"/>
              <a:gd name="T15" fmla="*/ 1 h 63"/>
              <a:gd name="T16" fmla="*/ 11 w 51"/>
              <a:gd name="T17" fmla="*/ 1 h 63"/>
              <a:gd name="T18" fmla="*/ 10 w 51"/>
              <a:gd name="T19" fmla="*/ 4 h 63"/>
              <a:gd name="T20" fmla="*/ 10 w 51"/>
              <a:gd name="T21" fmla="*/ 10 h 63"/>
              <a:gd name="T22" fmla="*/ 6 w 51"/>
              <a:gd name="T23" fmla="*/ 7 h 63"/>
              <a:gd name="T24" fmla="*/ 3 w 51"/>
              <a:gd name="T25" fmla="*/ 12 h 63"/>
              <a:gd name="T26" fmla="*/ 0 w 51"/>
              <a:gd name="T27" fmla="*/ 14 h 63"/>
              <a:gd name="T28" fmla="*/ 2 w 51"/>
              <a:gd name="T29" fmla="*/ 16 h 63"/>
              <a:gd name="T30" fmla="*/ 2 w 51"/>
              <a:gd name="T31" fmla="*/ 21 h 63"/>
              <a:gd name="T32" fmla="*/ 7 w 51"/>
              <a:gd name="T33" fmla="*/ 23 h 63"/>
              <a:gd name="T34" fmla="*/ 6 w 51"/>
              <a:gd name="T35" fmla="*/ 30 h 63"/>
              <a:gd name="T36" fmla="*/ 5 w 51"/>
              <a:gd name="T37" fmla="*/ 35 h 63"/>
              <a:gd name="T38" fmla="*/ 11 w 51"/>
              <a:gd name="T39" fmla="*/ 33 h 63"/>
              <a:gd name="T40" fmla="*/ 16 w 51"/>
              <a:gd name="T41" fmla="*/ 33 h 63"/>
              <a:gd name="T42" fmla="*/ 20 w 51"/>
              <a:gd name="T43" fmla="*/ 32 h 63"/>
              <a:gd name="T44" fmla="*/ 27 w 51"/>
              <a:gd name="T45" fmla="*/ 31 h 63"/>
              <a:gd name="T46" fmla="*/ 32 w 51"/>
              <a:gd name="T47" fmla="*/ 36 h 63"/>
              <a:gd name="T48" fmla="*/ 32 w 51"/>
              <a:gd name="T49" fmla="*/ 44 h 63"/>
              <a:gd name="T50" fmla="*/ 37 w 51"/>
              <a:gd name="T51" fmla="*/ 52 h 63"/>
              <a:gd name="T52" fmla="*/ 36 w 51"/>
              <a:gd name="T53" fmla="*/ 60 h 63"/>
              <a:gd name="T54" fmla="*/ 39 w 51"/>
              <a:gd name="T55" fmla="*/ 62 h 63"/>
              <a:gd name="T56" fmla="*/ 41 w 51"/>
              <a:gd name="T57" fmla="*/ 60 h 63"/>
              <a:gd name="T58" fmla="*/ 46 w 51"/>
              <a:gd name="T59" fmla="*/ 58 h 63"/>
              <a:gd name="T60" fmla="*/ 51 w 51"/>
              <a:gd name="T61" fmla="*/ 57 h 63"/>
              <a:gd name="T62" fmla="*/ 51 w 51"/>
              <a:gd name="T63" fmla="*/ 55 h 63"/>
              <a:gd name="T64" fmla="*/ 49 w 51"/>
              <a:gd name="T65" fmla="*/ 48 h 63"/>
              <a:gd name="T66" fmla="*/ 44 w 51"/>
              <a:gd name="T67" fmla="*/ 42 h 63"/>
              <a:gd name="T68" fmla="*/ 38 w 51"/>
              <a:gd name="T69" fmla="*/ 35 h 63"/>
              <a:gd name="T70" fmla="*/ 35 w 51"/>
              <a:gd name="T71" fmla="*/ 2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63">
                <a:moveTo>
                  <a:pt x="35" y="29"/>
                </a:moveTo>
                <a:cubicBezTo>
                  <a:pt x="35" y="27"/>
                  <a:pt x="26" y="24"/>
                  <a:pt x="27" y="22"/>
                </a:cubicBezTo>
                <a:cubicBezTo>
                  <a:pt x="28" y="20"/>
                  <a:pt x="32" y="21"/>
                  <a:pt x="32" y="19"/>
                </a:cubicBezTo>
                <a:cubicBezTo>
                  <a:pt x="32" y="17"/>
                  <a:pt x="31" y="17"/>
                  <a:pt x="30" y="14"/>
                </a:cubicBezTo>
                <a:cubicBezTo>
                  <a:pt x="30" y="11"/>
                  <a:pt x="27" y="12"/>
                  <a:pt x="25" y="13"/>
                </a:cubicBezTo>
                <a:cubicBezTo>
                  <a:pt x="24" y="14"/>
                  <a:pt x="20" y="12"/>
                  <a:pt x="20" y="10"/>
                </a:cubicBezTo>
                <a:cubicBezTo>
                  <a:pt x="20" y="7"/>
                  <a:pt x="16" y="6"/>
                  <a:pt x="16" y="4"/>
                </a:cubicBezTo>
                <a:cubicBezTo>
                  <a:pt x="16" y="3"/>
                  <a:pt x="15" y="2"/>
                  <a:pt x="14" y="1"/>
                </a:cubicBezTo>
                <a:cubicBezTo>
                  <a:pt x="13" y="1"/>
                  <a:pt x="12" y="1"/>
                  <a:pt x="11" y="1"/>
                </a:cubicBezTo>
                <a:cubicBezTo>
                  <a:pt x="10" y="0"/>
                  <a:pt x="9" y="4"/>
                  <a:pt x="10" y="4"/>
                </a:cubicBezTo>
                <a:cubicBezTo>
                  <a:pt x="11" y="5"/>
                  <a:pt x="12" y="10"/>
                  <a:pt x="10" y="10"/>
                </a:cubicBezTo>
                <a:cubicBezTo>
                  <a:pt x="8" y="9"/>
                  <a:pt x="8" y="6"/>
                  <a:pt x="6" y="7"/>
                </a:cubicBezTo>
                <a:cubicBezTo>
                  <a:pt x="6" y="7"/>
                  <a:pt x="3" y="11"/>
                  <a:pt x="3" y="12"/>
                </a:cubicBezTo>
                <a:cubicBezTo>
                  <a:pt x="3" y="13"/>
                  <a:pt x="1" y="14"/>
                  <a:pt x="0" y="14"/>
                </a:cubicBezTo>
                <a:cubicBezTo>
                  <a:pt x="1" y="15"/>
                  <a:pt x="1" y="15"/>
                  <a:pt x="2" y="16"/>
                </a:cubicBezTo>
                <a:cubicBezTo>
                  <a:pt x="2" y="17"/>
                  <a:pt x="1" y="19"/>
                  <a:pt x="2" y="21"/>
                </a:cubicBezTo>
                <a:cubicBezTo>
                  <a:pt x="3" y="23"/>
                  <a:pt x="6" y="20"/>
                  <a:pt x="7" y="23"/>
                </a:cubicBezTo>
                <a:cubicBezTo>
                  <a:pt x="8" y="26"/>
                  <a:pt x="6" y="27"/>
                  <a:pt x="6" y="30"/>
                </a:cubicBezTo>
                <a:cubicBezTo>
                  <a:pt x="6" y="33"/>
                  <a:pt x="4" y="33"/>
                  <a:pt x="5" y="35"/>
                </a:cubicBezTo>
                <a:cubicBezTo>
                  <a:pt x="5" y="38"/>
                  <a:pt x="8" y="35"/>
                  <a:pt x="11" y="33"/>
                </a:cubicBezTo>
                <a:cubicBezTo>
                  <a:pt x="13" y="31"/>
                  <a:pt x="15" y="32"/>
                  <a:pt x="16" y="33"/>
                </a:cubicBezTo>
                <a:cubicBezTo>
                  <a:pt x="17" y="34"/>
                  <a:pt x="19" y="33"/>
                  <a:pt x="20" y="32"/>
                </a:cubicBezTo>
                <a:cubicBezTo>
                  <a:pt x="21" y="30"/>
                  <a:pt x="25" y="29"/>
                  <a:pt x="27" y="31"/>
                </a:cubicBezTo>
                <a:cubicBezTo>
                  <a:pt x="28" y="33"/>
                  <a:pt x="29" y="35"/>
                  <a:pt x="32" y="36"/>
                </a:cubicBezTo>
                <a:cubicBezTo>
                  <a:pt x="34" y="37"/>
                  <a:pt x="30" y="44"/>
                  <a:pt x="32" y="44"/>
                </a:cubicBezTo>
                <a:cubicBezTo>
                  <a:pt x="34" y="45"/>
                  <a:pt x="37" y="48"/>
                  <a:pt x="37" y="52"/>
                </a:cubicBezTo>
                <a:cubicBezTo>
                  <a:pt x="37" y="55"/>
                  <a:pt x="38" y="57"/>
                  <a:pt x="36" y="60"/>
                </a:cubicBezTo>
                <a:cubicBezTo>
                  <a:pt x="37" y="61"/>
                  <a:pt x="39" y="61"/>
                  <a:pt x="39" y="62"/>
                </a:cubicBezTo>
                <a:cubicBezTo>
                  <a:pt x="39" y="63"/>
                  <a:pt x="41" y="62"/>
                  <a:pt x="41" y="60"/>
                </a:cubicBezTo>
                <a:cubicBezTo>
                  <a:pt x="41" y="57"/>
                  <a:pt x="44" y="58"/>
                  <a:pt x="46" y="58"/>
                </a:cubicBezTo>
                <a:cubicBezTo>
                  <a:pt x="47" y="59"/>
                  <a:pt x="49" y="59"/>
                  <a:pt x="51" y="57"/>
                </a:cubicBezTo>
                <a:cubicBezTo>
                  <a:pt x="51" y="56"/>
                  <a:pt x="51" y="55"/>
                  <a:pt x="51" y="55"/>
                </a:cubicBezTo>
                <a:cubicBezTo>
                  <a:pt x="51" y="52"/>
                  <a:pt x="51" y="49"/>
                  <a:pt x="49" y="48"/>
                </a:cubicBezTo>
                <a:cubicBezTo>
                  <a:pt x="48" y="46"/>
                  <a:pt x="45" y="45"/>
                  <a:pt x="44" y="42"/>
                </a:cubicBezTo>
                <a:cubicBezTo>
                  <a:pt x="43" y="40"/>
                  <a:pt x="39" y="37"/>
                  <a:pt x="38" y="35"/>
                </a:cubicBezTo>
                <a:cubicBezTo>
                  <a:pt x="37" y="33"/>
                  <a:pt x="35" y="31"/>
                  <a:pt x="35" y="2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 name="Freeform 69"/>
          <p:cNvSpPr/>
          <p:nvPr/>
        </p:nvSpPr>
        <p:spPr bwMode="auto">
          <a:xfrm>
            <a:off x="6109767" y="2737298"/>
            <a:ext cx="157163" cy="298450"/>
          </a:xfrm>
          <a:custGeom>
            <a:avLst/>
            <a:gdLst>
              <a:gd name="T0" fmla="*/ 34 w 55"/>
              <a:gd name="T1" fmla="*/ 55 h 105"/>
              <a:gd name="T2" fmla="*/ 33 w 55"/>
              <a:gd name="T3" fmla="*/ 49 h 105"/>
              <a:gd name="T4" fmla="*/ 43 w 55"/>
              <a:gd name="T5" fmla="*/ 45 h 105"/>
              <a:gd name="T6" fmla="*/ 52 w 55"/>
              <a:gd name="T7" fmla="*/ 45 h 105"/>
              <a:gd name="T8" fmla="*/ 53 w 55"/>
              <a:gd name="T9" fmla="*/ 46 h 105"/>
              <a:gd name="T10" fmla="*/ 54 w 55"/>
              <a:gd name="T11" fmla="*/ 38 h 105"/>
              <a:gd name="T12" fmla="*/ 49 w 55"/>
              <a:gd name="T13" fmla="*/ 30 h 105"/>
              <a:gd name="T14" fmla="*/ 49 w 55"/>
              <a:gd name="T15" fmla="*/ 22 h 105"/>
              <a:gd name="T16" fmla="*/ 44 w 55"/>
              <a:gd name="T17" fmla="*/ 17 h 105"/>
              <a:gd name="T18" fmla="*/ 37 w 55"/>
              <a:gd name="T19" fmla="*/ 18 h 105"/>
              <a:gd name="T20" fmla="*/ 33 w 55"/>
              <a:gd name="T21" fmla="*/ 19 h 105"/>
              <a:gd name="T22" fmla="*/ 28 w 55"/>
              <a:gd name="T23" fmla="*/ 19 h 105"/>
              <a:gd name="T24" fmla="*/ 22 w 55"/>
              <a:gd name="T25" fmla="*/ 21 h 105"/>
              <a:gd name="T26" fmla="*/ 23 w 55"/>
              <a:gd name="T27" fmla="*/ 16 h 105"/>
              <a:gd name="T28" fmla="*/ 24 w 55"/>
              <a:gd name="T29" fmla="*/ 9 h 105"/>
              <a:gd name="T30" fmla="*/ 19 w 55"/>
              <a:gd name="T31" fmla="*/ 7 h 105"/>
              <a:gd name="T32" fmla="*/ 19 w 55"/>
              <a:gd name="T33" fmla="*/ 2 h 105"/>
              <a:gd name="T34" fmla="*/ 17 w 55"/>
              <a:gd name="T35" fmla="*/ 0 h 105"/>
              <a:gd name="T36" fmla="*/ 16 w 55"/>
              <a:gd name="T37" fmla="*/ 1 h 105"/>
              <a:gd name="T38" fmla="*/ 10 w 55"/>
              <a:gd name="T39" fmla="*/ 5 h 105"/>
              <a:gd name="T40" fmla="*/ 5 w 55"/>
              <a:gd name="T41" fmla="*/ 6 h 105"/>
              <a:gd name="T42" fmla="*/ 1 w 55"/>
              <a:gd name="T43" fmla="*/ 9 h 105"/>
              <a:gd name="T44" fmla="*/ 0 w 55"/>
              <a:gd name="T45" fmla="*/ 20 h 105"/>
              <a:gd name="T46" fmla="*/ 5 w 55"/>
              <a:gd name="T47" fmla="*/ 26 h 105"/>
              <a:gd name="T48" fmla="*/ 6 w 55"/>
              <a:gd name="T49" fmla="*/ 30 h 105"/>
              <a:gd name="T50" fmla="*/ 6 w 55"/>
              <a:gd name="T51" fmla="*/ 34 h 105"/>
              <a:gd name="T52" fmla="*/ 5 w 55"/>
              <a:gd name="T53" fmla="*/ 39 h 105"/>
              <a:gd name="T54" fmla="*/ 7 w 55"/>
              <a:gd name="T55" fmla="*/ 46 h 105"/>
              <a:gd name="T56" fmla="*/ 10 w 55"/>
              <a:gd name="T57" fmla="*/ 54 h 105"/>
              <a:gd name="T58" fmla="*/ 12 w 55"/>
              <a:gd name="T59" fmla="*/ 60 h 105"/>
              <a:gd name="T60" fmla="*/ 6 w 55"/>
              <a:gd name="T61" fmla="*/ 71 h 105"/>
              <a:gd name="T62" fmla="*/ 4 w 55"/>
              <a:gd name="T63" fmla="*/ 81 h 105"/>
              <a:gd name="T64" fmla="*/ 5 w 55"/>
              <a:gd name="T65" fmla="*/ 87 h 105"/>
              <a:gd name="T66" fmla="*/ 14 w 55"/>
              <a:gd name="T67" fmla="*/ 96 h 105"/>
              <a:gd name="T68" fmla="*/ 16 w 55"/>
              <a:gd name="T69" fmla="*/ 99 h 105"/>
              <a:gd name="T70" fmla="*/ 20 w 55"/>
              <a:gd name="T71" fmla="*/ 100 h 105"/>
              <a:gd name="T72" fmla="*/ 23 w 55"/>
              <a:gd name="T73" fmla="*/ 104 h 105"/>
              <a:gd name="T74" fmla="*/ 28 w 55"/>
              <a:gd name="T75" fmla="*/ 104 h 105"/>
              <a:gd name="T76" fmla="*/ 31 w 55"/>
              <a:gd name="T77" fmla="*/ 102 h 105"/>
              <a:gd name="T78" fmla="*/ 23 w 55"/>
              <a:gd name="T79" fmla="*/ 97 h 105"/>
              <a:gd name="T80" fmla="*/ 18 w 55"/>
              <a:gd name="T81" fmla="*/ 89 h 105"/>
              <a:gd name="T82" fmla="*/ 15 w 55"/>
              <a:gd name="T83" fmla="*/ 83 h 105"/>
              <a:gd name="T84" fmla="*/ 11 w 55"/>
              <a:gd name="T85" fmla="*/ 79 h 105"/>
              <a:gd name="T86" fmla="*/ 12 w 55"/>
              <a:gd name="T87" fmla="*/ 68 h 105"/>
              <a:gd name="T88" fmla="*/ 16 w 55"/>
              <a:gd name="T89" fmla="*/ 54 h 105"/>
              <a:gd name="T90" fmla="*/ 21 w 55"/>
              <a:gd name="T91" fmla="*/ 53 h 105"/>
              <a:gd name="T92" fmla="*/ 27 w 55"/>
              <a:gd name="T93" fmla="*/ 57 h 105"/>
              <a:gd name="T94" fmla="*/ 34 w 55"/>
              <a:gd name="T95" fmla="*/ 61 h 105"/>
              <a:gd name="T96" fmla="*/ 34 w 55"/>
              <a:gd name="T97" fmla="*/ 61 h 105"/>
              <a:gd name="T98" fmla="*/ 34 w 55"/>
              <a:gd name="T99" fmla="*/ 61 h 105"/>
              <a:gd name="T100" fmla="*/ 34 w 55"/>
              <a:gd name="T101" fmla="*/ 5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 h="105">
                <a:moveTo>
                  <a:pt x="34" y="55"/>
                </a:moveTo>
                <a:cubicBezTo>
                  <a:pt x="34" y="53"/>
                  <a:pt x="31" y="53"/>
                  <a:pt x="33" y="49"/>
                </a:cubicBezTo>
                <a:cubicBezTo>
                  <a:pt x="36" y="46"/>
                  <a:pt x="40" y="44"/>
                  <a:pt x="43" y="45"/>
                </a:cubicBezTo>
                <a:cubicBezTo>
                  <a:pt x="45" y="45"/>
                  <a:pt x="51" y="43"/>
                  <a:pt x="52" y="45"/>
                </a:cubicBezTo>
                <a:cubicBezTo>
                  <a:pt x="52" y="45"/>
                  <a:pt x="53" y="45"/>
                  <a:pt x="53" y="46"/>
                </a:cubicBezTo>
                <a:cubicBezTo>
                  <a:pt x="55" y="43"/>
                  <a:pt x="54" y="41"/>
                  <a:pt x="54" y="38"/>
                </a:cubicBezTo>
                <a:cubicBezTo>
                  <a:pt x="54" y="34"/>
                  <a:pt x="51" y="31"/>
                  <a:pt x="49" y="30"/>
                </a:cubicBezTo>
                <a:cubicBezTo>
                  <a:pt x="47" y="30"/>
                  <a:pt x="51" y="23"/>
                  <a:pt x="49" y="22"/>
                </a:cubicBezTo>
                <a:cubicBezTo>
                  <a:pt x="46" y="21"/>
                  <a:pt x="45" y="19"/>
                  <a:pt x="44" y="17"/>
                </a:cubicBezTo>
                <a:cubicBezTo>
                  <a:pt x="42" y="15"/>
                  <a:pt x="38" y="16"/>
                  <a:pt x="37" y="18"/>
                </a:cubicBezTo>
                <a:cubicBezTo>
                  <a:pt x="36" y="19"/>
                  <a:pt x="34" y="20"/>
                  <a:pt x="33" y="19"/>
                </a:cubicBezTo>
                <a:cubicBezTo>
                  <a:pt x="32" y="18"/>
                  <a:pt x="30" y="17"/>
                  <a:pt x="28" y="19"/>
                </a:cubicBezTo>
                <a:cubicBezTo>
                  <a:pt x="25" y="21"/>
                  <a:pt x="22" y="24"/>
                  <a:pt x="22" y="21"/>
                </a:cubicBezTo>
                <a:cubicBezTo>
                  <a:pt x="21" y="19"/>
                  <a:pt x="23" y="19"/>
                  <a:pt x="23" y="16"/>
                </a:cubicBezTo>
                <a:cubicBezTo>
                  <a:pt x="23" y="13"/>
                  <a:pt x="25" y="12"/>
                  <a:pt x="24" y="9"/>
                </a:cubicBezTo>
                <a:cubicBezTo>
                  <a:pt x="23" y="6"/>
                  <a:pt x="20" y="9"/>
                  <a:pt x="19" y="7"/>
                </a:cubicBezTo>
                <a:cubicBezTo>
                  <a:pt x="18" y="5"/>
                  <a:pt x="19" y="3"/>
                  <a:pt x="19" y="2"/>
                </a:cubicBezTo>
                <a:cubicBezTo>
                  <a:pt x="18" y="1"/>
                  <a:pt x="18" y="1"/>
                  <a:pt x="17" y="0"/>
                </a:cubicBezTo>
                <a:cubicBezTo>
                  <a:pt x="17" y="1"/>
                  <a:pt x="16" y="1"/>
                  <a:pt x="16" y="1"/>
                </a:cubicBezTo>
                <a:cubicBezTo>
                  <a:pt x="16" y="3"/>
                  <a:pt x="11" y="3"/>
                  <a:pt x="10" y="5"/>
                </a:cubicBezTo>
                <a:cubicBezTo>
                  <a:pt x="9" y="7"/>
                  <a:pt x="5" y="6"/>
                  <a:pt x="5" y="6"/>
                </a:cubicBezTo>
                <a:cubicBezTo>
                  <a:pt x="4" y="6"/>
                  <a:pt x="1" y="7"/>
                  <a:pt x="1" y="9"/>
                </a:cubicBezTo>
                <a:cubicBezTo>
                  <a:pt x="1" y="11"/>
                  <a:pt x="0" y="18"/>
                  <a:pt x="0" y="20"/>
                </a:cubicBezTo>
                <a:cubicBezTo>
                  <a:pt x="0" y="21"/>
                  <a:pt x="3" y="25"/>
                  <a:pt x="5" y="26"/>
                </a:cubicBezTo>
                <a:cubicBezTo>
                  <a:pt x="6" y="26"/>
                  <a:pt x="4" y="30"/>
                  <a:pt x="6" y="30"/>
                </a:cubicBezTo>
                <a:cubicBezTo>
                  <a:pt x="8" y="31"/>
                  <a:pt x="7" y="34"/>
                  <a:pt x="6" y="34"/>
                </a:cubicBezTo>
                <a:cubicBezTo>
                  <a:pt x="5" y="33"/>
                  <a:pt x="6" y="37"/>
                  <a:pt x="5" y="39"/>
                </a:cubicBezTo>
                <a:cubicBezTo>
                  <a:pt x="3" y="40"/>
                  <a:pt x="4" y="43"/>
                  <a:pt x="7" y="46"/>
                </a:cubicBezTo>
                <a:cubicBezTo>
                  <a:pt x="10" y="48"/>
                  <a:pt x="10" y="52"/>
                  <a:pt x="10" y="54"/>
                </a:cubicBezTo>
                <a:cubicBezTo>
                  <a:pt x="10" y="56"/>
                  <a:pt x="12" y="57"/>
                  <a:pt x="12" y="60"/>
                </a:cubicBezTo>
                <a:cubicBezTo>
                  <a:pt x="12" y="60"/>
                  <a:pt x="9" y="71"/>
                  <a:pt x="6" y="71"/>
                </a:cubicBezTo>
                <a:cubicBezTo>
                  <a:pt x="6" y="74"/>
                  <a:pt x="5" y="78"/>
                  <a:pt x="4" y="81"/>
                </a:cubicBezTo>
                <a:cubicBezTo>
                  <a:pt x="3" y="84"/>
                  <a:pt x="3" y="87"/>
                  <a:pt x="5" y="87"/>
                </a:cubicBezTo>
                <a:cubicBezTo>
                  <a:pt x="6" y="87"/>
                  <a:pt x="10" y="91"/>
                  <a:pt x="14" y="96"/>
                </a:cubicBezTo>
                <a:cubicBezTo>
                  <a:pt x="15" y="97"/>
                  <a:pt x="15" y="98"/>
                  <a:pt x="16" y="99"/>
                </a:cubicBezTo>
                <a:cubicBezTo>
                  <a:pt x="17" y="99"/>
                  <a:pt x="18" y="99"/>
                  <a:pt x="20" y="100"/>
                </a:cubicBezTo>
                <a:cubicBezTo>
                  <a:pt x="22" y="100"/>
                  <a:pt x="23" y="102"/>
                  <a:pt x="23" y="104"/>
                </a:cubicBezTo>
                <a:cubicBezTo>
                  <a:pt x="23" y="105"/>
                  <a:pt x="28" y="105"/>
                  <a:pt x="28" y="104"/>
                </a:cubicBezTo>
                <a:cubicBezTo>
                  <a:pt x="29" y="104"/>
                  <a:pt x="28" y="102"/>
                  <a:pt x="31" y="102"/>
                </a:cubicBezTo>
                <a:cubicBezTo>
                  <a:pt x="29" y="100"/>
                  <a:pt x="26" y="97"/>
                  <a:pt x="23" y="97"/>
                </a:cubicBezTo>
                <a:cubicBezTo>
                  <a:pt x="19" y="97"/>
                  <a:pt x="18" y="91"/>
                  <a:pt x="18" y="89"/>
                </a:cubicBezTo>
                <a:cubicBezTo>
                  <a:pt x="18" y="87"/>
                  <a:pt x="15" y="85"/>
                  <a:pt x="15" y="83"/>
                </a:cubicBezTo>
                <a:cubicBezTo>
                  <a:pt x="15" y="81"/>
                  <a:pt x="13" y="81"/>
                  <a:pt x="11" y="79"/>
                </a:cubicBezTo>
                <a:cubicBezTo>
                  <a:pt x="9" y="78"/>
                  <a:pt x="11" y="71"/>
                  <a:pt x="12" y="68"/>
                </a:cubicBezTo>
                <a:cubicBezTo>
                  <a:pt x="12" y="66"/>
                  <a:pt x="17" y="57"/>
                  <a:pt x="16" y="54"/>
                </a:cubicBezTo>
                <a:cubicBezTo>
                  <a:pt x="14" y="52"/>
                  <a:pt x="21" y="50"/>
                  <a:pt x="21" y="53"/>
                </a:cubicBezTo>
                <a:cubicBezTo>
                  <a:pt x="22" y="56"/>
                  <a:pt x="22" y="57"/>
                  <a:pt x="27" y="57"/>
                </a:cubicBezTo>
                <a:cubicBezTo>
                  <a:pt x="31" y="57"/>
                  <a:pt x="31" y="60"/>
                  <a:pt x="34" y="61"/>
                </a:cubicBezTo>
                <a:cubicBezTo>
                  <a:pt x="34" y="61"/>
                  <a:pt x="34" y="61"/>
                  <a:pt x="34" y="61"/>
                </a:cubicBezTo>
                <a:cubicBezTo>
                  <a:pt x="34" y="61"/>
                  <a:pt x="34" y="61"/>
                  <a:pt x="34" y="61"/>
                </a:cubicBezTo>
                <a:cubicBezTo>
                  <a:pt x="35" y="58"/>
                  <a:pt x="34" y="58"/>
                  <a:pt x="34" y="5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4" name="Freeform 70"/>
          <p:cNvSpPr/>
          <p:nvPr/>
        </p:nvSpPr>
        <p:spPr bwMode="auto">
          <a:xfrm>
            <a:off x="4495280" y="1930848"/>
            <a:ext cx="190500" cy="157163"/>
          </a:xfrm>
          <a:custGeom>
            <a:avLst/>
            <a:gdLst>
              <a:gd name="T0" fmla="*/ 2 w 67"/>
              <a:gd name="T1" fmla="*/ 12 h 55"/>
              <a:gd name="T2" fmla="*/ 2 w 67"/>
              <a:gd name="T3" fmla="*/ 19 h 55"/>
              <a:gd name="T4" fmla="*/ 2 w 67"/>
              <a:gd name="T5" fmla="*/ 22 h 55"/>
              <a:gd name="T6" fmla="*/ 3 w 67"/>
              <a:gd name="T7" fmla="*/ 25 h 55"/>
              <a:gd name="T8" fmla="*/ 4 w 67"/>
              <a:gd name="T9" fmla="*/ 29 h 55"/>
              <a:gd name="T10" fmla="*/ 6 w 67"/>
              <a:gd name="T11" fmla="*/ 35 h 55"/>
              <a:gd name="T12" fmla="*/ 6 w 67"/>
              <a:gd name="T13" fmla="*/ 38 h 55"/>
              <a:gd name="T14" fmla="*/ 10 w 67"/>
              <a:gd name="T15" fmla="*/ 40 h 55"/>
              <a:gd name="T16" fmla="*/ 15 w 67"/>
              <a:gd name="T17" fmla="*/ 43 h 55"/>
              <a:gd name="T18" fmla="*/ 18 w 67"/>
              <a:gd name="T19" fmla="*/ 45 h 55"/>
              <a:gd name="T20" fmla="*/ 22 w 67"/>
              <a:gd name="T21" fmla="*/ 44 h 55"/>
              <a:gd name="T22" fmla="*/ 24 w 67"/>
              <a:gd name="T23" fmla="*/ 47 h 55"/>
              <a:gd name="T24" fmla="*/ 29 w 67"/>
              <a:gd name="T25" fmla="*/ 48 h 55"/>
              <a:gd name="T26" fmla="*/ 32 w 67"/>
              <a:gd name="T27" fmla="*/ 52 h 55"/>
              <a:gd name="T28" fmla="*/ 36 w 67"/>
              <a:gd name="T29" fmla="*/ 51 h 55"/>
              <a:gd name="T30" fmla="*/ 42 w 67"/>
              <a:gd name="T31" fmla="*/ 52 h 55"/>
              <a:gd name="T32" fmla="*/ 47 w 67"/>
              <a:gd name="T33" fmla="*/ 52 h 55"/>
              <a:gd name="T34" fmla="*/ 53 w 67"/>
              <a:gd name="T35" fmla="*/ 54 h 55"/>
              <a:gd name="T36" fmla="*/ 57 w 67"/>
              <a:gd name="T37" fmla="*/ 55 h 55"/>
              <a:gd name="T38" fmla="*/ 57 w 67"/>
              <a:gd name="T39" fmla="*/ 50 h 55"/>
              <a:gd name="T40" fmla="*/ 63 w 67"/>
              <a:gd name="T41" fmla="*/ 44 h 55"/>
              <a:gd name="T42" fmla="*/ 66 w 67"/>
              <a:gd name="T43" fmla="*/ 41 h 55"/>
              <a:gd name="T44" fmla="*/ 63 w 67"/>
              <a:gd name="T45" fmla="*/ 35 h 55"/>
              <a:gd name="T46" fmla="*/ 63 w 67"/>
              <a:gd name="T47" fmla="*/ 28 h 55"/>
              <a:gd name="T48" fmla="*/ 61 w 67"/>
              <a:gd name="T49" fmla="*/ 25 h 55"/>
              <a:gd name="T50" fmla="*/ 65 w 67"/>
              <a:gd name="T51" fmla="*/ 21 h 55"/>
              <a:gd name="T52" fmla="*/ 64 w 67"/>
              <a:gd name="T53" fmla="*/ 16 h 55"/>
              <a:gd name="T54" fmla="*/ 63 w 67"/>
              <a:gd name="T55" fmla="*/ 10 h 55"/>
              <a:gd name="T56" fmla="*/ 58 w 67"/>
              <a:gd name="T57" fmla="*/ 6 h 55"/>
              <a:gd name="T58" fmla="*/ 58 w 67"/>
              <a:gd name="T59" fmla="*/ 6 h 55"/>
              <a:gd name="T60" fmla="*/ 40 w 67"/>
              <a:gd name="T61" fmla="*/ 5 h 55"/>
              <a:gd name="T62" fmla="*/ 36 w 67"/>
              <a:gd name="T63" fmla="*/ 4 h 55"/>
              <a:gd name="T64" fmla="*/ 33 w 67"/>
              <a:gd name="T65" fmla="*/ 6 h 55"/>
              <a:gd name="T66" fmla="*/ 29 w 67"/>
              <a:gd name="T67" fmla="*/ 2 h 55"/>
              <a:gd name="T68" fmla="*/ 14 w 67"/>
              <a:gd name="T69" fmla="*/ 6 h 55"/>
              <a:gd name="T70" fmla="*/ 4 w 67"/>
              <a:gd name="T71" fmla="*/ 10 h 55"/>
              <a:gd name="T72" fmla="*/ 2 w 67"/>
              <a:gd name="T73" fmla="*/ 11 h 55"/>
              <a:gd name="T74" fmla="*/ 2 w 67"/>
              <a:gd name="T75"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55">
                <a:moveTo>
                  <a:pt x="2" y="12"/>
                </a:moveTo>
                <a:cubicBezTo>
                  <a:pt x="2" y="13"/>
                  <a:pt x="3" y="18"/>
                  <a:pt x="2" y="19"/>
                </a:cubicBezTo>
                <a:cubicBezTo>
                  <a:pt x="0" y="21"/>
                  <a:pt x="1" y="21"/>
                  <a:pt x="2" y="22"/>
                </a:cubicBezTo>
                <a:cubicBezTo>
                  <a:pt x="3" y="23"/>
                  <a:pt x="3" y="24"/>
                  <a:pt x="3" y="25"/>
                </a:cubicBezTo>
                <a:cubicBezTo>
                  <a:pt x="3" y="27"/>
                  <a:pt x="4" y="27"/>
                  <a:pt x="4" y="29"/>
                </a:cubicBezTo>
                <a:cubicBezTo>
                  <a:pt x="5" y="32"/>
                  <a:pt x="5" y="34"/>
                  <a:pt x="6" y="35"/>
                </a:cubicBezTo>
                <a:cubicBezTo>
                  <a:pt x="7" y="35"/>
                  <a:pt x="7" y="37"/>
                  <a:pt x="6" y="38"/>
                </a:cubicBezTo>
                <a:cubicBezTo>
                  <a:pt x="8" y="39"/>
                  <a:pt x="9" y="40"/>
                  <a:pt x="10" y="40"/>
                </a:cubicBezTo>
                <a:cubicBezTo>
                  <a:pt x="13" y="41"/>
                  <a:pt x="15" y="42"/>
                  <a:pt x="15" y="43"/>
                </a:cubicBezTo>
                <a:cubicBezTo>
                  <a:pt x="15" y="44"/>
                  <a:pt x="18" y="46"/>
                  <a:pt x="18" y="45"/>
                </a:cubicBezTo>
                <a:cubicBezTo>
                  <a:pt x="19" y="43"/>
                  <a:pt x="21" y="44"/>
                  <a:pt x="22" y="44"/>
                </a:cubicBezTo>
                <a:cubicBezTo>
                  <a:pt x="24" y="44"/>
                  <a:pt x="24" y="46"/>
                  <a:pt x="24" y="47"/>
                </a:cubicBezTo>
                <a:cubicBezTo>
                  <a:pt x="24" y="47"/>
                  <a:pt x="28" y="47"/>
                  <a:pt x="29" y="48"/>
                </a:cubicBezTo>
                <a:cubicBezTo>
                  <a:pt x="30" y="48"/>
                  <a:pt x="30" y="51"/>
                  <a:pt x="32" y="52"/>
                </a:cubicBezTo>
                <a:cubicBezTo>
                  <a:pt x="33" y="53"/>
                  <a:pt x="35" y="51"/>
                  <a:pt x="36" y="51"/>
                </a:cubicBezTo>
                <a:cubicBezTo>
                  <a:pt x="37" y="52"/>
                  <a:pt x="40" y="53"/>
                  <a:pt x="42" y="52"/>
                </a:cubicBezTo>
                <a:cubicBezTo>
                  <a:pt x="44" y="51"/>
                  <a:pt x="45" y="53"/>
                  <a:pt x="47" y="52"/>
                </a:cubicBezTo>
                <a:cubicBezTo>
                  <a:pt x="49" y="52"/>
                  <a:pt x="52" y="53"/>
                  <a:pt x="53" y="54"/>
                </a:cubicBezTo>
                <a:cubicBezTo>
                  <a:pt x="53" y="54"/>
                  <a:pt x="55" y="55"/>
                  <a:pt x="57" y="55"/>
                </a:cubicBezTo>
                <a:cubicBezTo>
                  <a:pt x="58" y="54"/>
                  <a:pt x="57" y="51"/>
                  <a:pt x="57" y="50"/>
                </a:cubicBezTo>
                <a:cubicBezTo>
                  <a:pt x="57" y="50"/>
                  <a:pt x="62" y="45"/>
                  <a:pt x="63" y="44"/>
                </a:cubicBezTo>
                <a:cubicBezTo>
                  <a:pt x="64" y="43"/>
                  <a:pt x="65" y="43"/>
                  <a:pt x="66" y="41"/>
                </a:cubicBezTo>
                <a:cubicBezTo>
                  <a:pt x="67" y="40"/>
                  <a:pt x="64" y="35"/>
                  <a:pt x="63" y="35"/>
                </a:cubicBezTo>
                <a:cubicBezTo>
                  <a:pt x="63" y="34"/>
                  <a:pt x="63" y="30"/>
                  <a:pt x="63" y="28"/>
                </a:cubicBezTo>
                <a:cubicBezTo>
                  <a:pt x="63" y="27"/>
                  <a:pt x="61" y="26"/>
                  <a:pt x="61" y="25"/>
                </a:cubicBezTo>
                <a:cubicBezTo>
                  <a:pt x="61" y="24"/>
                  <a:pt x="63" y="22"/>
                  <a:pt x="65" y="21"/>
                </a:cubicBezTo>
                <a:cubicBezTo>
                  <a:pt x="66" y="21"/>
                  <a:pt x="66" y="17"/>
                  <a:pt x="64" y="16"/>
                </a:cubicBezTo>
                <a:cubicBezTo>
                  <a:pt x="63" y="14"/>
                  <a:pt x="63" y="12"/>
                  <a:pt x="63" y="10"/>
                </a:cubicBezTo>
                <a:cubicBezTo>
                  <a:pt x="64" y="8"/>
                  <a:pt x="59" y="6"/>
                  <a:pt x="58" y="6"/>
                </a:cubicBezTo>
                <a:cubicBezTo>
                  <a:pt x="58" y="6"/>
                  <a:pt x="58" y="6"/>
                  <a:pt x="58" y="6"/>
                </a:cubicBezTo>
                <a:cubicBezTo>
                  <a:pt x="53" y="7"/>
                  <a:pt x="41" y="6"/>
                  <a:pt x="40" y="5"/>
                </a:cubicBezTo>
                <a:cubicBezTo>
                  <a:pt x="39" y="5"/>
                  <a:pt x="38" y="5"/>
                  <a:pt x="36" y="4"/>
                </a:cubicBezTo>
                <a:cubicBezTo>
                  <a:pt x="36" y="5"/>
                  <a:pt x="35" y="6"/>
                  <a:pt x="33" y="6"/>
                </a:cubicBezTo>
                <a:cubicBezTo>
                  <a:pt x="30" y="6"/>
                  <a:pt x="29" y="3"/>
                  <a:pt x="29" y="2"/>
                </a:cubicBezTo>
                <a:cubicBezTo>
                  <a:pt x="29" y="0"/>
                  <a:pt x="17" y="3"/>
                  <a:pt x="14" y="6"/>
                </a:cubicBezTo>
                <a:cubicBezTo>
                  <a:pt x="11" y="9"/>
                  <a:pt x="4" y="8"/>
                  <a:pt x="4" y="10"/>
                </a:cubicBezTo>
                <a:cubicBezTo>
                  <a:pt x="3" y="11"/>
                  <a:pt x="2" y="12"/>
                  <a:pt x="2" y="11"/>
                </a:cubicBezTo>
                <a:cubicBezTo>
                  <a:pt x="2" y="12"/>
                  <a:pt x="2" y="12"/>
                  <a:pt x="2" y="1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 name="Freeform 71"/>
          <p:cNvSpPr/>
          <p:nvPr/>
        </p:nvSpPr>
        <p:spPr bwMode="auto">
          <a:xfrm>
            <a:off x="4523855" y="2184848"/>
            <a:ext cx="69850" cy="68263"/>
          </a:xfrm>
          <a:custGeom>
            <a:avLst/>
            <a:gdLst>
              <a:gd name="T0" fmla="*/ 19 w 25"/>
              <a:gd name="T1" fmla="*/ 21 h 24"/>
              <a:gd name="T2" fmla="*/ 24 w 25"/>
              <a:gd name="T3" fmla="*/ 14 h 24"/>
              <a:gd name="T4" fmla="*/ 25 w 25"/>
              <a:gd name="T5" fmla="*/ 5 h 24"/>
              <a:gd name="T6" fmla="*/ 18 w 25"/>
              <a:gd name="T7" fmla="*/ 1 h 24"/>
              <a:gd name="T8" fmla="*/ 8 w 25"/>
              <a:gd name="T9" fmla="*/ 0 h 24"/>
              <a:gd name="T10" fmla="*/ 3 w 25"/>
              <a:gd name="T11" fmla="*/ 1 h 24"/>
              <a:gd name="T12" fmla="*/ 0 w 25"/>
              <a:gd name="T13" fmla="*/ 3 h 24"/>
              <a:gd name="T14" fmla="*/ 4 w 25"/>
              <a:gd name="T15" fmla="*/ 8 h 24"/>
              <a:gd name="T16" fmla="*/ 9 w 25"/>
              <a:gd name="T17" fmla="*/ 15 h 24"/>
              <a:gd name="T18" fmla="*/ 15 w 25"/>
              <a:gd name="T19" fmla="*/ 21 h 24"/>
              <a:gd name="T20" fmla="*/ 18 w 25"/>
              <a:gd name="T21" fmla="*/ 24 h 24"/>
              <a:gd name="T22" fmla="*/ 19 w 25"/>
              <a:gd name="T23"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24">
                <a:moveTo>
                  <a:pt x="19" y="21"/>
                </a:moveTo>
                <a:cubicBezTo>
                  <a:pt x="18" y="20"/>
                  <a:pt x="23" y="14"/>
                  <a:pt x="24" y="14"/>
                </a:cubicBezTo>
                <a:cubicBezTo>
                  <a:pt x="25" y="14"/>
                  <a:pt x="25" y="8"/>
                  <a:pt x="25" y="5"/>
                </a:cubicBezTo>
                <a:cubicBezTo>
                  <a:pt x="21" y="2"/>
                  <a:pt x="18" y="1"/>
                  <a:pt x="18" y="1"/>
                </a:cubicBezTo>
                <a:cubicBezTo>
                  <a:pt x="18" y="1"/>
                  <a:pt x="9" y="1"/>
                  <a:pt x="8" y="0"/>
                </a:cubicBezTo>
                <a:cubicBezTo>
                  <a:pt x="6" y="0"/>
                  <a:pt x="5" y="2"/>
                  <a:pt x="3" y="1"/>
                </a:cubicBezTo>
                <a:cubicBezTo>
                  <a:pt x="2" y="0"/>
                  <a:pt x="0" y="2"/>
                  <a:pt x="0" y="3"/>
                </a:cubicBezTo>
                <a:cubicBezTo>
                  <a:pt x="1" y="5"/>
                  <a:pt x="4" y="5"/>
                  <a:pt x="4" y="8"/>
                </a:cubicBezTo>
                <a:cubicBezTo>
                  <a:pt x="4" y="10"/>
                  <a:pt x="9" y="13"/>
                  <a:pt x="9" y="15"/>
                </a:cubicBezTo>
                <a:cubicBezTo>
                  <a:pt x="9" y="15"/>
                  <a:pt x="13" y="18"/>
                  <a:pt x="15" y="21"/>
                </a:cubicBezTo>
                <a:cubicBezTo>
                  <a:pt x="16" y="22"/>
                  <a:pt x="17" y="23"/>
                  <a:pt x="18" y="24"/>
                </a:cubicBezTo>
                <a:cubicBezTo>
                  <a:pt x="19" y="22"/>
                  <a:pt x="19" y="22"/>
                  <a:pt x="19" y="2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 name="Freeform 72"/>
          <p:cNvSpPr/>
          <p:nvPr/>
        </p:nvSpPr>
        <p:spPr bwMode="auto">
          <a:xfrm>
            <a:off x="4488930" y="2153098"/>
            <a:ext cx="104775" cy="92075"/>
          </a:xfrm>
          <a:custGeom>
            <a:avLst/>
            <a:gdLst>
              <a:gd name="T0" fmla="*/ 21 w 37"/>
              <a:gd name="T1" fmla="*/ 26 h 32"/>
              <a:gd name="T2" fmla="*/ 16 w 37"/>
              <a:gd name="T3" fmla="*/ 19 h 32"/>
              <a:gd name="T4" fmla="*/ 12 w 37"/>
              <a:gd name="T5" fmla="*/ 14 h 32"/>
              <a:gd name="T6" fmla="*/ 15 w 37"/>
              <a:gd name="T7" fmla="*/ 12 h 32"/>
              <a:gd name="T8" fmla="*/ 20 w 37"/>
              <a:gd name="T9" fmla="*/ 11 h 32"/>
              <a:gd name="T10" fmla="*/ 30 w 37"/>
              <a:gd name="T11" fmla="*/ 12 h 32"/>
              <a:gd name="T12" fmla="*/ 37 w 37"/>
              <a:gd name="T13" fmla="*/ 16 h 32"/>
              <a:gd name="T14" fmla="*/ 36 w 37"/>
              <a:gd name="T15" fmla="*/ 14 h 32"/>
              <a:gd name="T16" fmla="*/ 34 w 37"/>
              <a:gd name="T17" fmla="*/ 9 h 32"/>
              <a:gd name="T18" fmla="*/ 32 w 37"/>
              <a:gd name="T19" fmla="*/ 5 h 32"/>
              <a:gd name="T20" fmla="*/ 30 w 37"/>
              <a:gd name="T21" fmla="*/ 6 h 32"/>
              <a:gd name="T22" fmla="*/ 23 w 37"/>
              <a:gd name="T23" fmla="*/ 4 h 32"/>
              <a:gd name="T24" fmla="*/ 17 w 37"/>
              <a:gd name="T25" fmla="*/ 0 h 32"/>
              <a:gd name="T26" fmla="*/ 13 w 37"/>
              <a:gd name="T27" fmla="*/ 3 h 32"/>
              <a:gd name="T28" fmla="*/ 11 w 37"/>
              <a:gd name="T29" fmla="*/ 6 h 32"/>
              <a:gd name="T30" fmla="*/ 9 w 37"/>
              <a:gd name="T31" fmla="*/ 9 h 32"/>
              <a:gd name="T32" fmla="*/ 5 w 37"/>
              <a:gd name="T33" fmla="*/ 9 h 32"/>
              <a:gd name="T34" fmla="*/ 0 w 37"/>
              <a:gd name="T35" fmla="*/ 10 h 32"/>
              <a:gd name="T36" fmla="*/ 1 w 37"/>
              <a:gd name="T37" fmla="*/ 13 h 32"/>
              <a:gd name="T38" fmla="*/ 6 w 37"/>
              <a:gd name="T39" fmla="*/ 15 h 32"/>
              <a:gd name="T40" fmla="*/ 13 w 37"/>
              <a:gd name="T41" fmla="*/ 25 h 32"/>
              <a:gd name="T42" fmla="*/ 18 w 37"/>
              <a:gd name="T43" fmla="*/ 28 h 32"/>
              <a:gd name="T44" fmla="*/ 24 w 37"/>
              <a:gd name="T45" fmla="*/ 31 h 32"/>
              <a:gd name="T46" fmla="*/ 27 w 37"/>
              <a:gd name="T47" fmla="*/ 32 h 32"/>
              <a:gd name="T48" fmla="*/ 21 w 37"/>
              <a:gd name="T4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32">
                <a:moveTo>
                  <a:pt x="21" y="26"/>
                </a:moveTo>
                <a:cubicBezTo>
                  <a:pt x="21" y="24"/>
                  <a:pt x="16" y="21"/>
                  <a:pt x="16" y="19"/>
                </a:cubicBezTo>
                <a:cubicBezTo>
                  <a:pt x="16" y="16"/>
                  <a:pt x="13" y="16"/>
                  <a:pt x="12" y="14"/>
                </a:cubicBezTo>
                <a:cubicBezTo>
                  <a:pt x="12" y="13"/>
                  <a:pt x="14" y="11"/>
                  <a:pt x="15" y="12"/>
                </a:cubicBezTo>
                <a:cubicBezTo>
                  <a:pt x="17" y="13"/>
                  <a:pt x="18" y="11"/>
                  <a:pt x="20" y="11"/>
                </a:cubicBezTo>
                <a:cubicBezTo>
                  <a:pt x="21" y="12"/>
                  <a:pt x="30" y="12"/>
                  <a:pt x="30" y="12"/>
                </a:cubicBezTo>
                <a:cubicBezTo>
                  <a:pt x="30" y="12"/>
                  <a:pt x="33" y="13"/>
                  <a:pt x="37" y="16"/>
                </a:cubicBezTo>
                <a:cubicBezTo>
                  <a:pt x="37" y="15"/>
                  <a:pt x="37" y="14"/>
                  <a:pt x="36" y="14"/>
                </a:cubicBezTo>
                <a:cubicBezTo>
                  <a:pt x="36" y="12"/>
                  <a:pt x="36" y="10"/>
                  <a:pt x="34" y="9"/>
                </a:cubicBezTo>
                <a:cubicBezTo>
                  <a:pt x="33" y="9"/>
                  <a:pt x="33" y="7"/>
                  <a:pt x="32" y="5"/>
                </a:cubicBezTo>
                <a:cubicBezTo>
                  <a:pt x="31" y="5"/>
                  <a:pt x="30" y="6"/>
                  <a:pt x="30" y="6"/>
                </a:cubicBezTo>
                <a:cubicBezTo>
                  <a:pt x="28" y="6"/>
                  <a:pt x="24" y="6"/>
                  <a:pt x="23" y="4"/>
                </a:cubicBezTo>
                <a:cubicBezTo>
                  <a:pt x="22" y="3"/>
                  <a:pt x="19" y="1"/>
                  <a:pt x="17" y="0"/>
                </a:cubicBezTo>
                <a:cubicBezTo>
                  <a:pt x="17" y="0"/>
                  <a:pt x="14" y="2"/>
                  <a:pt x="13" y="3"/>
                </a:cubicBezTo>
                <a:cubicBezTo>
                  <a:pt x="12" y="3"/>
                  <a:pt x="13" y="6"/>
                  <a:pt x="11" y="6"/>
                </a:cubicBezTo>
                <a:cubicBezTo>
                  <a:pt x="10" y="6"/>
                  <a:pt x="9" y="8"/>
                  <a:pt x="9" y="9"/>
                </a:cubicBezTo>
                <a:cubicBezTo>
                  <a:pt x="9" y="10"/>
                  <a:pt x="6" y="8"/>
                  <a:pt x="5" y="9"/>
                </a:cubicBezTo>
                <a:cubicBezTo>
                  <a:pt x="4" y="9"/>
                  <a:pt x="1" y="10"/>
                  <a:pt x="0" y="10"/>
                </a:cubicBezTo>
                <a:cubicBezTo>
                  <a:pt x="0" y="11"/>
                  <a:pt x="0" y="13"/>
                  <a:pt x="1" y="13"/>
                </a:cubicBezTo>
                <a:cubicBezTo>
                  <a:pt x="3" y="13"/>
                  <a:pt x="6" y="12"/>
                  <a:pt x="6" y="15"/>
                </a:cubicBezTo>
                <a:cubicBezTo>
                  <a:pt x="7" y="17"/>
                  <a:pt x="11" y="23"/>
                  <a:pt x="13" y="25"/>
                </a:cubicBezTo>
                <a:cubicBezTo>
                  <a:pt x="14" y="26"/>
                  <a:pt x="18" y="26"/>
                  <a:pt x="18" y="28"/>
                </a:cubicBezTo>
                <a:cubicBezTo>
                  <a:pt x="18" y="29"/>
                  <a:pt x="21" y="30"/>
                  <a:pt x="24" y="31"/>
                </a:cubicBezTo>
                <a:cubicBezTo>
                  <a:pt x="25" y="31"/>
                  <a:pt x="26" y="31"/>
                  <a:pt x="27" y="32"/>
                </a:cubicBezTo>
                <a:cubicBezTo>
                  <a:pt x="25" y="29"/>
                  <a:pt x="21" y="26"/>
                  <a:pt x="21" y="2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 name="Freeform 73"/>
          <p:cNvSpPr/>
          <p:nvPr/>
        </p:nvSpPr>
        <p:spPr bwMode="auto">
          <a:xfrm>
            <a:off x="4588942" y="2246760"/>
            <a:ext cx="36513" cy="74613"/>
          </a:xfrm>
          <a:custGeom>
            <a:avLst/>
            <a:gdLst>
              <a:gd name="T0" fmla="*/ 9 w 13"/>
              <a:gd name="T1" fmla="*/ 22 h 26"/>
              <a:gd name="T2" fmla="*/ 10 w 13"/>
              <a:gd name="T3" fmla="*/ 19 h 26"/>
              <a:gd name="T4" fmla="*/ 13 w 13"/>
              <a:gd name="T5" fmla="*/ 15 h 26"/>
              <a:gd name="T6" fmla="*/ 13 w 13"/>
              <a:gd name="T7" fmla="*/ 15 h 26"/>
              <a:gd name="T8" fmla="*/ 9 w 13"/>
              <a:gd name="T9" fmla="*/ 11 h 26"/>
              <a:gd name="T10" fmla="*/ 10 w 13"/>
              <a:gd name="T11" fmla="*/ 4 h 26"/>
              <a:gd name="T12" fmla="*/ 4 w 13"/>
              <a:gd name="T13" fmla="*/ 0 h 26"/>
              <a:gd name="T14" fmla="*/ 1 w 13"/>
              <a:gd name="T15" fmla="*/ 5 h 26"/>
              <a:gd name="T16" fmla="*/ 2 w 13"/>
              <a:gd name="T17" fmla="*/ 10 h 26"/>
              <a:gd name="T18" fmla="*/ 2 w 13"/>
              <a:gd name="T19" fmla="*/ 20 h 26"/>
              <a:gd name="T20" fmla="*/ 7 w 13"/>
              <a:gd name="T21" fmla="*/ 26 h 26"/>
              <a:gd name="T22" fmla="*/ 9 w 13"/>
              <a:gd name="T23"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26">
                <a:moveTo>
                  <a:pt x="9" y="22"/>
                </a:moveTo>
                <a:cubicBezTo>
                  <a:pt x="10" y="22"/>
                  <a:pt x="9" y="20"/>
                  <a:pt x="10" y="19"/>
                </a:cubicBezTo>
                <a:cubicBezTo>
                  <a:pt x="12" y="18"/>
                  <a:pt x="13" y="16"/>
                  <a:pt x="13" y="15"/>
                </a:cubicBezTo>
                <a:cubicBezTo>
                  <a:pt x="13" y="15"/>
                  <a:pt x="13" y="15"/>
                  <a:pt x="13" y="15"/>
                </a:cubicBezTo>
                <a:cubicBezTo>
                  <a:pt x="11" y="14"/>
                  <a:pt x="10" y="12"/>
                  <a:pt x="9" y="11"/>
                </a:cubicBezTo>
                <a:cubicBezTo>
                  <a:pt x="9" y="9"/>
                  <a:pt x="9" y="6"/>
                  <a:pt x="10" y="4"/>
                </a:cubicBezTo>
                <a:cubicBezTo>
                  <a:pt x="9" y="3"/>
                  <a:pt x="5" y="0"/>
                  <a:pt x="4" y="0"/>
                </a:cubicBezTo>
                <a:cubicBezTo>
                  <a:pt x="3" y="0"/>
                  <a:pt x="1" y="3"/>
                  <a:pt x="1" y="5"/>
                </a:cubicBezTo>
                <a:cubicBezTo>
                  <a:pt x="3" y="7"/>
                  <a:pt x="4" y="8"/>
                  <a:pt x="2" y="10"/>
                </a:cubicBezTo>
                <a:cubicBezTo>
                  <a:pt x="1" y="12"/>
                  <a:pt x="0" y="18"/>
                  <a:pt x="2" y="20"/>
                </a:cubicBezTo>
                <a:cubicBezTo>
                  <a:pt x="4" y="21"/>
                  <a:pt x="5" y="25"/>
                  <a:pt x="7" y="26"/>
                </a:cubicBezTo>
                <a:cubicBezTo>
                  <a:pt x="7" y="24"/>
                  <a:pt x="8" y="22"/>
                  <a:pt x="9" y="2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 name="Freeform 74"/>
          <p:cNvSpPr/>
          <p:nvPr/>
        </p:nvSpPr>
        <p:spPr bwMode="auto">
          <a:xfrm>
            <a:off x="4409555" y="2091185"/>
            <a:ext cx="144463" cy="65088"/>
          </a:xfrm>
          <a:custGeom>
            <a:avLst/>
            <a:gdLst>
              <a:gd name="T0" fmla="*/ 43 w 51"/>
              <a:gd name="T1" fmla="*/ 2 h 23"/>
              <a:gd name="T2" fmla="*/ 36 w 51"/>
              <a:gd name="T3" fmla="*/ 0 h 23"/>
              <a:gd name="T4" fmla="*/ 35 w 51"/>
              <a:gd name="T5" fmla="*/ 3 h 23"/>
              <a:gd name="T6" fmla="*/ 29 w 51"/>
              <a:gd name="T7" fmla="*/ 3 h 23"/>
              <a:gd name="T8" fmla="*/ 26 w 51"/>
              <a:gd name="T9" fmla="*/ 6 h 23"/>
              <a:gd name="T10" fmla="*/ 23 w 51"/>
              <a:gd name="T11" fmla="*/ 10 h 23"/>
              <a:gd name="T12" fmla="*/ 20 w 51"/>
              <a:gd name="T13" fmla="*/ 12 h 23"/>
              <a:gd name="T14" fmla="*/ 13 w 51"/>
              <a:gd name="T15" fmla="*/ 13 h 23"/>
              <a:gd name="T16" fmla="*/ 9 w 51"/>
              <a:gd name="T17" fmla="*/ 14 h 23"/>
              <a:gd name="T18" fmla="*/ 5 w 51"/>
              <a:gd name="T19" fmla="*/ 14 h 23"/>
              <a:gd name="T20" fmla="*/ 1 w 51"/>
              <a:gd name="T21" fmla="*/ 13 h 23"/>
              <a:gd name="T22" fmla="*/ 0 w 51"/>
              <a:gd name="T23" fmla="*/ 17 h 23"/>
              <a:gd name="T24" fmla="*/ 4 w 51"/>
              <a:gd name="T25" fmla="*/ 19 h 23"/>
              <a:gd name="T26" fmla="*/ 8 w 51"/>
              <a:gd name="T27" fmla="*/ 20 h 23"/>
              <a:gd name="T28" fmla="*/ 12 w 51"/>
              <a:gd name="T29" fmla="*/ 18 h 23"/>
              <a:gd name="T30" fmla="*/ 18 w 51"/>
              <a:gd name="T31" fmla="*/ 18 h 23"/>
              <a:gd name="T32" fmla="*/ 19 w 51"/>
              <a:gd name="T33" fmla="*/ 20 h 23"/>
              <a:gd name="T34" fmla="*/ 25 w 51"/>
              <a:gd name="T35" fmla="*/ 21 h 23"/>
              <a:gd name="T36" fmla="*/ 33 w 51"/>
              <a:gd name="T37" fmla="*/ 23 h 23"/>
              <a:gd name="T38" fmla="*/ 39 w 51"/>
              <a:gd name="T39" fmla="*/ 21 h 23"/>
              <a:gd name="T40" fmla="*/ 44 w 51"/>
              <a:gd name="T41" fmla="*/ 19 h 23"/>
              <a:gd name="T42" fmla="*/ 44 w 51"/>
              <a:gd name="T43" fmla="*/ 19 h 23"/>
              <a:gd name="T44" fmla="*/ 45 w 51"/>
              <a:gd name="T45" fmla="*/ 17 h 23"/>
              <a:gd name="T46" fmla="*/ 46 w 51"/>
              <a:gd name="T47" fmla="*/ 14 h 23"/>
              <a:gd name="T48" fmla="*/ 47 w 51"/>
              <a:gd name="T49" fmla="*/ 12 h 23"/>
              <a:gd name="T50" fmla="*/ 50 w 51"/>
              <a:gd name="T51" fmla="*/ 10 h 23"/>
              <a:gd name="T52" fmla="*/ 51 w 51"/>
              <a:gd name="T53" fmla="*/ 8 h 23"/>
              <a:gd name="T54" fmla="*/ 48 w 51"/>
              <a:gd name="T55" fmla="*/ 2 h 23"/>
              <a:gd name="T56" fmla="*/ 43 w 51"/>
              <a:gd name="T5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 h="23">
                <a:moveTo>
                  <a:pt x="43" y="2"/>
                </a:moveTo>
                <a:cubicBezTo>
                  <a:pt x="41" y="0"/>
                  <a:pt x="36" y="0"/>
                  <a:pt x="36" y="0"/>
                </a:cubicBezTo>
                <a:cubicBezTo>
                  <a:pt x="36" y="0"/>
                  <a:pt x="36" y="2"/>
                  <a:pt x="35" y="3"/>
                </a:cubicBezTo>
                <a:cubicBezTo>
                  <a:pt x="35" y="4"/>
                  <a:pt x="31" y="4"/>
                  <a:pt x="29" y="3"/>
                </a:cubicBezTo>
                <a:cubicBezTo>
                  <a:pt x="29" y="4"/>
                  <a:pt x="26" y="5"/>
                  <a:pt x="26" y="6"/>
                </a:cubicBezTo>
                <a:cubicBezTo>
                  <a:pt x="25" y="7"/>
                  <a:pt x="22" y="6"/>
                  <a:pt x="23" y="10"/>
                </a:cubicBezTo>
                <a:cubicBezTo>
                  <a:pt x="24" y="14"/>
                  <a:pt x="21" y="12"/>
                  <a:pt x="20" y="12"/>
                </a:cubicBezTo>
                <a:cubicBezTo>
                  <a:pt x="19" y="12"/>
                  <a:pt x="14" y="12"/>
                  <a:pt x="13" y="13"/>
                </a:cubicBezTo>
                <a:cubicBezTo>
                  <a:pt x="12" y="15"/>
                  <a:pt x="10" y="14"/>
                  <a:pt x="9" y="14"/>
                </a:cubicBezTo>
                <a:cubicBezTo>
                  <a:pt x="8" y="13"/>
                  <a:pt x="6" y="13"/>
                  <a:pt x="5" y="14"/>
                </a:cubicBezTo>
                <a:cubicBezTo>
                  <a:pt x="4" y="16"/>
                  <a:pt x="2" y="13"/>
                  <a:pt x="1" y="13"/>
                </a:cubicBezTo>
                <a:cubicBezTo>
                  <a:pt x="0" y="13"/>
                  <a:pt x="0" y="16"/>
                  <a:pt x="0" y="17"/>
                </a:cubicBezTo>
                <a:cubicBezTo>
                  <a:pt x="0" y="18"/>
                  <a:pt x="2" y="19"/>
                  <a:pt x="4" y="19"/>
                </a:cubicBezTo>
                <a:cubicBezTo>
                  <a:pt x="5" y="18"/>
                  <a:pt x="7" y="19"/>
                  <a:pt x="8" y="20"/>
                </a:cubicBezTo>
                <a:cubicBezTo>
                  <a:pt x="9" y="20"/>
                  <a:pt x="11" y="19"/>
                  <a:pt x="12" y="18"/>
                </a:cubicBezTo>
                <a:cubicBezTo>
                  <a:pt x="13" y="18"/>
                  <a:pt x="17" y="18"/>
                  <a:pt x="18" y="18"/>
                </a:cubicBezTo>
                <a:cubicBezTo>
                  <a:pt x="18" y="18"/>
                  <a:pt x="18" y="20"/>
                  <a:pt x="19" y="20"/>
                </a:cubicBezTo>
                <a:cubicBezTo>
                  <a:pt x="20" y="21"/>
                  <a:pt x="23" y="21"/>
                  <a:pt x="25" y="21"/>
                </a:cubicBezTo>
                <a:cubicBezTo>
                  <a:pt x="28" y="21"/>
                  <a:pt x="32" y="23"/>
                  <a:pt x="33" y="23"/>
                </a:cubicBezTo>
                <a:cubicBezTo>
                  <a:pt x="34" y="23"/>
                  <a:pt x="36" y="21"/>
                  <a:pt x="39" y="21"/>
                </a:cubicBezTo>
                <a:cubicBezTo>
                  <a:pt x="42" y="21"/>
                  <a:pt x="43" y="19"/>
                  <a:pt x="44" y="19"/>
                </a:cubicBezTo>
                <a:cubicBezTo>
                  <a:pt x="44" y="19"/>
                  <a:pt x="44" y="19"/>
                  <a:pt x="44" y="19"/>
                </a:cubicBezTo>
                <a:cubicBezTo>
                  <a:pt x="44" y="18"/>
                  <a:pt x="44" y="18"/>
                  <a:pt x="45" y="17"/>
                </a:cubicBezTo>
                <a:cubicBezTo>
                  <a:pt x="46" y="17"/>
                  <a:pt x="45" y="15"/>
                  <a:pt x="46" y="14"/>
                </a:cubicBezTo>
                <a:cubicBezTo>
                  <a:pt x="47" y="13"/>
                  <a:pt x="45" y="12"/>
                  <a:pt x="47" y="12"/>
                </a:cubicBezTo>
                <a:cubicBezTo>
                  <a:pt x="48" y="12"/>
                  <a:pt x="50" y="12"/>
                  <a:pt x="50" y="10"/>
                </a:cubicBezTo>
                <a:cubicBezTo>
                  <a:pt x="50" y="9"/>
                  <a:pt x="50" y="9"/>
                  <a:pt x="51" y="8"/>
                </a:cubicBezTo>
                <a:cubicBezTo>
                  <a:pt x="49" y="6"/>
                  <a:pt x="48" y="2"/>
                  <a:pt x="48" y="2"/>
                </a:cubicBezTo>
                <a:cubicBezTo>
                  <a:pt x="48" y="2"/>
                  <a:pt x="45" y="4"/>
                  <a:pt x="43"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 name="Freeform 75"/>
          <p:cNvSpPr/>
          <p:nvPr/>
        </p:nvSpPr>
        <p:spPr bwMode="auto">
          <a:xfrm>
            <a:off x="4534967" y="2099123"/>
            <a:ext cx="128588" cy="71438"/>
          </a:xfrm>
          <a:custGeom>
            <a:avLst/>
            <a:gdLst>
              <a:gd name="T0" fmla="*/ 43 w 45"/>
              <a:gd name="T1" fmla="*/ 4 h 25"/>
              <a:gd name="T2" fmla="*/ 41 w 45"/>
              <a:gd name="T3" fmla="*/ 3 h 25"/>
              <a:gd name="T4" fmla="*/ 37 w 45"/>
              <a:gd name="T5" fmla="*/ 2 h 25"/>
              <a:gd name="T6" fmla="*/ 31 w 45"/>
              <a:gd name="T7" fmla="*/ 0 h 25"/>
              <a:gd name="T8" fmla="*/ 24 w 45"/>
              <a:gd name="T9" fmla="*/ 4 h 25"/>
              <a:gd name="T10" fmla="*/ 17 w 45"/>
              <a:gd name="T11" fmla="*/ 6 h 25"/>
              <a:gd name="T12" fmla="*/ 8 w 45"/>
              <a:gd name="T13" fmla="*/ 6 h 25"/>
              <a:gd name="T14" fmla="*/ 7 w 45"/>
              <a:gd name="T15" fmla="*/ 5 h 25"/>
              <a:gd name="T16" fmla="*/ 6 w 45"/>
              <a:gd name="T17" fmla="*/ 7 h 25"/>
              <a:gd name="T18" fmla="*/ 3 w 45"/>
              <a:gd name="T19" fmla="*/ 9 h 25"/>
              <a:gd name="T20" fmla="*/ 2 w 45"/>
              <a:gd name="T21" fmla="*/ 11 h 25"/>
              <a:gd name="T22" fmla="*/ 1 w 45"/>
              <a:gd name="T23" fmla="*/ 14 h 25"/>
              <a:gd name="T24" fmla="*/ 0 w 45"/>
              <a:gd name="T25" fmla="*/ 16 h 25"/>
              <a:gd name="T26" fmla="*/ 1 w 45"/>
              <a:gd name="T27" fmla="*/ 19 h 25"/>
              <a:gd name="T28" fmla="*/ 1 w 45"/>
              <a:gd name="T29" fmla="*/ 19 h 25"/>
              <a:gd name="T30" fmla="*/ 7 w 45"/>
              <a:gd name="T31" fmla="*/ 23 h 25"/>
              <a:gd name="T32" fmla="*/ 14 w 45"/>
              <a:gd name="T33" fmla="*/ 25 h 25"/>
              <a:gd name="T34" fmla="*/ 24 w 45"/>
              <a:gd name="T35" fmla="*/ 22 h 25"/>
              <a:gd name="T36" fmla="*/ 27 w 45"/>
              <a:gd name="T37" fmla="*/ 23 h 25"/>
              <a:gd name="T38" fmla="*/ 28 w 45"/>
              <a:gd name="T39" fmla="*/ 23 h 25"/>
              <a:gd name="T40" fmla="*/ 33 w 45"/>
              <a:gd name="T41" fmla="*/ 20 h 25"/>
              <a:gd name="T42" fmla="*/ 39 w 45"/>
              <a:gd name="T43" fmla="*/ 10 h 25"/>
              <a:gd name="T44" fmla="*/ 43 w 45"/>
              <a:gd name="T45" fmla="*/ 7 h 25"/>
              <a:gd name="T46" fmla="*/ 43 w 45"/>
              <a:gd name="T47"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 h="25">
                <a:moveTo>
                  <a:pt x="43" y="4"/>
                </a:moveTo>
                <a:cubicBezTo>
                  <a:pt x="42" y="4"/>
                  <a:pt x="42" y="4"/>
                  <a:pt x="41" y="3"/>
                </a:cubicBezTo>
                <a:cubicBezTo>
                  <a:pt x="39" y="3"/>
                  <a:pt x="38" y="2"/>
                  <a:pt x="37" y="2"/>
                </a:cubicBezTo>
                <a:cubicBezTo>
                  <a:pt x="36" y="1"/>
                  <a:pt x="31" y="0"/>
                  <a:pt x="31" y="0"/>
                </a:cubicBezTo>
                <a:cubicBezTo>
                  <a:pt x="30" y="0"/>
                  <a:pt x="26" y="4"/>
                  <a:pt x="24" y="4"/>
                </a:cubicBezTo>
                <a:cubicBezTo>
                  <a:pt x="23" y="4"/>
                  <a:pt x="17" y="5"/>
                  <a:pt x="17" y="6"/>
                </a:cubicBezTo>
                <a:cubicBezTo>
                  <a:pt x="17" y="8"/>
                  <a:pt x="10" y="8"/>
                  <a:pt x="8" y="6"/>
                </a:cubicBezTo>
                <a:cubicBezTo>
                  <a:pt x="7" y="6"/>
                  <a:pt x="7" y="6"/>
                  <a:pt x="7" y="5"/>
                </a:cubicBezTo>
                <a:cubicBezTo>
                  <a:pt x="6" y="6"/>
                  <a:pt x="6" y="6"/>
                  <a:pt x="6" y="7"/>
                </a:cubicBezTo>
                <a:cubicBezTo>
                  <a:pt x="6" y="9"/>
                  <a:pt x="4" y="9"/>
                  <a:pt x="3" y="9"/>
                </a:cubicBezTo>
                <a:cubicBezTo>
                  <a:pt x="1" y="9"/>
                  <a:pt x="3" y="10"/>
                  <a:pt x="2" y="11"/>
                </a:cubicBezTo>
                <a:cubicBezTo>
                  <a:pt x="1" y="12"/>
                  <a:pt x="2" y="14"/>
                  <a:pt x="1" y="14"/>
                </a:cubicBezTo>
                <a:cubicBezTo>
                  <a:pt x="0" y="15"/>
                  <a:pt x="0" y="15"/>
                  <a:pt x="0" y="16"/>
                </a:cubicBezTo>
                <a:cubicBezTo>
                  <a:pt x="0" y="16"/>
                  <a:pt x="1" y="19"/>
                  <a:pt x="1" y="19"/>
                </a:cubicBezTo>
                <a:cubicBezTo>
                  <a:pt x="1" y="19"/>
                  <a:pt x="1" y="19"/>
                  <a:pt x="1" y="19"/>
                </a:cubicBezTo>
                <a:cubicBezTo>
                  <a:pt x="3" y="20"/>
                  <a:pt x="6" y="22"/>
                  <a:pt x="7" y="23"/>
                </a:cubicBezTo>
                <a:cubicBezTo>
                  <a:pt x="8" y="25"/>
                  <a:pt x="12" y="25"/>
                  <a:pt x="14" y="25"/>
                </a:cubicBezTo>
                <a:cubicBezTo>
                  <a:pt x="16" y="24"/>
                  <a:pt x="24" y="22"/>
                  <a:pt x="24" y="22"/>
                </a:cubicBezTo>
                <a:cubicBezTo>
                  <a:pt x="24" y="22"/>
                  <a:pt x="25" y="22"/>
                  <a:pt x="27" y="23"/>
                </a:cubicBezTo>
                <a:cubicBezTo>
                  <a:pt x="27" y="23"/>
                  <a:pt x="28" y="23"/>
                  <a:pt x="28" y="23"/>
                </a:cubicBezTo>
                <a:cubicBezTo>
                  <a:pt x="29" y="22"/>
                  <a:pt x="31" y="22"/>
                  <a:pt x="33" y="20"/>
                </a:cubicBezTo>
                <a:cubicBezTo>
                  <a:pt x="35" y="18"/>
                  <a:pt x="38" y="10"/>
                  <a:pt x="39" y="10"/>
                </a:cubicBezTo>
                <a:cubicBezTo>
                  <a:pt x="40" y="9"/>
                  <a:pt x="42" y="8"/>
                  <a:pt x="43" y="7"/>
                </a:cubicBezTo>
                <a:cubicBezTo>
                  <a:pt x="45" y="6"/>
                  <a:pt x="44" y="5"/>
                  <a:pt x="43" y="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 name="Freeform 76"/>
          <p:cNvSpPr/>
          <p:nvPr/>
        </p:nvSpPr>
        <p:spPr bwMode="auto">
          <a:xfrm>
            <a:off x="4457180" y="2038798"/>
            <a:ext cx="125413" cy="63500"/>
          </a:xfrm>
          <a:custGeom>
            <a:avLst/>
            <a:gdLst>
              <a:gd name="T0" fmla="*/ 42 w 44"/>
              <a:gd name="T1" fmla="*/ 10 h 22"/>
              <a:gd name="T2" fmla="*/ 37 w 44"/>
              <a:gd name="T3" fmla="*/ 9 h 22"/>
              <a:gd name="T4" fmla="*/ 35 w 44"/>
              <a:gd name="T5" fmla="*/ 6 h 22"/>
              <a:gd name="T6" fmla="*/ 31 w 44"/>
              <a:gd name="T7" fmla="*/ 7 h 22"/>
              <a:gd name="T8" fmla="*/ 28 w 44"/>
              <a:gd name="T9" fmla="*/ 5 h 22"/>
              <a:gd name="T10" fmla="*/ 23 w 44"/>
              <a:gd name="T11" fmla="*/ 2 h 22"/>
              <a:gd name="T12" fmla="*/ 19 w 44"/>
              <a:gd name="T13" fmla="*/ 0 h 22"/>
              <a:gd name="T14" fmla="*/ 19 w 44"/>
              <a:gd name="T15" fmla="*/ 0 h 22"/>
              <a:gd name="T16" fmla="*/ 15 w 44"/>
              <a:gd name="T17" fmla="*/ 1 h 22"/>
              <a:gd name="T18" fmla="*/ 10 w 44"/>
              <a:gd name="T19" fmla="*/ 3 h 22"/>
              <a:gd name="T20" fmla="*/ 2 w 44"/>
              <a:gd name="T21" fmla="*/ 6 h 22"/>
              <a:gd name="T22" fmla="*/ 3 w 44"/>
              <a:gd name="T23" fmla="*/ 10 h 22"/>
              <a:gd name="T24" fmla="*/ 5 w 44"/>
              <a:gd name="T25" fmla="*/ 15 h 22"/>
              <a:gd name="T26" fmla="*/ 12 w 44"/>
              <a:gd name="T27" fmla="*/ 21 h 22"/>
              <a:gd name="T28" fmla="*/ 12 w 44"/>
              <a:gd name="T29" fmla="*/ 21 h 22"/>
              <a:gd name="T30" fmla="*/ 18 w 44"/>
              <a:gd name="T31" fmla="*/ 21 h 22"/>
              <a:gd name="T32" fmla="*/ 19 w 44"/>
              <a:gd name="T33" fmla="*/ 18 h 22"/>
              <a:gd name="T34" fmla="*/ 26 w 44"/>
              <a:gd name="T35" fmla="*/ 20 h 22"/>
              <a:gd name="T36" fmla="*/ 31 w 44"/>
              <a:gd name="T37" fmla="*/ 20 h 22"/>
              <a:gd name="T38" fmla="*/ 32 w 44"/>
              <a:gd name="T39" fmla="*/ 22 h 22"/>
              <a:gd name="T40" fmla="*/ 33 w 44"/>
              <a:gd name="T41" fmla="*/ 20 h 22"/>
              <a:gd name="T42" fmla="*/ 40 w 44"/>
              <a:gd name="T43" fmla="*/ 16 h 22"/>
              <a:gd name="T44" fmla="*/ 44 w 44"/>
              <a:gd name="T45" fmla="*/ 13 h 22"/>
              <a:gd name="T46" fmla="*/ 42 w 44"/>
              <a:gd name="T4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22">
                <a:moveTo>
                  <a:pt x="42" y="10"/>
                </a:moveTo>
                <a:cubicBezTo>
                  <a:pt x="41" y="9"/>
                  <a:pt x="37" y="9"/>
                  <a:pt x="37" y="9"/>
                </a:cubicBezTo>
                <a:cubicBezTo>
                  <a:pt x="37" y="8"/>
                  <a:pt x="37" y="6"/>
                  <a:pt x="35" y="6"/>
                </a:cubicBezTo>
                <a:cubicBezTo>
                  <a:pt x="34" y="6"/>
                  <a:pt x="32" y="5"/>
                  <a:pt x="31" y="7"/>
                </a:cubicBezTo>
                <a:cubicBezTo>
                  <a:pt x="31" y="8"/>
                  <a:pt x="28" y="6"/>
                  <a:pt x="28" y="5"/>
                </a:cubicBezTo>
                <a:cubicBezTo>
                  <a:pt x="28" y="4"/>
                  <a:pt x="26" y="3"/>
                  <a:pt x="23" y="2"/>
                </a:cubicBezTo>
                <a:cubicBezTo>
                  <a:pt x="22" y="2"/>
                  <a:pt x="21" y="1"/>
                  <a:pt x="19" y="0"/>
                </a:cubicBezTo>
                <a:cubicBezTo>
                  <a:pt x="19" y="0"/>
                  <a:pt x="19" y="0"/>
                  <a:pt x="19" y="0"/>
                </a:cubicBezTo>
                <a:cubicBezTo>
                  <a:pt x="18" y="1"/>
                  <a:pt x="16" y="0"/>
                  <a:pt x="15" y="1"/>
                </a:cubicBezTo>
                <a:cubicBezTo>
                  <a:pt x="14" y="1"/>
                  <a:pt x="11" y="2"/>
                  <a:pt x="10" y="3"/>
                </a:cubicBezTo>
                <a:cubicBezTo>
                  <a:pt x="8" y="5"/>
                  <a:pt x="4" y="5"/>
                  <a:pt x="2" y="6"/>
                </a:cubicBezTo>
                <a:cubicBezTo>
                  <a:pt x="0" y="6"/>
                  <a:pt x="2" y="8"/>
                  <a:pt x="3" y="10"/>
                </a:cubicBezTo>
                <a:cubicBezTo>
                  <a:pt x="4" y="11"/>
                  <a:pt x="4" y="14"/>
                  <a:pt x="5" y="15"/>
                </a:cubicBezTo>
                <a:cubicBezTo>
                  <a:pt x="7" y="16"/>
                  <a:pt x="12" y="20"/>
                  <a:pt x="12" y="21"/>
                </a:cubicBezTo>
                <a:cubicBezTo>
                  <a:pt x="12" y="21"/>
                  <a:pt x="12" y="21"/>
                  <a:pt x="12" y="21"/>
                </a:cubicBezTo>
                <a:cubicBezTo>
                  <a:pt x="14" y="22"/>
                  <a:pt x="18" y="22"/>
                  <a:pt x="18" y="21"/>
                </a:cubicBezTo>
                <a:cubicBezTo>
                  <a:pt x="19" y="20"/>
                  <a:pt x="19" y="18"/>
                  <a:pt x="19" y="18"/>
                </a:cubicBezTo>
                <a:cubicBezTo>
                  <a:pt x="19" y="18"/>
                  <a:pt x="24" y="18"/>
                  <a:pt x="26" y="20"/>
                </a:cubicBezTo>
                <a:cubicBezTo>
                  <a:pt x="28" y="22"/>
                  <a:pt x="31" y="20"/>
                  <a:pt x="31" y="20"/>
                </a:cubicBezTo>
                <a:cubicBezTo>
                  <a:pt x="31" y="20"/>
                  <a:pt x="31" y="21"/>
                  <a:pt x="32" y="22"/>
                </a:cubicBezTo>
                <a:cubicBezTo>
                  <a:pt x="32" y="21"/>
                  <a:pt x="33" y="20"/>
                  <a:pt x="33" y="20"/>
                </a:cubicBezTo>
                <a:cubicBezTo>
                  <a:pt x="35" y="19"/>
                  <a:pt x="38" y="19"/>
                  <a:pt x="40" y="16"/>
                </a:cubicBezTo>
                <a:cubicBezTo>
                  <a:pt x="41" y="15"/>
                  <a:pt x="43" y="14"/>
                  <a:pt x="44" y="13"/>
                </a:cubicBezTo>
                <a:cubicBezTo>
                  <a:pt x="43" y="12"/>
                  <a:pt x="43" y="10"/>
                  <a:pt x="42" y="1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 name="Freeform 77"/>
          <p:cNvSpPr/>
          <p:nvPr/>
        </p:nvSpPr>
        <p:spPr bwMode="auto">
          <a:xfrm>
            <a:off x="4549255" y="2076898"/>
            <a:ext cx="107950" cy="44450"/>
          </a:xfrm>
          <a:custGeom>
            <a:avLst/>
            <a:gdLst>
              <a:gd name="T0" fmla="*/ 28 w 38"/>
              <a:gd name="T1" fmla="*/ 1 h 16"/>
              <a:gd name="T2" fmla="*/ 23 w 38"/>
              <a:gd name="T3" fmla="*/ 1 h 16"/>
              <a:gd name="T4" fmla="*/ 17 w 38"/>
              <a:gd name="T5" fmla="*/ 0 h 16"/>
              <a:gd name="T6" fmla="*/ 13 w 38"/>
              <a:gd name="T7" fmla="*/ 1 h 16"/>
              <a:gd name="T8" fmla="*/ 12 w 38"/>
              <a:gd name="T9" fmla="*/ 0 h 16"/>
              <a:gd name="T10" fmla="*/ 8 w 38"/>
              <a:gd name="T11" fmla="*/ 3 h 16"/>
              <a:gd name="T12" fmla="*/ 1 w 38"/>
              <a:gd name="T13" fmla="*/ 7 h 16"/>
              <a:gd name="T14" fmla="*/ 0 w 38"/>
              <a:gd name="T15" fmla="*/ 9 h 16"/>
              <a:gd name="T16" fmla="*/ 3 w 38"/>
              <a:gd name="T17" fmla="*/ 14 h 16"/>
              <a:gd name="T18" fmla="*/ 12 w 38"/>
              <a:gd name="T19" fmla="*/ 14 h 16"/>
              <a:gd name="T20" fmla="*/ 19 w 38"/>
              <a:gd name="T21" fmla="*/ 12 h 16"/>
              <a:gd name="T22" fmla="*/ 26 w 38"/>
              <a:gd name="T23" fmla="*/ 8 h 16"/>
              <a:gd name="T24" fmla="*/ 32 w 38"/>
              <a:gd name="T25" fmla="*/ 10 h 16"/>
              <a:gd name="T26" fmla="*/ 36 w 38"/>
              <a:gd name="T27" fmla="*/ 11 h 16"/>
              <a:gd name="T28" fmla="*/ 35 w 38"/>
              <a:gd name="T29" fmla="*/ 9 h 16"/>
              <a:gd name="T30" fmla="*/ 38 w 38"/>
              <a:gd name="T31" fmla="*/ 4 h 16"/>
              <a:gd name="T32" fmla="*/ 38 w 38"/>
              <a:gd name="T33" fmla="*/ 4 h 16"/>
              <a:gd name="T34" fmla="*/ 34 w 38"/>
              <a:gd name="T35" fmla="*/ 3 h 16"/>
              <a:gd name="T36" fmla="*/ 28 w 38"/>
              <a:gd name="T37"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16">
                <a:moveTo>
                  <a:pt x="28" y="1"/>
                </a:moveTo>
                <a:cubicBezTo>
                  <a:pt x="26" y="2"/>
                  <a:pt x="25" y="0"/>
                  <a:pt x="23" y="1"/>
                </a:cubicBezTo>
                <a:cubicBezTo>
                  <a:pt x="21" y="2"/>
                  <a:pt x="18" y="1"/>
                  <a:pt x="17" y="0"/>
                </a:cubicBezTo>
                <a:cubicBezTo>
                  <a:pt x="16" y="0"/>
                  <a:pt x="14" y="2"/>
                  <a:pt x="13" y="1"/>
                </a:cubicBezTo>
                <a:cubicBezTo>
                  <a:pt x="13" y="1"/>
                  <a:pt x="12" y="0"/>
                  <a:pt x="12" y="0"/>
                </a:cubicBezTo>
                <a:cubicBezTo>
                  <a:pt x="11" y="1"/>
                  <a:pt x="9" y="2"/>
                  <a:pt x="8" y="3"/>
                </a:cubicBezTo>
                <a:cubicBezTo>
                  <a:pt x="6" y="6"/>
                  <a:pt x="3" y="6"/>
                  <a:pt x="1" y="7"/>
                </a:cubicBezTo>
                <a:cubicBezTo>
                  <a:pt x="1" y="7"/>
                  <a:pt x="0" y="8"/>
                  <a:pt x="0" y="9"/>
                </a:cubicBezTo>
                <a:cubicBezTo>
                  <a:pt x="0" y="10"/>
                  <a:pt x="1" y="13"/>
                  <a:pt x="3" y="14"/>
                </a:cubicBezTo>
                <a:cubicBezTo>
                  <a:pt x="5" y="16"/>
                  <a:pt x="12" y="16"/>
                  <a:pt x="12" y="14"/>
                </a:cubicBezTo>
                <a:cubicBezTo>
                  <a:pt x="12" y="13"/>
                  <a:pt x="18" y="12"/>
                  <a:pt x="19" y="12"/>
                </a:cubicBezTo>
                <a:cubicBezTo>
                  <a:pt x="21" y="12"/>
                  <a:pt x="25" y="8"/>
                  <a:pt x="26" y="8"/>
                </a:cubicBezTo>
                <a:cubicBezTo>
                  <a:pt x="26" y="8"/>
                  <a:pt x="31" y="9"/>
                  <a:pt x="32" y="10"/>
                </a:cubicBezTo>
                <a:cubicBezTo>
                  <a:pt x="33" y="10"/>
                  <a:pt x="34" y="11"/>
                  <a:pt x="36" y="11"/>
                </a:cubicBezTo>
                <a:cubicBezTo>
                  <a:pt x="36" y="11"/>
                  <a:pt x="35" y="10"/>
                  <a:pt x="35" y="9"/>
                </a:cubicBezTo>
                <a:cubicBezTo>
                  <a:pt x="35" y="8"/>
                  <a:pt x="37" y="5"/>
                  <a:pt x="38" y="4"/>
                </a:cubicBezTo>
                <a:cubicBezTo>
                  <a:pt x="38" y="4"/>
                  <a:pt x="38" y="4"/>
                  <a:pt x="38" y="4"/>
                </a:cubicBezTo>
                <a:cubicBezTo>
                  <a:pt x="36" y="4"/>
                  <a:pt x="34" y="3"/>
                  <a:pt x="34" y="3"/>
                </a:cubicBezTo>
                <a:cubicBezTo>
                  <a:pt x="33" y="2"/>
                  <a:pt x="30" y="1"/>
                  <a:pt x="28" y="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 name="Freeform 78"/>
          <p:cNvSpPr/>
          <p:nvPr/>
        </p:nvSpPr>
        <p:spPr bwMode="auto">
          <a:xfrm>
            <a:off x="4026967" y="2259460"/>
            <a:ext cx="74613" cy="122238"/>
          </a:xfrm>
          <a:custGeom>
            <a:avLst/>
            <a:gdLst>
              <a:gd name="T0" fmla="*/ 18 w 26"/>
              <a:gd name="T1" fmla="*/ 35 h 43"/>
              <a:gd name="T2" fmla="*/ 17 w 26"/>
              <a:gd name="T3" fmla="*/ 32 h 43"/>
              <a:gd name="T4" fmla="*/ 19 w 26"/>
              <a:gd name="T5" fmla="*/ 28 h 43"/>
              <a:gd name="T6" fmla="*/ 17 w 26"/>
              <a:gd name="T7" fmla="*/ 24 h 43"/>
              <a:gd name="T8" fmla="*/ 18 w 26"/>
              <a:gd name="T9" fmla="*/ 22 h 43"/>
              <a:gd name="T10" fmla="*/ 20 w 26"/>
              <a:gd name="T11" fmla="*/ 17 h 43"/>
              <a:gd name="T12" fmla="*/ 19 w 26"/>
              <a:gd name="T13" fmla="*/ 10 h 43"/>
              <a:gd name="T14" fmla="*/ 24 w 26"/>
              <a:gd name="T15" fmla="*/ 6 h 43"/>
              <a:gd name="T16" fmla="*/ 22 w 26"/>
              <a:gd name="T17" fmla="*/ 4 h 43"/>
              <a:gd name="T18" fmla="*/ 18 w 26"/>
              <a:gd name="T19" fmla="*/ 3 h 43"/>
              <a:gd name="T20" fmla="*/ 15 w 26"/>
              <a:gd name="T21" fmla="*/ 3 h 43"/>
              <a:gd name="T22" fmla="*/ 11 w 26"/>
              <a:gd name="T23" fmla="*/ 2 h 43"/>
              <a:gd name="T24" fmla="*/ 8 w 26"/>
              <a:gd name="T25" fmla="*/ 2 h 43"/>
              <a:gd name="T26" fmla="*/ 6 w 26"/>
              <a:gd name="T27" fmla="*/ 2 h 43"/>
              <a:gd name="T28" fmla="*/ 7 w 26"/>
              <a:gd name="T29" fmla="*/ 7 h 43"/>
              <a:gd name="T30" fmla="*/ 2 w 26"/>
              <a:gd name="T31" fmla="*/ 24 h 43"/>
              <a:gd name="T32" fmla="*/ 5 w 26"/>
              <a:gd name="T33" fmla="*/ 30 h 43"/>
              <a:gd name="T34" fmla="*/ 6 w 26"/>
              <a:gd name="T35" fmla="*/ 41 h 43"/>
              <a:gd name="T36" fmla="*/ 11 w 26"/>
              <a:gd name="T37" fmla="*/ 43 h 43"/>
              <a:gd name="T38" fmla="*/ 17 w 26"/>
              <a:gd name="T39" fmla="*/ 42 h 43"/>
              <a:gd name="T40" fmla="*/ 16 w 26"/>
              <a:gd name="T41" fmla="*/ 39 h 43"/>
              <a:gd name="T42" fmla="*/ 18 w 26"/>
              <a:gd name="T43"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43">
                <a:moveTo>
                  <a:pt x="18" y="35"/>
                </a:moveTo>
                <a:cubicBezTo>
                  <a:pt x="21" y="35"/>
                  <a:pt x="18" y="32"/>
                  <a:pt x="17" y="32"/>
                </a:cubicBezTo>
                <a:cubicBezTo>
                  <a:pt x="16" y="31"/>
                  <a:pt x="17" y="28"/>
                  <a:pt x="19" y="28"/>
                </a:cubicBezTo>
                <a:cubicBezTo>
                  <a:pt x="20" y="28"/>
                  <a:pt x="19" y="26"/>
                  <a:pt x="17" y="24"/>
                </a:cubicBezTo>
                <a:cubicBezTo>
                  <a:pt x="15" y="22"/>
                  <a:pt x="17" y="22"/>
                  <a:pt x="18" y="22"/>
                </a:cubicBezTo>
                <a:cubicBezTo>
                  <a:pt x="20" y="22"/>
                  <a:pt x="18" y="19"/>
                  <a:pt x="20" y="17"/>
                </a:cubicBezTo>
                <a:cubicBezTo>
                  <a:pt x="21" y="15"/>
                  <a:pt x="19" y="12"/>
                  <a:pt x="19" y="10"/>
                </a:cubicBezTo>
                <a:cubicBezTo>
                  <a:pt x="19" y="9"/>
                  <a:pt x="22" y="8"/>
                  <a:pt x="24" y="6"/>
                </a:cubicBezTo>
                <a:cubicBezTo>
                  <a:pt x="26" y="4"/>
                  <a:pt x="22" y="5"/>
                  <a:pt x="22" y="4"/>
                </a:cubicBezTo>
                <a:cubicBezTo>
                  <a:pt x="22" y="2"/>
                  <a:pt x="19" y="2"/>
                  <a:pt x="18" y="3"/>
                </a:cubicBezTo>
                <a:cubicBezTo>
                  <a:pt x="16" y="4"/>
                  <a:pt x="16" y="3"/>
                  <a:pt x="15" y="3"/>
                </a:cubicBezTo>
                <a:cubicBezTo>
                  <a:pt x="13" y="3"/>
                  <a:pt x="11" y="3"/>
                  <a:pt x="11" y="2"/>
                </a:cubicBezTo>
                <a:cubicBezTo>
                  <a:pt x="11" y="0"/>
                  <a:pt x="9" y="0"/>
                  <a:pt x="8" y="2"/>
                </a:cubicBezTo>
                <a:cubicBezTo>
                  <a:pt x="8" y="2"/>
                  <a:pt x="7" y="2"/>
                  <a:pt x="6" y="2"/>
                </a:cubicBezTo>
                <a:cubicBezTo>
                  <a:pt x="6" y="4"/>
                  <a:pt x="6" y="6"/>
                  <a:pt x="7" y="7"/>
                </a:cubicBezTo>
                <a:cubicBezTo>
                  <a:pt x="8" y="9"/>
                  <a:pt x="5" y="21"/>
                  <a:pt x="2" y="24"/>
                </a:cubicBezTo>
                <a:cubicBezTo>
                  <a:pt x="0" y="27"/>
                  <a:pt x="2" y="27"/>
                  <a:pt x="5" y="30"/>
                </a:cubicBezTo>
                <a:cubicBezTo>
                  <a:pt x="8" y="32"/>
                  <a:pt x="6" y="39"/>
                  <a:pt x="6" y="41"/>
                </a:cubicBezTo>
                <a:cubicBezTo>
                  <a:pt x="6" y="43"/>
                  <a:pt x="8" y="43"/>
                  <a:pt x="11" y="43"/>
                </a:cubicBezTo>
                <a:cubicBezTo>
                  <a:pt x="13" y="43"/>
                  <a:pt x="15" y="42"/>
                  <a:pt x="17" y="42"/>
                </a:cubicBezTo>
                <a:cubicBezTo>
                  <a:pt x="16" y="41"/>
                  <a:pt x="16" y="40"/>
                  <a:pt x="16" y="39"/>
                </a:cubicBezTo>
                <a:cubicBezTo>
                  <a:pt x="16" y="38"/>
                  <a:pt x="16" y="36"/>
                  <a:pt x="18" y="3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 name="Freeform 79"/>
          <p:cNvSpPr/>
          <p:nvPr/>
        </p:nvSpPr>
        <p:spPr bwMode="auto">
          <a:xfrm>
            <a:off x="4280967" y="1973710"/>
            <a:ext cx="82550" cy="71438"/>
          </a:xfrm>
          <a:custGeom>
            <a:avLst/>
            <a:gdLst>
              <a:gd name="T0" fmla="*/ 9 w 29"/>
              <a:gd name="T1" fmla="*/ 19 h 25"/>
              <a:gd name="T2" fmla="*/ 14 w 29"/>
              <a:gd name="T3" fmla="*/ 20 h 25"/>
              <a:gd name="T4" fmla="*/ 19 w 29"/>
              <a:gd name="T5" fmla="*/ 23 h 25"/>
              <a:gd name="T6" fmla="*/ 21 w 29"/>
              <a:gd name="T7" fmla="*/ 25 h 25"/>
              <a:gd name="T8" fmla="*/ 21 w 29"/>
              <a:gd name="T9" fmla="*/ 19 h 25"/>
              <a:gd name="T10" fmla="*/ 22 w 29"/>
              <a:gd name="T11" fmla="*/ 16 h 25"/>
              <a:gd name="T12" fmla="*/ 26 w 29"/>
              <a:gd name="T13" fmla="*/ 14 h 25"/>
              <a:gd name="T14" fmla="*/ 27 w 29"/>
              <a:gd name="T15" fmla="*/ 12 h 25"/>
              <a:gd name="T16" fmla="*/ 25 w 29"/>
              <a:gd name="T17" fmla="*/ 8 h 25"/>
              <a:gd name="T18" fmla="*/ 28 w 29"/>
              <a:gd name="T19" fmla="*/ 5 h 25"/>
              <a:gd name="T20" fmla="*/ 28 w 29"/>
              <a:gd name="T21" fmla="*/ 0 h 25"/>
              <a:gd name="T22" fmla="*/ 26 w 29"/>
              <a:gd name="T23" fmla="*/ 1 h 25"/>
              <a:gd name="T24" fmla="*/ 19 w 29"/>
              <a:gd name="T25" fmla="*/ 1 h 25"/>
              <a:gd name="T26" fmla="*/ 17 w 29"/>
              <a:gd name="T27" fmla="*/ 6 h 25"/>
              <a:gd name="T28" fmla="*/ 13 w 29"/>
              <a:gd name="T29" fmla="*/ 6 h 25"/>
              <a:gd name="T30" fmla="*/ 10 w 29"/>
              <a:gd name="T31" fmla="*/ 8 h 25"/>
              <a:gd name="T32" fmla="*/ 7 w 29"/>
              <a:gd name="T33" fmla="*/ 13 h 25"/>
              <a:gd name="T34" fmla="*/ 1 w 29"/>
              <a:gd name="T35" fmla="*/ 20 h 25"/>
              <a:gd name="T36" fmla="*/ 0 w 29"/>
              <a:gd name="T37" fmla="*/ 21 h 25"/>
              <a:gd name="T38" fmla="*/ 3 w 29"/>
              <a:gd name="T39" fmla="*/ 21 h 25"/>
              <a:gd name="T40" fmla="*/ 9 w 29"/>
              <a:gd name="T41"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25">
                <a:moveTo>
                  <a:pt x="9" y="19"/>
                </a:moveTo>
                <a:cubicBezTo>
                  <a:pt x="11" y="18"/>
                  <a:pt x="13" y="19"/>
                  <a:pt x="14" y="20"/>
                </a:cubicBezTo>
                <a:cubicBezTo>
                  <a:pt x="15" y="21"/>
                  <a:pt x="17" y="21"/>
                  <a:pt x="19" y="23"/>
                </a:cubicBezTo>
                <a:cubicBezTo>
                  <a:pt x="19" y="24"/>
                  <a:pt x="20" y="24"/>
                  <a:pt x="21" y="25"/>
                </a:cubicBezTo>
                <a:cubicBezTo>
                  <a:pt x="21" y="23"/>
                  <a:pt x="21" y="21"/>
                  <a:pt x="21" y="19"/>
                </a:cubicBezTo>
                <a:cubicBezTo>
                  <a:pt x="22" y="18"/>
                  <a:pt x="21" y="16"/>
                  <a:pt x="22" y="16"/>
                </a:cubicBezTo>
                <a:cubicBezTo>
                  <a:pt x="23" y="16"/>
                  <a:pt x="26" y="16"/>
                  <a:pt x="26" y="14"/>
                </a:cubicBezTo>
                <a:cubicBezTo>
                  <a:pt x="26" y="12"/>
                  <a:pt x="26" y="13"/>
                  <a:pt x="27" y="12"/>
                </a:cubicBezTo>
                <a:cubicBezTo>
                  <a:pt x="28" y="11"/>
                  <a:pt x="25" y="9"/>
                  <a:pt x="25" y="8"/>
                </a:cubicBezTo>
                <a:cubicBezTo>
                  <a:pt x="24" y="8"/>
                  <a:pt x="27" y="7"/>
                  <a:pt x="28" y="5"/>
                </a:cubicBezTo>
                <a:cubicBezTo>
                  <a:pt x="29" y="4"/>
                  <a:pt x="29" y="2"/>
                  <a:pt x="28" y="0"/>
                </a:cubicBezTo>
                <a:cubicBezTo>
                  <a:pt x="28" y="1"/>
                  <a:pt x="27" y="2"/>
                  <a:pt x="26" y="1"/>
                </a:cubicBezTo>
                <a:cubicBezTo>
                  <a:pt x="25" y="0"/>
                  <a:pt x="22" y="1"/>
                  <a:pt x="19" y="1"/>
                </a:cubicBezTo>
                <a:cubicBezTo>
                  <a:pt x="16" y="2"/>
                  <a:pt x="15" y="5"/>
                  <a:pt x="17" y="6"/>
                </a:cubicBezTo>
                <a:cubicBezTo>
                  <a:pt x="18" y="7"/>
                  <a:pt x="14" y="8"/>
                  <a:pt x="13" y="6"/>
                </a:cubicBezTo>
                <a:cubicBezTo>
                  <a:pt x="13" y="5"/>
                  <a:pt x="10" y="6"/>
                  <a:pt x="10" y="8"/>
                </a:cubicBezTo>
                <a:cubicBezTo>
                  <a:pt x="10" y="10"/>
                  <a:pt x="7" y="11"/>
                  <a:pt x="7" y="13"/>
                </a:cubicBezTo>
                <a:cubicBezTo>
                  <a:pt x="7" y="16"/>
                  <a:pt x="4" y="19"/>
                  <a:pt x="1" y="20"/>
                </a:cubicBezTo>
                <a:cubicBezTo>
                  <a:pt x="1" y="20"/>
                  <a:pt x="1" y="20"/>
                  <a:pt x="0" y="21"/>
                </a:cubicBezTo>
                <a:cubicBezTo>
                  <a:pt x="1" y="21"/>
                  <a:pt x="2" y="21"/>
                  <a:pt x="3" y="21"/>
                </a:cubicBezTo>
                <a:cubicBezTo>
                  <a:pt x="5" y="21"/>
                  <a:pt x="8" y="20"/>
                  <a:pt x="9" y="1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4" name="Freeform 80"/>
          <p:cNvSpPr/>
          <p:nvPr/>
        </p:nvSpPr>
        <p:spPr bwMode="auto">
          <a:xfrm>
            <a:off x="4331767" y="2062610"/>
            <a:ext cx="14288" cy="17463"/>
          </a:xfrm>
          <a:custGeom>
            <a:avLst/>
            <a:gdLst>
              <a:gd name="T0" fmla="*/ 3 w 5"/>
              <a:gd name="T1" fmla="*/ 0 h 6"/>
              <a:gd name="T2" fmla="*/ 1 w 5"/>
              <a:gd name="T3" fmla="*/ 6 h 6"/>
              <a:gd name="T4" fmla="*/ 5 w 5"/>
              <a:gd name="T5" fmla="*/ 6 h 6"/>
              <a:gd name="T6" fmla="*/ 3 w 5"/>
              <a:gd name="T7" fmla="*/ 1 h 6"/>
              <a:gd name="T8" fmla="*/ 3 w 5"/>
              <a:gd name="T9" fmla="*/ 0 h 6"/>
            </a:gdLst>
            <a:ahLst/>
            <a:cxnLst>
              <a:cxn ang="0">
                <a:pos x="T0" y="T1"/>
              </a:cxn>
              <a:cxn ang="0">
                <a:pos x="T2" y="T3"/>
              </a:cxn>
              <a:cxn ang="0">
                <a:pos x="T4" y="T5"/>
              </a:cxn>
              <a:cxn ang="0">
                <a:pos x="T6" y="T7"/>
              </a:cxn>
              <a:cxn ang="0">
                <a:pos x="T8" y="T9"/>
              </a:cxn>
            </a:cxnLst>
            <a:rect l="0" t="0" r="r" b="b"/>
            <a:pathLst>
              <a:path w="5" h="6">
                <a:moveTo>
                  <a:pt x="3" y="0"/>
                </a:moveTo>
                <a:cubicBezTo>
                  <a:pt x="2" y="1"/>
                  <a:pt x="0" y="2"/>
                  <a:pt x="1" y="6"/>
                </a:cubicBezTo>
                <a:cubicBezTo>
                  <a:pt x="2" y="6"/>
                  <a:pt x="4" y="6"/>
                  <a:pt x="5" y="6"/>
                </a:cubicBezTo>
                <a:cubicBezTo>
                  <a:pt x="5" y="3"/>
                  <a:pt x="3" y="1"/>
                  <a:pt x="3" y="1"/>
                </a:cubicBezTo>
                <a:cubicBezTo>
                  <a:pt x="3" y="0"/>
                  <a:pt x="3" y="0"/>
                  <a:pt x="3"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5" name="Freeform 81"/>
          <p:cNvSpPr/>
          <p:nvPr/>
        </p:nvSpPr>
        <p:spPr bwMode="auto">
          <a:xfrm>
            <a:off x="4269855" y="2024510"/>
            <a:ext cx="76200" cy="55563"/>
          </a:xfrm>
          <a:custGeom>
            <a:avLst/>
            <a:gdLst>
              <a:gd name="T0" fmla="*/ 1 w 27"/>
              <a:gd name="T1" fmla="*/ 5 h 19"/>
              <a:gd name="T2" fmla="*/ 3 w 27"/>
              <a:gd name="T3" fmla="*/ 8 h 19"/>
              <a:gd name="T4" fmla="*/ 7 w 27"/>
              <a:gd name="T5" fmla="*/ 10 h 19"/>
              <a:gd name="T6" fmla="*/ 11 w 27"/>
              <a:gd name="T7" fmla="*/ 13 h 19"/>
              <a:gd name="T8" fmla="*/ 13 w 27"/>
              <a:gd name="T9" fmla="*/ 15 h 19"/>
              <a:gd name="T10" fmla="*/ 16 w 27"/>
              <a:gd name="T11" fmla="*/ 13 h 19"/>
              <a:gd name="T12" fmla="*/ 18 w 27"/>
              <a:gd name="T13" fmla="*/ 17 h 19"/>
              <a:gd name="T14" fmla="*/ 21 w 27"/>
              <a:gd name="T15" fmla="*/ 19 h 19"/>
              <a:gd name="T16" fmla="*/ 23 w 27"/>
              <a:gd name="T17" fmla="*/ 19 h 19"/>
              <a:gd name="T18" fmla="*/ 25 w 27"/>
              <a:gd name="T19" fmla="*/ 13 h 19"/>
              <a:gd name="T20" fmla="*/ 26 w 27"/>
              <a:gd name="T21" fmla="*/ 11 h 19"/>
              <a:gd name="T22" fmla="*/ 24 w 27"/>
              <a:gd name="T23" fmla="*/ 7 h 19"/>
              <a:gd name="T24" fmla="*/ 25 w 27"/>
              <a:gd name="T25" fmla="*/ 7 h 19"/>
              <a:gd name="T26" fmla="*/ 23 w 27"/>
              <a:gd name="T27" fmla="*/ 5 h 19"/>
              <a:gd name="T28" fmla="*/ 18 w 27"/>
              <a:gd name="T29" fmla="*/ 2 h 19"/>
              <a:gd name="T30" fmla="*/ 13 w 27"/>
              <a:gd name="T31" fmla="*/ 1 h 19"/>
              <a:gd name="T32" fmla="*/ 7 w 27"/>
              <a:gd name="T33" fmla="*/ 3 h 19"/>
              <a:gd name="T34" fmla="*/ 4 w 27"/>
              <a:gd name="T35" fmla="*/ 3 h 19"/>
              <a:gd name="T36" fmla="*/ 0 w 27"/>
              <a:gd name="T37" fmla="*/ 4 h 19"/>
              <a:gd name="T38" fmla="*/ 1 w 27"/>
              <a:gd name="T39"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 h="19">
                <a:moveTo>
                  <a:pt x="1" y="5"/>
                </a:moveTo>
                <a:cubicBezTo>
                  <a:pt x="1" y="6"/>
                  <a:pt x="2" y="9"/>
                  <a:pt x="3" y="8"/>
                </a:cubicBezTo>
                <a:cubicBezTo>
                  <a:pt x="4" y="7"/>
                  <a:pt x="5" y="9"/>
                  <a:pt x="7" y="10"/>
                </a:cubicBezTo>
                <a:cubicBezTo>
                  <a:pt x="8" y="11"/>
                  <a:pt x="11" y="12"/>
                  <a:pt x="11" y="13"/>
                </a:cubicBezTo>
                <a:cubicBezTo>
                  <a:pt x="11" y="14"/>
                  <a:pt x="11" y="16"/>
                  <a:pt x="13" y="15"/>
                </a:cubicBezTo>
                <a:cubicBezTo>
                  <a:pt x="14" y="14"/>
                  <a:pt x="16" y="12"/>
                  <a:pt x="16" y="13"/>
                </a:cubicBezTo>
                <a:cubicBezTo>
                  <a:pt x="16" y="15"/>
                  <a:pt x="16" y="17"/>
                  <a:pt x="18" y="17"/>
                </a:cubicBezTo>
                <a:cubicBezTo>
                  <a:pt x="19" y="16"/>
                  <a:pt x="20" y="19"/>
                  <a:pt x="21" y="19"/>
                </a:cubicBezTo>
                <a:cubicBezTo>
                  <a:pt x="22" y="19"/>
                  <a:pt x="22" y="19"/>
                  <a:pt x="23" y="19"/>
                </a:cubicBezTo>
                <a:cubicBezTo>
                  <a:pt x="22" y="15"/>
                  <a:pt x="24" y="14"/>
                  <a:pt x="25" y="13"/>
                </a:cubicBezTo>
                <a:cubicBezTo>
                  <a:pt x="25" y="12"/>
                  <a:pt x="26" y="12"/>
                  <a:pt x="26" y="11"/>
                </a:cubicBezTo>
                <a:cubicBezTo>
                  <a:pt x="27" y="10"/>
                  <a:pt x="24" y="8"/>
                  <a:pt x="24" y="7"/>
                </a:cubicBezTo>
                <a:cubicBezTo>
                  <a:pt x="24" y="7"/>
                  <a:pt x="24" y="7"/>
                  <a:pt x="25" y="7"/>
                </a:cubicBezTo>
                <a:cubicBezTo>
                  <a:pt x="24" y="6"/>
                  <a:pt x="23" y="6"/>
                  <a:pt x="23" y="5"/>
                </a:cubicBezTo>
                <a:cubicBezTo>
                  <a:pt x="21" y="3"/>
                  <a:pt x="19" y="3"/>
                  <a:pt x="18" y="2"/>
                </a:cubicBezTo>
                <a:cubicBezTo>
                  <a:pt x="17" y="1"/>
                  <a:pt x="15" y="0"/>
                  <a:pt x="13" y="1"/>
                </a:cubicBezTo>
                <a:cubicBezTo>
                  <a:pt x="12" y="2"/>
                  <a:pt x="9" y="3"/>
                  <a:pt x="7" y="3"/>
                </a:cubicBezTo>
                <a:cubicBezTo>
                  <a:pt x="6" y="3"/>
                  <a:pt x="5" y="3"/>
                  <a:pt x="4" y="3"/>
                </a:cubicBezTo>
                <a:cubicBezTo>
                  <a:pt x="3" y="3"/>
                  <a:pt x="1" y="4"/>
                  <a:pt x="0" y="4"/>
                </a:cubicBezTo>
                <a:cubicBezTo>
                  <a:pt x="0" y="5"/>
                  <a:pt x="1" y="5"/>
                  <a:pt x="1" y="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6" name="Freeform 82"/>
          <p:cNvSpPr/>
          <p:nvPr/>
        </p:nvSpPr>
        <p:spPr bwMode="auto">
          <a:xfrm>
            <a:off x="4614342" y="2107060"/>
            <a:ext cx="179388" cy="114300"/>
          </a:xfrm>
          <a:custGeom>
            <a:avLst/>
            <a:gdLst>
              <a:gd name="T0" fmla="*/ 56 w 63"/>
              <a:gd name="T1" fmla="*/ 27 h 40"/>
              <a:gd name="T2" fmla="*/ 53 w 63"/>
              <a:gd name="T3" fmla="*/ 25 h 40"/>
              <a:gd name="T4" fmla="*/ 53 w 63"/>
              <a:gd name="T5" fmla="*/ 25 h 40"/>
              <a:gd name="T6" fmla="*/ 52 w 63"/>
              <a:gd name="T7" fmla="*/ 17 h 40"/>
              <a:gd name="T8" fmla="*/ 48 w 63"/>
              <a:gd name="T9" fmla="*/ 7 h 40"/>
              <a:gd name="T10" fmla="*/ 43 w 63"/>
              <a:gd name="T11" fmla="*/ 0 h 40"/>
              <a:gd name="T12" fmla="*/ 40 w 63"/>
              <a:gd name="T13" fmla="*/ 1 h 40"/>
              <a:gd name="T14" fmla="*/ 36 w 63"/>
              <a:gd name="T15" fmla="*/ 3 h 40"/>
              <a:gd name="T16" fmla="*/ 33 w 63"/>
              <a:gd name="T17" fmla="*/ 4 h 40"/>
              <a:gd name="T18" fmla="*/ 30 w 63"/>
              <a:gd name="T19" fmla="*/ 4 h 40"/>
              <a:gd name="T20" fmla="*/ 26 w 63"/>
              <a:gd name="T21" fmla="*/ 3 h 40"/>
              <a:gd name="T22" fmla="*/ 19 w 63"/>
              <a:gd name="T23" fmla="*/ 2 h 40"/>
              <a:gd name="T24" fmla="*/ 16 w 63"/>
              <a:gd name="T25" fmla="*/ 2 h 40"/>
              <a:gd name="T26" fmla="*/ 15 w 63"/>
              <a:gd name="T27" fmla="*/ 4 h 40"/>
              <a:gd name="T28" fmla="*/ 11 w 63"/>
              <a:gd name="T29" fmla="*/ 7 h 40"/>
              <a:gd name="T30" fmla="*/ 5 w 63"/>
              <a:gd name="T31" fmla="*/ 17 h 40"/>
              <a:gd name="T32" fmla="*/ 0 w 63"/>
              <a:gd name="T33" fmla="*/ 20 h 40"/>
              <a:gd name="T34" fmla="*/ 3 w 63"/>
              <a:gd name="T35" fmla="*/ 24 h 40"/>
              <a:gd name="T36" fmla="*/ 5 w 63"/>
              <a:gd name="T37" fmla="*/ 27 h 40"/>
              <a:gd name="T38" fmla="*/ 6 w 63"/>
              <a:gd name="T39" fmla="*/ 31 h 40"/>
              <a:gd name="T40" fmla="*/ 14 w 63"/>
              <a:gd name="T41" fmla="*/ 33 h 40"/>
              <a:gd name="T42" fmla="*/ 14 w 63"/>
              <a:gd name="T43" fmla="*/ 36 h 40"/>
              <a:gd name="T44" fmla="*/ 18 w 63"/>
              <a:gd name="T45" fmla="*/ 39 h 40"/>
              <a:gd name="T46" fmla="*/ 25 w 63"/>
              <a:gd name="T47" fmla="*/ 40 h 40"/>
              <a:gd name="T48" fmla="*/ 33 w 63"/>
              <a:gd name="T49" fmla="*/ 40 h 40"/>
              <a:gd name="T50" fmla="*/ 37 w 63"/>
              <a:gd name="T51" fmla="*/ 38 h 40"/>
              <a:gd name="T52" fmla="*/ 46 w 63"/>
              <a:gd name="T53" fmla="*/ 36 h 40"/>
              <a:gd name="T54" fmla="*/ 51 w 63"/>
              <a:gd name="T55" fmla="*/ 38 h 40"/>
              <a:gd name="T56" fmla="*/ 55 w 63"/>
              <a:gd name="T57" fmla="*/ 40 h 40"/>
              <a:gd name="T58" fmla="*/ 55 w 63"/>
              <a:gd name="T59" fmla="*/ 36 h 40"/>
              <a:gd name="T60" fmla="*/ 59 w 63"/>
              <a:gd name="T61" fmla="*/ 31 h 40"/>
              <a:gd name="T62" fmla="*/ 62 w 63"/>
              <a:gd name="T63" fmla="*/ 27 h 40"/>
              <a:gd name="T64" fmla="*/ 62 w 63"/>
              <a:gd name="T65" fmla="*/ 27 h 40"/>
              <a:gd name="T66" fmla="*/ 60 w 63"/>
              <a:gd name="T67" fmla="*/ 25 h 40"/>
              <a:gd name="T68" fmla="*/ 56 w 63"/>
              <a:gd name="T69"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 h="40">
                <a:moveTo>
                  <a:pt x="56" y="27"/>
                </a:moveTo>
                <a:cubicBezTo>
                  <a:pt x="55" y="26"/>
                  <a:pt x="53" y="26"/>
                  <a:pt x="53" y="25"/>
                </a:cubicBezTo>
                <a:cubicBezTo>
                  <a:pt x="53" y="25"/>
                  <a:pt x="53" y="25"/>
                  <a:pt x="53" y="25"/>
                </a:cubicBezTo>
                <a:cubicBezTo>
                  <a:pt x="52" y="23"/>
                  <a:pt x="51" y="18"/>
                  <a:pt x="52" y="17"/>
                </a:cubicBezTo>
                <a:cubicBezTo>
                  <a:pt x="54" y="15"/>
                  <a:pt x="50" y="10"/>
                  <a:pt x="48" y="7"/>
                </a:cubicBezTo>
                <a:cubicBezTo>
                  <a:pt x="47" y="6"/>
                  <a:pt x="45" y="3"/>
                  <a:pt x="43" y="0"/>
                </a:cubicBezTo>
                <a:cubicBezTo>
                  <a:pt x="42" y="0"/>
                  <a:pt x="40" y="1"/>
                  <a:pt x="40" y="1"/>
                </a:cubicBezTo>
                <a:cubicBezTo>
                  <a:pt x="39" y="2"/>
                  <a:pt x="37" y="3"/>
                  <a:pt x="36" y="3"/>
                </a:cubicBezTo>
                <a:cubicBezTo>
                  <a:pt x="35" y="3"/>
                  <a:pt x="34" y="3"/>
                  <a:pt x="33" y="4"/>
                </a:cubicBezTo>
                <a:cubicBezTo>
                  <a:pt x="32" y="5"/>
                  <a:pt x="30" y="5"/>
                  <a:pt x="30" y="4"/>
                </a:cubicBezTo>
                <a:cubicBezTo>
                  <a:pt x="29" y="4"/>
                  <a:pt x="27" y="3"/>
                  <a:pt x="26" y="3"/>
                </a:cubicBezTo>
                <a:cubicBezTo>
                  <a:pt x="24" y="3"/>
                  <a:pt x="20" y="2"/>
                  <a:pt x="19" y="2"/>
                </a:cubicBezTo>
                <a:cubicBezTo>
                  <a:pt x="18" y="2"/>
                  <a:pt x="17" y="2"/>
                  <a:pt x="16" y="2"/>
                </a:cubicBezTo>
                <a:cubicBezTo>
                  <a:pt x="16" y="3"/>
                  <a:pt x="16" y="3"/>
                  <a:pt x="15" y="4"/>
                </a:cubicBezTo>
                <a:cubicBezTo>
                  <a:pt x="14" y="5"/>
                  <a:pt x="12" y="6"/>
                  <a:pt x="11" y="7"/>
                </a:cubicBezTo>
                <a:cubicBezTo>
                  <a:pt x="10" y="7"/>
                  <a:pt x="7" y="15"/>
                  <a:pt x="5" y="17"/>
                </a:cubicBezTo>
                <a:cubicBezTo>
                  <a:pt x="2" y="19"/>
                  <a:pt x="0" y="19"/>
                  <a:pt x="0" y="20"/>
                </a:cubicBezTo>
                <a:cubicBezTo>
                  <a:pt x="0" y="21"/>
                  <a:pt x="3" y="23"/>
                  <a:pt x="3" y="24"/>
                </a:cubicBezTo>
                <a:cubicBezTo>
                  <a:pt x="3" y="25"/>
                  <a:pt x="3" y="27"/>
                  <a:pt x="5" y="27"/>
                </a:cubicBezTo>
                <a:cubicBezTo>
                  <a:pt x="7" y="27"/>
                  <a:pt x="5" y="31"/>
                  <a:pt x="6" y="31"/>
                </a:cubicBezTo>
                <a:cubicBezTo>
                  <a:pt x="7" y="31"/>
                  <a:pt x="14" y="32"/>
                  <a:pt x="14" y="33"/>
                </a:cubicBezTo>
                <a:cubicBezTo>
                  <a:pt x="14" y="34"/>
                  <a:pt x="14" y="35"/>
                  <a:pt x="14" y="36"/>
                </a:cubicBezTo>
                <a:cubicBezTo>
                  <a:pt x="16" y="37"/>
                  <a:pt x="17" y="39"/>
                  <a:pt x="18" y="39"/>
                </a:cubicBezTo>
                <a:cubicBezTo>
                  <a:pt x="19" y="39"/>
                  <a:pt x="24" y="40"/>
                  <a:pt x="25" y="40"/>
                </a:cubicBezTo>
                <a:cubicBezTo>
                  <a:pt x="26" y="39"/>
                  <a:pt x="31" y="40"/>
                  <a:pt x="33" y="40"/>
                </a:cubicBezTo>
                <a:cubicBezTo>
                  <a:pt x="34" y="40"/>
                  <a:pt x="36" y="39"/>
                  <a:pt x="37" y="38"/>
                </a:cubicBezTo>
                <a:cubicBezTo>
                  <a:pt x="39" y="36"/>
                  <a:pt x="44" y="36"/>
                  <a:pt x="46" y="36"/>
                </a:cubicBezTo>
                <a:cubicBezTo>
                  <a:pt x="47" y="37"/>
                  <a:pt x="50" y="37"/>
                  <a:pt x="51" y="38"/>
                </a:cubicBezTo>
                <a:cubicBezTo>
                  <a:pt x="51" y="39"/>
                  <a:pt x="53" y="39"/>
                  <a:pt x="55" y="40"/>
                </a:cubicBezTo>
                <a:cubicBezTo>
                  <a:pt x="55" y="39"/>
                  <a:pt x="55" y="38"/>
                  <a:pt x="55" y="36"/>
                </a:cubicBezTo>
                <a:cubicBezTo>
                  <a:pt x="55" y="34"/>
                  <a:pt x="57" y="31"/>
                  <a:pt x="59" y="31"/>
                </a:cubicBezTo>
                <a:cubicBezTo>
                  <a:pt x="61" y="31"/>
                  <a:pt x="63" y="31"/>
                  <a:pt x="62" y="27"/>
                </a:cubicBezTo>
                <a:cubicBezTo>
                  <a:pt x="62" y="27"/>
                  <a:pt x="62" y="27"/>
                  <a:pt x="62" y="27"/>
                </a:cubicBezTo>
                <a:cubicBezTo>
                  <a:pt x="61" y="26"/>
                  <a:pt x="60" y="25"/>
                  <a:pt x="60" y="25"/>
                </a:cubicBezTo>
                <a:cubicBezTo>
                  <a:pt x="59" y="25"/>
                  <a:pt x="57" y="27"/>
                  <a:pt x="56" y="2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7" name="Freeform 83"/>
          <p:cNvSpPr/>
          <p:nvPr/>
        </p:nvSpPr>
        <p:spPr bwMode="auto">
          <a:xfrm>
            <a:off x="4736580" y="2102298"/>
            <a:ext cx="63500" cy="76200"/>
          </a:xfrm>
          <a:custGeom>
            <a:avLst/>
            <a:gdLst>
              <a:gd name="T0" fmla="*/ 16 w 22"/>
              <a:gd name="T1" fmla="*/ 7 h 27"/>
              <a:gd name="T2" fmla="*/ 11 w 22"/>
              <a:gd name="T3" fmla="*/ 3 h 27"/>
              <a:gd name="T4" fmla="*/ 5 w 22"/>
              <a:gd name="T5" fmla="*/ 0 h 27"/>
              <a:gd name="T6" fmla="*/ 0 w 22"/>
              <a:gd name="T7" fmla="*/ 2 h 27"/>
              <a:gd name="T8" fmla="*/ 5 w 22"/>
              <a:gd name="T9" fmla="*/ 9 h 27"/>
              <a:gd name="T10" fmla="*/ 9 w 22"/>
              <a:gd name="T11" fmla="*/ 19 h 27"/>
              <a:gd name="T12" fmla="*/ 10 w 22"/>
              <a:gd name="T13" fmla="*/ 27 h 27"/>
              <a:gd name="T14" fmla="*/ 14 w 22"/>
              <a:gd name="T15" fmla="*/ 21 h 27"/>
              <a:gd name="T16" fmla="*/ 17 w 22"/>
              <a:gd name="T17" fmla="*/ 18 h 27"/>
              <a:gd name="T18" fmla="*/ 22 w 22"/>
              <a:gd name="T19" fmla="*/ 18 h 27"/>
              <a:gd name="T20" fmla="*/ 20 w 22"/>
              <a:gd name="T21" fmla="*/ 14 h 27"/>
              <a:gd name="T22" fmla="*/ 16 w 22"/>
              <a:gd name="T23"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7">
                <a:moveTo>
                  <a:pt x="16" y="7"/>
                </a:moveTo>
                <a:cubicBezTo>
                  <a:pt x="15" y="4"/>
                  <a:pt x="12" y="3"/>
                  <a:pt x="11" y="3"/>
                </a:cubicBezTo>
                <a:cubicBezTo>
                  <a:pt x="9" y="3"/>
                  <a:pt x="7" y="0"/>
                  <a:pt x="5" y="0"/>
                </a:cubicBezTo>
                <a:cubicBezTo>
                  <a:pt x="5" y="0"/>
                  <a:pt x="2" y="1"/>
                  <a:pt x="0" y="2"/>
                </a:cubicBezTo>
                <a:cubicBezTo>
                  <a:pt x="2" y="5"/>
                  <a:pt x="4" y="8"/>
                  <a:pt x="5" y="9"/>
                </a:cubicBezTo>
                <a:cubicBezTo>
                  <a:pt x="7" y="12"/>
                  <a:pt x="11" y="17"/>
                  <a:pt x="9" y="19"/>
                </a:cubicBezTo>
                <a:cubicBezTo>
                  <a:pt x="8" y="20"/>
                  <a:pt x="9" y="25"/>
                  <a:pt x="10" y="27"/>
                </a:cubicBezTo>
                <a:cubicBezTo>
                  <a:pt x="11" y="26"/>
                  <a:pt x="14" y="22"/>
                  <a:pt x="14" y="21"/>
                </a:cubicBezTo>
                <a:cubicBezTo>
                  <a:pt x="14" y="19"/>
                  <a:pt x="15" y="17"/>
                  <a:pt x="17" y="18"/>
                </a:cubicBezTo>
                <a:cubicBezTo>
                  <a:pt x="19" y="18"/>
                  <a:pt x="22" y="19"/>
                  <a:pt x="22" y="18"/>
                </a:cubicBezTo>
                <a:cubicBezTo>
                  <a:pt x="22" y="18"/>
                  <a:pt x="21" y="15"/>
                  <a:pt x="20" y="14"/>
                </a:cubicBezTo>
                <a:cubicBezTo>
                  <a:pt x="19" y="13"/>
                  <a:pt x="17" y="10"/>
                  <a:pt x="16" y="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8" name="Freeform 84"/>
          <p:cNvSpPr/>
          <p:nvPr/>
        </p:nvSpPr>
        <p:spPr bwMode="auto">
          <a:xfrm>
            <a:off x="4649267" y="2210248"/>
            <a:ext cx="122238" cy="68263"/>
          </a:xfrm>
          <a:custGeom>
            <a:avLst/>
            <a:gdLst>
              <a:gd name="T0" fmla="*/ 34 w 43"/>
              <a:gd name="T1" fmla="*/ 0 h 24"/>
              <a:gd name="T2" fmla="*/ 25 w 43"/>
              <a:gd name="T3" fmla="*/ 2 h 24"/>
              <a:gd name="T4" fmla="*/ 21 w 43"/>
              <a:gd name="T5" fmla="*/ 4 h 24"/>
              <a:gd name="T6" fmla="*/ 13 w 43"/>
              <a:gd name="T7" fmla="*/ 4 h 24"/>
              <a:gd name="T8" fmla="*/ 6 w 43"/>
              <a:gd name="T9" fmla="*/ 3 h 24"/>
              <a:gd name="T10" fmla="*/ 2 w 43"/>
              <a:gd name="T11" fmla="*/ 0 h 24"/>
              <a:gd name="T12" fmla="*/ 1 w 43"/>
              <a:gd name="T13" fmla="*/ 1 h 24"/>
              <a:gd name="T14" fmla="*/ 1 w 43"/>
              <a:gd name="T15" fmla="*/ 6 h 24"/>
              <a:gd name="T16" fmla="*/ 4 w 43"/>
              <a:gd name="T17" fmla="*/ 10 h 24"/>
              <a:gd name="T18" fmla="*/ 1 w 43"/>
              <a:gd name="T19" fmla="*/ 13 h 24"/>
              <a:gd name="T20" fmla="*/ 1 w 43"/>
              <a:gd name="T21" fmla="*/ 16 h 24"/>
              <a:gd name="T22" fmla="*/ 5 w 43"/>
              <a:gd name="T23" fmla="*/ 21 h 24"/>
              <a:gd name="T24" fmla="*/ 6 w 43"/>
              <a:gd name="T25" fmla="*/ 22 h 24"/>
              <a:gd name="T26" fmla="*/ 16 w 43"/>
              <a:gd name="T27" fmla="*/ 23 h 24"/>
              <a:gd name="T28" fmla="*/ 23 w 43"/>
              <a:gd name="T29" fmla="*/ 24 h 24"/>
              <a:gd name="T30" fmla="*/ 26 w 43"/>
              <a:gd name="T31" fmla="*/ 22 h 24"/>
              <a:gd name="T32" fmla="*/ 29 w 43"/>
              <a:gd name="T33" fmla="*/ 21 h 24"/>
              <a:gd name="T34" fmla="*/ 29 w 43"/>
              <a:gd name="T35" fmla="*/ 19 h 24"/>
              <a:gd name="T36" fmla="*/ 36 w 43"/>
              <a:gd name="T37" fmla="*/ 19 h 24"/>
              <a:gd name="T38" fmla="*/ 39 w 43"/>
              <a:gd name="T39" fmla="*/ 18 h 24"/>
              <a:gd name="T40" fmla="*/ 38 w 43"/>
              <a:gd name="T41" fmla="*/ 17 h 24"/>
              <a:gd name="T42" fmla="*/ 36 w 43"/>
              <a:gd name="T43" fmla="*/ 11 h 24"/>
              <a:gd name="T44" fmla="*/ 42 w 43"/>
              <a:gd name="T45" fmla="*/ 5 h 24"/>
              <a:gd name="T46" fmla="*/ 43 w 43"/>
              <a:gd name="T47" fmla="*/ 4 h 24"/>
              <a:gd name="T48" fmla="*/ 39 w 43"/>
              <a:gd name="T49" fmla="*/ 2 h 24"/>
              <a:gd name="T50" fmla="*/ 34 w 43"/>
              <a:gd name="T5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3" h="24">
                <a:moveTo>
                  <a:pt x="34" y="0"/>
                </a:moveTo>
                <a:cubicBezTo>
                  <a:pt x="32" y="0"/>
                  <a:pt x="27" y="0"/>
                  <a:pt x="25" y="2"/>
                </a:cubicBezTo>
                <a:cubicBezTo>
                  <a:pt x="24" y="3"/>
                  <a:pt x="22" y="4"/>
                  <a:pt x="21" y="4"/>
                </a:cubicBezTo>
                <a:cubicBezTo>
                  <a:pt x="19" y="4"/>
                  <a:pt x="14" y="3"/>
                  <a:pt x="13" y="4"/>
                </a:cubicBezTo>
                <a:cubicBezTo>
                  <a:pt x="12" y="4"/>
                  <a:pt x="7" y="3"/>
                  <a:pt x="6" y="3"/>
                </a:cubicBezTo>
                <a:cubicBezTo>
                  <a:pt x="5" y="3"/>
                  <a:pt x="4" y="1"/>
                  <a:pt x="2" y="0"/>
                </a:cubicBezTo>
                <a:cubicBezTo>
                  <a:pt x="2" y="0"/>
                  <a:pt x="2" y="1"/>
                  <a:pt x="1" y="1"/>
                </a:cubicBezTo>
                <a:cubicBezTo>
                  <a:pt x="0" y="2"/>
                  <a:pt x="0" y="4"/>
                  <a:pt x="1" y="6"/>
                </a:cubicBezTo>
                <a:cubicBezTo>
                  <a:pt x="3" y="7"/>
                  <a:pt x="5" y="10"/>
                  <a:pt x="4" y="10"/>
                </a:cubicBezTo>
                <a:cubicBezTo>
                  <a:pt x="2" y="10"/>
                  <a:pt x="1" y="12"/>
                  <a:pt x="1" y="13"/>
                </a:cubicBezTo>
                <a:cubicBezTo>
                  <a:pt x="1" y="14"/>
                  <a:pt x="1" y="16"/>
                  <a:pt x="1" y="16"/>
                </a:cubicBezTo>
                <a:cubicBezTo>
                  <a:pt x="2" y="17"/>
                  <a:pt x="5" y="20"/>
                  <a:pt x="5" y="21"/>
                </a:cubicBezTo>
                <a:cubicBezTo>
                  <a:pt x="5" y="21"/>
                  <a:pt x="7" y="22"/>
                  <a:pt x="6" y="22"/>
                </a:cubicBezTo>
                <a:cubicBezTo>
                  <a:pt x="9" y="22"/>
                  <a:pt x="14" y="22"/>
                  <a:pt x="16" y="23"/>
                </a:cubicBezTo>
                <a:cubicBezTo>
                  <a:pt x="17" y="23"/>
                  <a:pt x="23" y="24"/>
                  <a:pt x="23" y="24"/>
                </a:cubicBezTo>
                <a:cubicBezTo>
                  <a:pt x="25" y="24"/>
                  <a:pt x="26" y="23"/>
                  <a:pt x="26" y="22"/>
                </a:cubicBezTo>
                <a:cubicBezTo>
                  <a:pt x="25" y="21"/>
                  <a:pt x="27" y="21"/>
                  <a:pt x="29" y="21"/>
                </a:cubicBezTo>
                <a:cubicBezTo>
                  <a:pt x="29" y="20"/>
                  <a:pt x="28" y="19"/>
                  <a:pt x="29" y="19"/>
                </a:cubicBezTo>
                <a:cubicBezTo>
                  <a:pt x="30" y="18"/>
                  <a:pt x="34" y="18"/>
                  <a:pt x="36" y="19"/>
                </a:cubicBezTo>
                <a:cubicBezTo>
                  <a:pt x="37" y="19"/>
                  <a:pt x="38" y="19"/>
                  <a:pt x="39" y="18"/>
                </a:cubicBezTo>
                <a:cubicBezTo>
                  <a:pt x="38" y="17"/>
                  <a:pt x="38" y="17"/>
                  <a:pt x="38" y="17"/>
                </a:cubicBezTo>
                <a:cubicBezTo>
                  <a:pt x="37" y="16"/>
                  <a:pt x="35" y="12"/>
                  <a:pt x="36" y="11"/>
                </a:cubicBezTo>
                <a:cubicBezTo>
                  <a:pt x="38" y="11"/>
                  <a:pt x="40" y="6"/>
                  <a:pt x="42" y="5"/>
                </a:cubicBezTo>
                <a:cubicBezTo>
                  <a:pt x="43" y="5"/>
                  <a:pt x="43" y="5"/>
                  <a:pt x="43" y="4"/>
                </a:cubicBezTo>
                <a:cubicBezTo>
                  <a:pt x="41" y="3"/>
                  <a:pt x="39" y="3"/>
                  <a:pt x="39" y="2"/>
                </a:cubicBezTo>
                <a:cubicBezTo>
                  <a:pt x="38" y="1"/>
                  <a:pt x="35" y="1"/>
                  <a:pt x="34"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9" name="Freeform 85"/>
          <p:cNvSpPr/>
          <p:nvPr/>
        </p:nvSpPr>
        <p:spPr bwMode="auto">
          <a:xfrm>
            <a:off x="4614342" y="2253110"/>
            <a:ext cx="53975" cy="36513"/>
          </a:xfrm>
          <a:custGeom>
            <a:avLst/>
            <a:gdLst>
              <a:gd name="T0" fmla="*/ 4 w 19"/>
              <a:gd name="T1" fmla="*/ 13 h 13"/>
              <a:gd name="T2" fmla="*/ 4 w 19"/>
              <a:gd name="T3" fmla="*/ 13 h 13"/>
              <a:gd name="T4" fmla="*/ 4 w 19"/>
              <a:gd name="T5" fmla="*/ 13 h 13"/>
              <a:gd name="T6" fmla="*/ 4 w 19"/>
              <a:gd name="T7" fmla="*/ 13 h 13"/>
              <a:gd name="T8" fmla="*/ 5 w 19"/>
              <a:gd name="T9" fmla="*/ 13 h 13"/>
              <a:gd name="T10" fmla="*/ 5 w 19"/>
              <a:gd name="T11" fmla="*/ 13 h 13"/>
              <a:gd name="T12" fmla="*/ 7 w 19"/>
              <a:gd name="T13" fmla="*/ 13 h 13"/>
              <a:gd name="T14" fmla="*/ 7 w 19"/>
              <a:gd name="T15" fmla="*/ 13 h 13"/>
              <a:gd name="T16" fmla="*/ 8 w 19"/>
              <a:gd name="T17" fmla="*/ 13 h 13"/>
              <a:gd name="T18" fmla="*/ 8 w 19"/>
              <a:gd name="T19" fmla="*/ 13 h 13"/>
              <a:gd name="T20" fmla="*/ 9 w 19"/>
              <a:gd name="T21" fmla="*/ 13 h 13"/>
              <a:gd name="T22" fmla="*/ 12 w 19"/>
              <a:gd name="T23" fmla="*/ 11 h 13"/>
              <a:gd name="T24" fmla="*/ 18 w 19"/>
              <a:gd name="T25" fmla="*/ 8 h 13"/>
              <a:gd name="T26" fmla="*/ 18 w 19"/>
              <a:gd name="T27" fmla="*/ 7 h 13"/>
              <a:gd name="T28" fmla="*/ 17 w 19"/>
              <a:gd name="T29" fmla="*/ 6 h 13"/>
              <a:gd name="T30" fmla="*/ 13 w 19"/>
              <a:gd name="T31" fmla="*/ 1 h 13"/>
              <a:gd name="T32" fmla="*/ 13 w 19"/>
              <a:gd name="T33" fmla="*/ 1 h 13"/>
              <a:gd name="T34" fmla="*/ 13 w 19"/>
              <a:gd name="T35" fmla="*/ 1 h 13"/>
              <a:gd name="T36" fmla="*/ 13 w 19"/>
              <a:gd name="T37" fmla="*/ 0 h 13"/>
              <a:gd name="T38" fmla="*/ 1 w 19"/>
              <a:gd name="T39" fmla="*/ 2 h 13"/>
              <a:gd name="T40" fmla="*/ 1 w 19"/>
              <a:gd name="T41" fmla="*/ 2 h 13"/>
              <a:gd name="T42" fmla="*/ 0 w 19"/>
              <a:gd name="T43" fmla="*/ 9 h 13"/>
              <a:gd name="T44" fmla="*/ 4 w 19"/>
              <a:gd name="T4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3">
                <a:moveTo>
                  <a:pt x="4" y="13"/>
                </a:moveTo>
                <a:cubicBezTo>
                  <a:pt x="4" y="13"/>
                  <a:pt x="4" y="13"/>
                  <a:pt x="4" y="13"/>
                </a:cubicBezTo>
                <a:cubicBezTo>
                  <a:pt x="4" y="13"/>
                  <a:pt x="4" y="13"/>
                  <a:pt x="4" y="13"/>
                </a:cubicBezTo>
                <a:cubicBezTo>
                  <a:pt x="4" y="13"/>
                  <a:pt x="4" y="13"/>
                  <a:pt x="4" y="13"/>
                </a:cubicBezTo>
                <a:cubicBezTo>
                  <a:pt x="5" y="13"/>
                  <a:pt x="5" y="13"/>
                  <a:pt x="5" y="13"/>
                </a:cubicBezTo>
                <a:cubicBezTo>
                  <a:pt x="5" y="13"/>
                  <a:pt x="5" y="13"/>
                  <a:pt x="5" y="13"/>
                </a:cubicBezTo>
                <a:cubicBezTo>
                  <a:pt x="5" y="13"/>
                  <a:pt x="6" y="13"/>
                  <a:pt x="7" y="13"/>
                </a:cubicBezTo>
                <a:cubicBezTo>
                  <a:pt x="7" y="13"/>
                  <a:pt x="7" y="13"/>
                  <a:pt x="7" y="13"/>
                </a:cubicBezTo>
                <a:cubicBezTo>
                  <a:pt x="7" y="13"/>
                  <a:pt x="8" y="13"/>
                  <a:pt x="8" y="13"/>
                </a:cubicBezTo>
                <a:cubicBezTo>
                  <a:pt x="8" y="13"/>
                  <a:pt x="8" y="13"/>
                  <a:pt x="8" y="13"/>
                </a:cubicBezTo>
                <a:cubicBezTo>
                  <a:pt x="8" y="13"/>
                  <a:pt x="8" y="13"/>
                  <a:pt x="9" y="13"/>
                </a:cubicBezTo>
                <a:cubicBezTo>
                  <a:pt x="11" y="12"/>
                  <a:pt x="11" y="10"/>
                  <a:pt x="12" y="11"/>
                </a:cubicBezTo>
                <a:cubicBezTo>
                  <a:pt x="13" y="11"/>
                  <a:pt x="18" y="9"/>
                  <a:pt x="18" y="8"/>
                </a:cubicBezTo>
                <a:cubicBezTo>
                  <a:pt x="18" y="8"/>
                  <a:pt x="18" y="8"/>
                  <a:pt x="18" y="7"/>
                </a:cubicBezTo>
                <a:cubicBezTo>
                  <a:pt x="19" y="7"/>
                  <a:pt x="17" y="6"/>
                  <a:pt x="17" y="6"/>
                </a:cubicBezTo>
                <a:cubicBezTo>
                  <a:pt x="17" y="5"/>
                  <a:pt x="14" y="2"/>
                  <a:pt x="13" y="1"/>
                </a:cubicBezTo>
                <a:cubicBezTo>
                  <a:pt x="13" y="1"/>
                  <a:pt x="13" y="1"/>
                  <a:pt x="13" y="1"/>
                </a:cubicBezTo>
                <a:cubicBezTo>
                  <a:pt x="13" y="1"/>
                  <a:pt x="13" y="1"/>
                  <a:pt x="13" y="1"/>
                </a:cubicBezTo>
                <a:cubicBezTo>
                  <a:pt x="13" y="0"/>
                  <a:pt x="13" y="0"/>
                  <a:pt x="13" y="0"/>
                </a:cubicBezTo>
                <a:cubicBezTo>
                  <a:pt x="8" y="1"/>
                  <a:pt x="1" y="2"/>
                  <a:pt x="1" y="2"/>
                </a:cubicBezTo>
                <a:cubicBezTo>
                  <a:pt x="1" y="2"/>
                  <a:pt x="1" y="2"/>
                  <a:pt x="1" y="2"/>
                </a:cubicBezTo>
                <a:cubicBezTo>
                  <a:pt x="0" y="4"/>
                  <a:pt x="0" y="7"/>
                  <a:pt x="0" y="9"/>
                </a:cubicBezTo>
                <a:cubicBezTo>
                  <a:pt x="1" y="10"/>
                  <a:pt x="2" y="12"/>
                  <a:pt x="4" y="1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0" name="Freeform 86"/>
          <p:cNvSpPr/>
          <p:nvPr/>
        </p:nvSpPr>
        <p:spPr bwMode="auto">
          <a:xfrm>
            <a:off x="4649267" y="2002285"/>
            <a:ext cx="349250" cy="201613"/>
          </a:xfrm>
          <a:custGeom>
            <a:avLst/>
            <a:gdLst>
              <a:gd name="T0" fmla="*/ 114 w 123"/>
              <a:gd name="T1" fmla="*/ 41 h 71"/>
              <a:gd name="T2" fmla="*/ 121 w 123"/>
              <a:gd name="T3" fmla="*/ 37 h 71"/>
              <a:gd name="T4" fmla="*/ 122 w 123"/>
              <a:gd name="T5" fmla="*/ 32 h 71"/>
              <a:gd name="T6" fmla="*/ 122 w 123"/>
              <a:gd name="T7" fmla="*/ 27 h 71"/>
              <a:gd name="T8" fmla="*/ 113 w 123"/>
              <a:gd name="T9" fmla="*/ 23 h 71"/>
              <a:gd name="T10" fmla="*/ 104 w 123"/>
              <a:gd name="T11" fmla="*/ 19 h 71"/>
              <a:gd name="T12" fmla="*/ 97 w 123"/>
              <a:gd name="T13" fmla="*/ 20 h 71"/>
              <a:gd name="T14" fmla="*/ 91 w 123"/>
              <a:gd name="T15" fmla="*/ 17 h 71"/>
              <a:gd name="T16" fmla="*/ 83 w 123"/>
              <a:gd name="T17" fmla="*/ 10 h 71"/>
              <a:gd name="T18" fmla="*/ 80 w 123"/>
              <a:gd name="T19" fmla="*/ 1 h 71"/>
              <a:gd name="T20" fmla="*/ 70 w 123"/>
              <a:gd name="T21" fmla="*/ 1 h 71"/>
              <a:gd name="T22" fmla="*/ 65 w 123"/>
              <a:gd name="T23" fmla="*/ 1 h 71"/>
              <a:gd name="T24" fmla="*/ 56 w 123"/>
              <a:gd name="T25" fmla="*/ 7 h 71"/>
              <a:gd name="T26" fmla="*/ 49 w 123"/>
              <a:gd name="T27" fmla="*/ 9 h 71"/>
              <a:gd name="T28" fmla="*/ 40 w 123"/>
              <a:gd name="T29" fmla="*/ 7 h 71"/>
              <a:gd name="T30" fmla="*/ 29 w 123"/>
              <a:gd name="T31" fmla="*/ 5 h 71"/>
              <a:gd name="T32" fmla="*/ 13 w 123"/>
              <a:gd name="T33" fmla="*/ 6 h 71"/>
              <a:gd name="T34" fmla="*/ 9 w 123"/>
              <a:gd name="T35" fmla="*/ 10 h 71"/>
              <a:gd name="T36" fmla="*/ 9 w 123"/>
              <a:gd name="T37" fmla="*/ 19 h 71"/>
              <a:gd name="T38" fmla="*/ 3 w 123"/>
              <a:gd name="T39" fmla="*/ 30 h 71"/>
              <a:gd name="T40" fmla="*/ 3 w 123"/>
              <a:gd name="T41" fmla="*/ 38 h 71"/>
              <a:gd name="T42" fmla="*/ 7 w 123"/>
              <a:gd name="T43" fmla="*/ 39 h 71"/>
              <a:gd name="T44" fmla="*/ 18 w 123"/>
              <a:gd name="T45" fmla="*/ 41 h 71"/>
              <a:gd name="T46" fmla="*/ 24 w 123"/>
              <a:gd name="T47" fmla="*/ 40 h 71"/>
              <a:gd name="T48" fmla="*/ 36 w 123"/>
              <a:gd name="T49" fmla="*/ 35 h 71"/>
              <a:gd name="T50" fmla="*/ 47 w 123"/>
              <a:gd name="T51" fmla="*/ 42 h 71"/>
              <a:gd name="T52" fmla="*/ 53 w 123"/>
              <a:gd name="T53" fmla="*/ 53 h 71"/>
              <a:gd name="T54" fmla="*/ 45 w 123"/>
              <a:gd name="T55" fmla="*/ 56 h 71"/>
              <a:gd name="T56" fmla="*/ 44 w 123"/>
              <a:gd name="T57" fmla="*/ 64 h 71"/>
              <a:gd name="T58" fmla="*/ 50 w 123"/>
              <a:gd name="T59" fmla="*/ 64 h 71"/>
              <a:gd name="T60" fmla="*/ 59 w 123"/>
              <a:gd name="T61" fmla="*/ 52 h 71"/>
              <a:gd name="T62" fmla="*/ 68 w 123"/>
              <a:gd name="T63" fmla="*/ 55 h 71"/>
              <a:gd name="T64" fmla="*/ 70 w 123"/>
              <a:gd name="T65" fmla="*/ 62 h 71"/>
              <a:gd name="T66" fmla="*/ 77 w 123"/>
              <a:gd name="T67" fmla="*/ 70 h 71"/>
              <a:gd name="T68" fmla="*/ 89 w 123"/>
              <a:gd name="T69" fmla="*/ 66 h 71"/>
              <a:gd name="T70" fmla="*/ 91 w 123"/>
              <a:gd name="T71" fmla="*/ 63 h 71"/>
              <a:gd name="T72" fmla="*/ 95 w 123"/>
              <a:gd name="T73" fmla="*/ 52 h 71"/>
              <a:gd name="T74" fmla="*/ 109 w 123"/>
              <a:gd name="T75" fmla="*/ 4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71">
                <a:moveTo>
                  <a:pt x="109" y="44"/>
                </a:moveTo>
                <a:cubicBezTo>
                  <a:pt x="110" y="44"/>
                  <a:pt x="113" y="41"/>
                  <a:pt x="114" y="41"/>
                </a:cubicBezTo>
                <a:cubicBezTo>
                  <a:pt x="115" y="41"/>
                  <a:pt x="120" y="42"/>
                  <a:pt x="120" y="41"/>
                </a:cubicBezTo>
                <a:cubicBezTo>
                  <a:pt x="120" y="40"/>
                  <a:pt x="122" y="37"/>
                  <a:pt x="121" y="37"/>
                </a:cubicBezTo>
                <a:cubicBezTo>
                  <a:pt x="121" y="36"/>
                  <a:pt x="119" y="35"/>
                  <a:pt x="120" y="34"/>
                </a:cubicBezTo>
                <a:cubicBezTo>
                  <a:pt x="120" y="33"/>
                  <a:pt x="122" y="33"/>
                  <a:pt x="122" y="32"/>
                </a:cubicBezTo>
                <a:cubicBezTo>
                  <a:pt x="122" y="31"/>
                  <a:pt x="120" y="31"/>
                  <a:pt x="120" y="30"/>
                </a:cubicBezTo>
                <a:cubicBezTo>
                  <a:pt x="120" y="30"/>
                  <a:pt x="123" y="29"/>
                  <a:pt x="122" y="27"/>
                </a:cubicBezTo>
                <a:cubicBezTo>
                  <a:pt x="122" y="26"/>
                  <a:pt x="120" y="26"/>
                  <a:pt x="119" y="25"/>
                </a:cubicBezTo>
                <a:cubicBezTo>
                  <a:pt x="117" y="24"/>
                  <a:pt x="115" y="24"/>
                  <a:pt x="113" y="23"/>
                </a:cubicBezTo>
                <a:cubicBezTo>
                  <a:pt x="111" y="23"/>
                  <a:pt x="107" y="23"/>
                  <a:pt x="107" y="23"/>
                </a:cubicBezTo>
                <a:cubicBezTo>
                  <a:pt x="107" y="22"/>
                  <a:pt x="105" y="20"/>
                  <a:pt x="104" y="19"/>
                </a:cubicBezTo>
                <a:cubicBezTo>
                  <a:pt x="103" y="18"/>
                  <a:pt x="101" y="18"/>
                  <a:pt x="100" y="19"/>
                </a:cubicBezTo>
                <a:cubicBezTo>
                  <a:pt x="99" y="20"/>
                  <a:pt x="98" y="20"/>
                  <a:pt x="97" y="20"/>
                </a:cubicBezTo>
                <a:cubicBezTo>
                  <a:pt x="95" y="19"/>
                  <a:pt x="94" y="18"/>
                  <a:pt x="93" y="18"/>
                </a:cubicBezTo>
                <a:cubicBezTo>
                  <a:pt x="92" y="18"/>
                  <a:pt x="90" y="18"/>
                  <a:pt x="91" y="17"/>
                </a:cubicBezTo>
                <a:cubicBezTo>
                  <a:pt x="91" y="15"/>
                  <a:pt x="89" y="12"/>
                  <a:pt x="88" y="11"/>
                </a:cubicBezTo>
                <a:cubicBezTo>
                  <a:pt x="87" y="11"/>
                  <a:pt x="83" y="12"/>
                  <a:pt x="83" y="10"/>
                </a:cubicBezTo>
                <a:cubicBezTo>
                  <a:pt x="82" y="9"/>
                  <a:pt x="80" y="7"/>
                  <a:pt x="81" y="6"/>
                </a:cubicBezTo>
                <a:cubicBezTo>
                  <a:pt x="82" y="5"/>
                  <a:pt x="81" y="2"/>
                  <a:pt x="80" y="1"/>
                </a:cubicBezTo>
                <a:cubicBezTo>
                  <a:pt x="79" y="0"/>
                  <a:pt x="76" y="0"/>
                  <a:pt x="75" y="0"/>
                </a:cubicBezTo>
                <a:cubicBezTo>
                  <a:pt x="73" y="1"/>
                  <a:pt x="71" y="0"/>
                  <a:pt x="70" y="1"/>
                </a:cubicBezTo>
                <a:cubicBezTo>
                  <a:pt x="69" y="1"/>
                  <a:pt x="68" y="2"/>
                  <a:pt x="67" y="2"/>
                </a:cubicBezTo>
                <a:cubicBezTo>
                  <a:pt x="66" y="2"/>
                  <a:pt x="65" y="2"/>
                  <a:pt x="65" y="1"/>
                </a:cubicBezTo>
                <a:cubicBezTo>
                  <a:pt x="63" y="2"/>
                  <a:pt x="60" y="2"/>
                  <a:pt x="60" y="2"/>
                </a:cubicBezTo>
                <a:cubicBezTo>
                  <a:pt x="60" y="2"/>
                  <a:pt x="56" y="6"/>
                  <a:pt x="56" y="7"/>
                </a:cubicBezTo>
                <a:cubicBezTo>
                  <a:pt x="56" y="8"/>
                  <a:pt x="56" y="10"/>
                  <a:pt x="55" y="9"/>
                </a:cubicBezTo>
                <a:cubicBezTo>
                  <a:pt x="54" y="8"/>
                  <a:pt x="50" y="8"/>
                  <a:pt x="49" y="9"/>
                </a:cubicBezTo>
                <a:cubicBezTo>
                  <a:pt x="48" y="9"/>
                  <a:pt x="46" y="6"/>
                  <a:pt x="44" y="7"/>
                </a:cubicBezTo>
                <a:cubicBezTo>
                  <a:pt x="43" y="8"/>
                  <a:pt x="40" y="6"/>
                  <a:pt x="40" y="7"/>
                </a:cubicBezTo>
                <a:cubicBezTo>
                  <a:pt x="40" y="8"/>
                  <a:pt x="37" y="7"/>
                  <a:pt x="35" y="6"/>
                </a:cubicBezTo>
                <a:cubicBezTo>
                  <a:pt x="33" y="5"/>
                  <a:pt x="30" y="7"/>
                  <a:pt x="29" y="5"/>
                </a:cubicBezTo>
                <a:cubicBezTo>
                  <a:pt x="28" y="4"/>
                  <a:pt x="20" y="4"/>
                  <a:pt x="17" y="4"/>
                </a:cubicBezTo>
                <a:cubicBezTo>
                  <a:pt x="14" y="4"/>
                  <a:pt x="14" y="5"/>
                  <a:pt x="13" y="6"/>
                </a:cubicBezTo>
                <a:cubicBezTo>
                  <a:pt x="11" y="8"/>
                  <a:pt x="10" y="7"/>
                  <a:pt x="9" y="7"/>
                </a:cubicBezTo>
                <a:cubicBezTo>
                  <a:pt x="9" y="8"/>
                  <a:pt x="9" y="9"/>
                  <a:pt x="9" y="10"/>
                </a:cubicBezTo>
                <a:cubicBezTo>
                  <a:pt x="10" y="10"/>
                  <a:pt x="13" y="15"/>
                  <a:pt x="12" y="16"/>
                </a:cubicBezTo>
                <a:cubicBezTo>
                  <a:pt x="11" y="18"/>
                  <a:pt x="10" y="18"/>
                  <a:pt x="9" y="19"/>
                </a:cubicBezTo>
                <a:cubicBezTo>
                  <a:pt x="8" y="20"/>
                  <a:pt x="3" y="25"/>
                  <a:pt x="3" y="25"/>
                </a:cubicBezTo>
                <a:cubicBezTo>
                  <a:pt x="3" y="26"/>
                  <a:pt x="4" y="29"/>
                  <a:pt x="3" y="30"/>
                </a:cubicBezTo>
                <a:cubicBezTo>
                  <a:pt x="2" y="31"/>
                  <a:pt x="0" y="34"/>
                  <a:pt x="0" y="35"/>
                </a:cubicBezTo>
                <a:cubicBezTo>
                  <a:pt x="0" y="36"/>
                  <a:pt x="2" y="38"/>
                  <a:pt x="3" y="38"/>
                </a:cubicBezTo>
                <a:cubicBezTo>
                  <a:pt x="4" y="39"/>
                  <a:pt x="4" y="39"/>
                  <a:pt x="4" y="39"/>
                </a:cubicBezTo>
                <a:cubicBezTo>
                  <a:pt x="5" y="39"/>
                  <a:pt x="6" y="39"/>
                  <a:pt x="7" y="39"/>
                </a:cubicBezTo>
                <a:cubicBezTo>
                  <a:pt x="8" y="39"/>
                  <a:pt x="12" y="40"/>
                  <a:pt x="14" y="40"/>
                </a:cubicBezTo>
                <a:cubicBezTo>
                  <a:pt x="15" y="40"/>
                  <a:pt x="17" y="41"/>
                  <a:pt x="18" y="41"/>
                </a:cubicBezTo>
                <a:cubicBezTo>
                  <a:pt x="18" y="42"/>
                  <a:pt x="20" y="42"/>
                  <a:pt x="21" y="41"/>
                </a:cubicBezTo>
                <a:cubicBezTo>
                  <a:pt x="22" y="40"/>
                  <a:pt x="23" y="40"/>
                  <a:pt x="24" y="40"/>
                </a:cubicBezTo>
                <a:cubicBezTo>
                  <a:pt x="25" y="40"/>
                  <a:pt x="27" y="39"/>
                  <a:pt x="28" y="38"/>
                </a:cubicBezTo>
                <a:cubicBezTo>
                  <a:pt x="29" y="37"/>
                  <a:pt x="35" y="36"/>
                  <a:pt x="36" y="35"/>
                </a:cubicBezTo>
                <a:cubicBezTo>
                  <a:pt x="38" y="35"/>
                  <a:pt x="40" y="38"/>
                  <a:pt x="42" y="38"/>
                </a:cubicBezTo>
                <a:cubicBezTo>
                  <a:pt x="43" y="38"/>
                  <a:pt x="46" y="39"/>
                  <a:pt x="47" y="42"/>
                </a:cubicBezTo>
                <a:cubicBezTo>
                  <a:pt x="48" y="45"/>
                  <a:pt x="50" y="48"/>
                  <a:pt x="51" y="49"/>
                </a:cubicBezTo>
                <a:cubicBezTo>
                  <a:pt x="52" y="50"/>
                  <a:pt x="53" y="53"/>
                  <a:pt x="53" y="53"/>
                </a:cubicBezTo>
                <a:cubicBezTo>
                  <a:pt x="53" y="54"/>
                  <a:pt x="50" y="53"/>
                  <a:pt x="48" y="53"/>
                </a:cubicBezTo>
                <a:cubicBezTo>
                  <a:pt x="46" y="52"/>
                  <a:pt x="45" y="54"/>
                  <a:pt x="45" y="56"/>
                </a:cubicBezTo>
                <a:cubicBezTo>
                  <a:pt x="45" y="57"/>
                  <a:pt x="42" y="61"/>
                  <a:pt x="41" y="62"/>
                </a:cubicBezTo>
                <a:cubicBezTo>
                  <a:pt x="41" y="63"/>
                  <a:pt x="43" y="63"/>
                  <a:pt x="44" y="64"/>
                </a:cubicBezTo>
                <a:cubicBezTo>
                  <a:pt x="45" y="64"/>
                  <a:pt x="47" y="62"/>
                  <a:pt x="48" y="62"/>
                </a:cubicBezTo>
                <a:cubicBezTo>
                  <a:pt x="48" y="62"/>
                  <a:pt x="49" y="63"/>
                  <a:pt x="50" y="64"/>
                </a:cubicBezTo>
                <a:cubicBezTo>
                  <a:pt x="50" y="61"/>
                  <a:pt x="51" y="61"/>
                  <a:pt x="54" y="59"/>
                </a:cubicBezTo>
                <a:cubicBezTo>
                  <a:pt x="56" y="56"/>
                  <a:pt x="57" y="52"/>
                  <a:pt x="59" y="52"/>
                </a:cubicBezTo>
                <a:cubicBezTo>
                  <a:pt x="62" y="51"/>
                  <a:pt x="63" y="50"/>
                  <a:pt x="67" y="51"/>
                </a:cubicBezTo>
                <a:cubicBezTo>
                  <a:pt x="71" y="51"/>
                  <a:pt x="65" y="54"/>
                  <a:pt x="68" y="55"/>
                </a:cubicBezTo>
                <a:cubicBezTo>
                  <a:pt x="70" y="56"/>
                  <a:pt x="79" y="55"/>
                  <a:pt x="79" y="57"/>
                </a:cubicBezTo>
                <a:cubicBezTo>
                  <a:pt x="79" y="59"/>
                  <a:pt x="70" y="61"/>
                  <a:pt x="70" y="62"/>
                </a:cubicBezTo>
                <a:cubicBezTo>
                  <a:pt x="70" y="63"/>
                  <a:pt x="75" y="64"/>
                  <a:pt x="77" y="65"/>
                </a:cubicBezTo>
                <a:cubicBezTo>
                  <a:pt x="78" y="66"/>
                  <a:pt x="76" y="69"/>
                  <a:pt x="77" y="70"/>
                </a:cubicBezTo>
                <a:cubicBezTo>
                  <a:pt x="78" y="71"/>
                  <a:pt x="80" y="70"/>
                  <a:pt x="83" y="69"/>
                </a:cubicBezTo>
                <a:cubicBezTo>
                  <a:pt x="85" y="67"/>
                  <a:pt x="87" y="68"/>
                  <a:pt x="89" y="66"/>
                </a:cubicBezTo>
                <a:cubicBezTo>
                  <a:pt x="92" y="64"/>
                  <a:pt x="98" y="66"/>
                  <a:pt x="98" y="65"/>
                </a:cubicBezTo>
                <a:cubicBezTo>
                  <a:pt x="99" y="64"/>
                  <a:pt x="97" y="62"/>
                  <a:pt x="91" y="63"/>
                </a:cubicBezTo>
                <a:cubicBezTo>
                  <a:pt x="86" y="63"/>
                  <a:pt x="86" y="58"/>
                  <a:pt x="86" y="57"/>
                </a:cubicBezTo>
                <a:cubicBezTo>
                  <a:pt x="86" y="56"/>
                  <a:pt x="91" y="52"/>
                  <a:pt x="95" y="52"/>
                </a:cubicBezTo>
                <a:cubicBezTo>
                  <a:pt x="98" y="51"/>
                  <a:pt x="100" y="51"/>
                  <a:pt x="103" y="49"/>
                </a:cubicBezTo>
                <a:cubicBezTo>
                  <a:pt x="105" y="49"/>
                  <a:pt x="107" y="48"/>
                  <a:pt x="109" y="48"/>
                </a:cubicBezTo>
                <a:cubicBezTo>
                  <a:pt x="109" y="46"/>
                  <a:pt x="108" y="44"/>
                  <a:pt x="109" y="4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1" name="Freeform 87"/>
          <p:cNvSpPr/>
          <p:nvPr/>
        </p:nvSpPr>
        <p:spPr bwMode="auto">
          <a:xfrm>
            <a:off x="4668317" y="1897510"/>
            <a:ext cx="182563" cy="133350"/>
          </a:xfrm>
          <a:custGeom>
            <a:avLst/>
            <a:gdLst>
              <a:gd name="T0" fmla="*/ 60 w 64"/>
              <a:gd name="T1" fmla="*/ 23 h 47"/>
              <a:gd name="T2" fmla="*/ 56 w 64"/>
              <a:gd name="T3" fmla="*/ 19 h 47"/>
              <a:gd name="T4" fmla="*/ 53 w 64"/>
              <a:gd name="T5" fmla="*/ 15 h 47"/>
              <a:gd name="T6" fmla="*/ 52 w 64"/>
              <a:gd name="T7" fmla="*/ 10 h 47"/>
              <a:gd name="T8" fmla="*/ 52 w 64"/>
              <a:gd name="T9" fmla="*/ 6 h 47"/>
              <a:gd name="T10" fmla="*/ 45 w 64"/>
              <a:gd name="T11" fmla="*/ 4 h 47"/>
              <a:gd name="T12" fmla="*/ 42 w 64"/>
              <a:gd name="T13" fmla="*/ 4 h 47"/>
              <a:gd name="T14" fmla="*/ 38 w 64"/>
              <a:gd name="T15" fmla="*/ 2 h 47"/>
              <a:gd name="T16" fmla="*/ 35 w 64"/>
              <a:gd name="T17" fmla="*/ 1 h 47"/>
              <a:gd name="T18" fmla="*/ 34 w 64"/>
              <a:gd name="T19" fmla="*/ 0 h 47"/>
              <a:gd name="T20" fmla="*/ 32 w 64"/>
              <a:gd name="T21" fmla="*/ 1 h 47"/>
              <a:gd name="T22" fmla="*/ 29 w 64"/>
              <a:gd name="T23" fmla="*/ 4 h 47"/>
              <a:gd name="T24" fmla="*/ 25 w 64"/>
              <a:gd name="T25" fmla="*/ 4 h 47"/>
              <a:gd name="T26" fmla="*/ 23 w 64"/>
              <a:gd name="T27" fmla="*/ 8 h 47"/>
              <a:gd name="T28" fmla="*/ 22 w 64"/>
              <a:gd name="T29" fmla="*/ 11 h 47"/>
              <a:gd name="T30" fmla="*/ 20 w 64"/>
              <a:gd name="T31" fmla="*/ 12 h 47"/>
              <a:gd name="T32" fmla="*/ 16 w 64"/>
              <a:gd name="T33" fmla="*/ 16 h 47"/>
              <a:gd name="T34" fmla="*/ 15 w 64"/>
              <a:gd name="T35" fmla="*/ 19 h 47"/>
              <a:gd name="T36" fmla="*/ 11 w 64"/>
              <a:gd name="T37" fmla="*/ 20 h 47"/>
              <a:gd name="T38" fmla="*/ 7 w 64"/>
              <a:gd name="T39" fmla="*/ 22 h 47"/>
              <a:gd name="T40" fmla="*/ 2 w 64"/>
              <a:gd name="T41" fmla="*/ 22 h 47"/>
              <a:gd name="T42" fmla="*/ 2 w 64"/>
              <a:gd name="T43" fmla="*/ 22 h 47"/>
              <a:gd name="T44" fmla="*/ 3 w 64"/>
              <a:gd name="T45" fmla="*/ 28 h 47"/>
              <a:gd name="T46" fmla="*/ 4 w 64"/>
              <a:gd name="T47" fmla="*/ 33 h 47"/>
              <a:gd name="T48" fmla="*/ 0 w 64"/>
              <a:gd name="T49" fmla="*/ 37 h 47"/>
              <a:gd name="T50" fmla="*/ 2 w 64"/>
              <a:gd name="T51" fmla="*/ 40 h 47"/>
              <a:gd name="T52" fmla="*/ 2 w 64"/>
              <a:gd name="T53" fmla="*/ 44 h 47"/>
              <a:gd name="T54" fmla="*/ 6 w 64"/>
              <a:gd name="T55" fmla="*/ 43 h 47"/>
              <a:gd name="T56" fmla="*/ 10 w 64"/>
              <a:gd name="T57" fmla="*/ 41 h 47"/>
              <a:gd name="T58" fmla="*/ 22 w 64"/>
              <a:gd name="T59" fmla="*/ 42 h 47"/>
              <a:gd name="T60" fmla="*/ 28 w 64"/>
              <a:gd name="T61" fmla="*/ 43 h 47"/>
              <a:gd name="T62" fmla="*/ 33 w 64"/>
              <a:gd name="T63" fmla="*/ 44 h 47"/>
              <a:gd name="T64" fmla="*/ 37 w 64"/>
              <a:gd name="T65" fmla="*/ 44 h 47"/>
              <a:gd name="T66" fmla="*/ 42 w 64"/>
              <a:gd name="T67" fmla="*/ 46 h 47"/>
              <a:gd name="T68" fmla="*/ 48 w 64"/>
              <a:gd name="T69" fmla="*/ 46 h 47"/>
              <a:gd name="T70" fmla="*/ 49 w 64"/>
              <a:gd name="T71" fmla="*/ 44 h 47"/>
              <a:gd name="T72" fmla="*/ 53 w 64"/>
              <a:gd name="T73" fmla="*/ 39 h 47"/>
              <a:gd name="T74" fmla="*/ 58 w 64"/>
              <a:gd name="T75" fmla="*/ 38 h 47"/>
              <a:gd name="T76" fmla="*/ 57 w 64"/>
              <a:gd name="T77" fmla="*/ 36 h 47"/>
              <a:gd name="T78" fmla="*/ 56 w 64"/>
              <a:gd name="T79" fmla="*/ 29 h 47"/>
              <a:gd name="T80" fmla="*/ 61 w 64"/>
              <a:gd name="T81" fmla="*/ 30 h 47"/>
              <a:gd name="T82" fmla="*/ 64 w 64"/>
              <a:gd name="T83" fmla="*/ 27 h 47"/>
              <a:gd name="T84" fmla="*/ 60 w 64"/>
              <a:gd name="T8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47">
                <a:moveTo>
                  <a:pt x="60" y="23"/>
                </a:moveTo>
                <a:cubicBezTo>
                  <a:pt x="59" y="23"/>
                  <a:pt x="58" y="20"/>
                  <a:pt x="56" y="19"/>
                </a:cubicBezTo>
                <a:cubicBezTo>
                  <a:pt x="54" y="19"/>
                  <a:pt x="55" y="16"/>
                  <a:pt x="53" y="15"/>
                </a:cubicBezTo>
                <a:cubicBezTo>
                  <a:pt x="52" y="14"/>
                  <a:pt x="53" y="12"/>
                  <a:pt x="52" y="10"/>
                </a:cubicBezTo>
                <a:cubicBezTo>
                  <a:pt x="52" y="9"/>
                  <a:pt x="53" y="6"/>
                  <a:pt x="52" y="6"/>
                </a:cubicBezTo>
                <a:cubicBezTo>
                  <a:pt x="51" y="5"/>
                  <a:pt x="47" y="3"/>
                  <a:pt x="45" y="4"/>
                </a:cubicBezTo>
                <a:cubicBezTo>
                  <a:pt x="44" y="4"/>
                  <a:pt x="42" y="5"/>
                  <a:pt x="42" y="4"/>
                </a:cubicBezTo>
                <a:cubicBezTo>
                  <a:pt x="41" y="2"/>
                  <a:pt x="40" y="2"/>
                  <a:pt x="38" y="2"/>
                </a:cubicBezTo>
                <a:cubicBezTo>
                  <a:pt x="37" y="2"/>
                  <a:pt x="35" y="2"/>
                  <a:pt x="35" y="1"/>
                </a:cubicBezTo>
                <a:cubicBezTo>
                  <a:pt x="34" y="1"/>
                  <a:pt x="34" y="1"/>
                  <a:pt x="34" y="0"/>
                </a:cubicBezTo>
                <a:cubicBezTo>
                  <a:pt x="34" y="1"/>
                  <a:pt x="33" y="1"/>
                  <a:pt x="32" y="1"/>
                </a:cubicBezTo>
                <a:cubicBezTo>
                  <a:pt x="31" y="2"/>
                  <a:pt x="31" y="4"/>
                  <a:pt x="29" y="4"/>
                </a:cubicBezTo>
                <a:cubicBezTo>
                  <a:pt x="28" y="4"/>
                  <a:pt x="26" y="3"/>
                  <a:pt x="25" y="4"/>
                </a:cubicBezTo>
                <a:cubicBezTo>
                  <a:pt x="23" y="6"/>
                  <a:pt x="23" y="7"/>
                  <a:pt x="23" y="8"/>
                </a:cubicBezTo>
                <a:cubicBezTo>
                  <a:pt x="23" y="9"/>
                  <a:pt x="23" y="11"/>
                  <a:pt x="22" y="11"/>
                </a:cubicBezTo>
                <a:cubicBezTo>
                  <a:pt x="21" y="11"/>
                  <a:pt x="21" y="12"/>
                  <a:pt x="20" y="12"/>
                </a:cubicBezTo>
                <a:cubicBezTo>
                  <a:pt x="19" y="13"/>
                  <a:pt x="17" y="15"/>
                  <a:pt x="16" y="16"/>
                </a:cubicBezTo>
                <a:cubicBezTo>
                  <a:pt x="16" y="17"/>
                  <a:pt x="16" y="19"/>
                  <a:pt x="15" y="19"/>
                </a:cubicBezTo>
                <a:cubicBezTo>
                  <a:pt x="15" y="19"/>
                  <a:pt x="12" y="19"/>
                  <a:pt x="11" y="20"/>
                </a:cubicBezTo>
                <a:cubicBezTo>
                  <a:pt x="10" y="21"/>
                  <a:pt x="9" y="22"/>
                  <a:pt x="7" y="22"/>
                </a:cubicBezTo>
                <a:cubicBezTo>
                  <a:pt x="7" y="22"/>
                  <a:pt x="4" y="22"/>
                  <a:pt x="2" y="22"/>
                </a:cubicBezTo>
                <a:cubicBezTo>
                  <a:pt x="2" y="22"/>
                  <a:pt x="2" y="22"/>
                  <a:pt x="2" y="22"/>
                </a:cubicBezTo>
                <a:cubicBezTo>
                  <a:pt x="2" y="24"/>
                  <a:pt x="2" y="26"/>
                  <a:pt x="3" y="28"/>
                </a:cubicBezTo>
                <a:cubicBezTo>
                  <a:pt x="5" y="29"/>
                  <a:pt x="5" y="33"/>
                  <a:pt x="4" y="33"/>
                </a:cubicBezTo>
                <a:cubicBezTo>
                  <a:pt x="2" y="34"/>
                  <a:pt x="0" y="36"/>
                  <a:pt x="0" y="37"/>
                </a:cubicBezTo>
                <a:cubicBezTo>
                  <a:pt x="0" y="38"/>
                  <a:pt x="2" y="39"/>
                  <a:pt x="2" y="40"/>
                </a:cubicBezTo>
                <a:cubicBezTo>
                  <a:pt x="2" y="41"/>
                  <a:pt x="2" y="43"/>
                  <a:pt x="2" y="44"/>
                </a:cubicBezTo>
                <a:cubicBezTo>
                  <a:pt x="3" y="44"/>
                  <a:pt x="4" y="45"/>
                  <a:pt x="6" y="43"/>
                </a:cubicBezTo>
                <a:cubicBezTo>
                  <a:pt x="7" y="42"/>
                  <a:pt x="7" y="41"/>
                  <a:pt x="10" y="41"/>
                </a:cubicBezTo>
                <a:cubicBezTo>
                  <a:pt x="13" y="41"/>
                  <a:pt x="21" y="41"/>
                  <a:pt x="22" y="42"/>
                </a:cubicBezTo>
                <a:cubicBezTo>
                  <a:pt x="23" y="44"/>
                  <a:pt x="26" y="42"/>
                  <a:pt x="28" y="43"/>
                </a:cubicBezTo>
                <a:cubicBezTo>
                  <a:pt x="30" y="44"/>
                  <a:pt x="33" y="45"/>
                  <a:pt x="33" y="44"/>
                </a:cubicBezTo>
                <a:cubicBezTo>
                  <a:pt x="33" y="43"/>
                  <a:pt x="36" y="45"/>
                  <a:pt x="37" y="44"/>
                </a:cubicBezTo>
                <a:cubicBezTo>
                  <a:pt x="39" y="43"/>
                  <a:pt x="41" y="46"/>
                  <a:pt x="42" y="46"/>
                </a:cubicBezTo>
                <a:cubicBezTo>
                  <a:pt x="43" y="45"/>
                  <a:pt x="47" y="45"/>
                  <a:pt x="48" y="46"/>
                </a:cubicBezTo>
                <a:cubicBezTo>
                  <a:pt x="49" y="47"/>
                  <a:pt x="49" y="45"/>
                  <a:pt x="49" y="44"/>
                </a:cubicBezTo>
                <a:cubicBezTo>
                  <a:pt x="49" y="43"/>
                  <a:pt x="53" y="39"/>
                  <a:pt x="53" y="39"/>
                </a:cubicBezTo>
                <a:cubicBezTo>
                  <a:pt x="53" y="39"/>
                  <a:pt x="56" y="39"/>
                  <a:pt x="58" y="38"/>
                </a:cubicBezTo>
                <a:cubicBezTo>
                  <a:pt x="57" y="38"/>
                  <a:pt x="57" y="37"/>
                  <a:pt x="57" y="36"/>
                </a:cubicBezTo>
                <a:cubicBezTo>
                  <a:pt x="56" y="32"/>
                  <a:pt x="55" y="30"/>
                  <a:pt x="56" y="29"/>
                </a:cubicBezTo>
                <a:cubicBezTo>
                  <a:pt x="57" y="28"/>
                  <a:pt x="59" y="31"/>
                  <a:pt x="61" y="30"/>
                </a:cubicBezTo>
                <a:cubicBezTo>
                  <a:pt x="62" y="29"/>
                  <a:pt x="64" y="28"/>
                  <a:pt x="64" y="27"/>
                </a:cubicBezTo>
                <a:cubicBezTo>
                  <a:pt x="64" y="25"/>
                  <a:pt x="62" y="24"/>
                  <a:pt x="60" y="2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2" name="Freeform 88"/>
          <p:cNvSpPr/>
          <p:nvPr/>
        </p:nvSpPr>
        <p:spPr bwMode="auto">
          <a:xfrm>
            <a:off x="4620692" y="1845123"/>
            <a:ext cx="144463" cy="69850"/>
          </a:xfrm>
          <a:custGeom>
            <a:avLst/>
            <a:gdLst>
              <a:gd name="T0" fmla="*/ 18 w 51"/>
              <a:gd name="T1" fmla="*/ 17 h 24"/>
              <a:gd name="T2" fmla="*/ 26 w 51"/>
              <a:gd name="T3" fmla="*/ 17 h 24"/>
              <a:gd name="T4" fmla="*/ 30 w 51"/>
              <a:gd name="T5" fmla="*/ 18 h 24"/>
              <a:gd name="T6" fmla="*/ 37 w 51"/>
              <a:gd name="T7" fmla="*/ 22 h 24"/>
              <a:gd name="T8" fmla="*/ 40 w 51"/>
              <a:gd name="T9" fmla="*/ 24 h 24"/>
              <a:gd name="T10" fmla="*/ 42 w 51"/>
              <a:gd name="T11" fmla="*/ 22 h 24"/>
              <a:gd name="T12" fmla="*/ 46 w 51"/>
              <a:gd name="T13" fmla="*/ 22 h 24"/>
              <a:gd name="T14" fmla="*/ 49 w 51"/>
              <a:gd name="T15" fmla="*/ 19 h 24"/>
              <a:gd name="T16" fmla="*/ 51 w 51"/>
              <a:gd name="T17" fmla="*/ 18 h 24"/>
              <a:gd name="T18" fmla="*/ 50 w 51"/>
              <a:gd name="T19" fmla="*/ 14 h 24"/>
              <a:gd name="T20" fmla="*/ 48 w 51"/>
              <a:gd name="T21" fmla="*/ 10 h 24"/>
              <a:gd name="T22" fmla="*/ 47 w 51"/>
              <a:gd name="T23" fmla="*/ 6 h 24"/>
              <a:gd name="T24" fmla="*/ 46 w 51"/>
              <a:gd name="T25" fmla="*/ 5 h 24"/>
              <a:gd name="T26" fmla="*/ 39 w 51"/>
              <a:gd name="T27" fmla="*/ 4 h 24"/>
              <a:gd name="T28" fmla="*/ 32 w 51"/>
              <a:gd name="T29" fmla="*/ 0 h 24"/>
              <a:gd name="T30" fmla="*/ 25 w 51"/>
              <a:gd name="T31" fmla="*/ 0 h 24"/>
              <a:gd name="T32" fmla="*/ 24 w 51"/>
              <a:gd name="T33" fmla="*/ 7 h 24"/>
              <a:gd name="T34" fmla="*/ 19 w 51"/>
              <a:gd name="T35" fmla="*/ 10 h 24"/>
              <a:gd name="T36" fmla="*/ 12 w 51"/>
              <a:gd name="T37" fmla="*/ 3 h 24"/>
              <a:gd name="T38" fmla="*/ 6 w 51"/>
              <a:gd name="T39" fmla="*/ 6 h 24"/>
              <a:gd name="T40" fmla="*/ 3 w 51"/>
              <a:gd name="T41" fmla="*/ 11 h 24"/>
              <a:gd name="T42" fmla="*/ 2 w 51"/>
              <a:gd name="T43" fmla="*/ 18 h 24"/>
              <a:gd name="T44" fmla="*/ 2 w 51"/>
              <a:gd name="T45" fmla="*/ 18 h 24"/>
              <a:gd name="T46" fmla="*/ 8 w 51"/>
              <a:gd name="T47" fmla="*/ 17 h 24"/>
              <a:gd name="T48" fmla="*/ 18 w 51"/>
              <a:gd name="T49"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24">
                <a:moveTo>
                  <a:pt x="18" y="17"/>
                </a:moveTo>
                <a:cubicBezTo>
                  <a:pt x="19" y="17"/>
                  <a:pt x="24" y="18"/>
                  <a:pt x="26" y="17"/>
                </a:cubicBezTo>
                <a:cubicBezTo>
                  <a:pt x="29" y="16"/>
                  <a:pt x="29" y="18"/>
                  <a:pt x="30" y="18"/>
                </a:cubicBezTo>
                <a:cubicBezTo>
                  <a:pt x="32" y="18"/>
                  <a:pt x="35" y="20"/>
                  <a:pt x="37" y="22"/>
                </a:cubicBezTo>
                <a:cubicBezTo>
                  <a:pt x="38" y="22"/>
                  <a:pt x="39" y="23"/>
                  <a:pt x="40" y="24"/>
                </a:cubicBezTo>
                <a:cubicBezTo>
                  <a:pt x="41" y="23"/>
                  <a:pt x="41" y="23"/>
                  <a:pt x="42" y="22"/>
                </a:cubicBezTo>
                <a:cubicBezTo>
                  <a:pt x="43" y="21"/>
                  <a:pt x="45" y="22"/>
                  <a:pt x="46" y="22"/>
                </a:cubicBezTo>
                <a:cubicBezTo>
                  <a:pt x="48" y="22"/>
                  <a:pt x="48" y="20"/>
                  <a:pt x="49" y="19"/>
                </a:cubicBezTo>
                <a:cubicBezTo>
                  <a:pt x="50" y="19"/>
                  <a:pt x="51" y="19"/>
                  <a:pt x="51" y="18"/>
                </a:cubicBezTo>
                <a:cubicBezTo>
                  <a:pt x="51" y="17"/>
                  <a:pt x="51" y="15"/>
                  <a:pt x="50" y="14"/>
                </a:cubicBezTo>
                <a:cubicBezTo>
                  <a:pt x="49" y="13"/>
                  <a:pt x="47" y="11"/>
                  <a:pt x="48" y="10"/>
                </a:cubicBezTo>
                <a:cubicBezTo>
                  <a:pt x="48" y="9"/>
                  <a:pt x="48" y="8"/>
                  <a:pt x="47" y="6"/>
                </a:cubicBezTo>
                <a:cubicBezTo>
                  <a:pt x="46" y="6"/>
                  <a:pt x="46" y="5"/>
                  <a:pt x="46" y="5"/>
                </a:cubicBezTo>
                <a:cubicBezTo>
                  <a:pt x="43" y="4"/>
                  <a:pt x="40" y="4"/>
                  <a:pt x="39" y="4"/>
                </a:cubicBezTo>
                <a:cubicBezTo>
                  <a:pt x="38" y="5"/>
                  <a:pt x="33" y="1"/>
                  <a:pt x="32" y="0"/>
                </a:cubicBezTo>
                <a:cubicBezTo>
                  <a:pt x="32" y="0"/>
                  <a:pt x="28" y="0"/>
                  <a:pt x="25" y="0"/>
                </a:cubicBezTo>
                <a:cubicBezTo>
                  <a:pt x="23" y="2"/>
                  <a:pt x="24" y="4"/>
                  <a:pt x="24" y="7"/>
                </a:cubicBezTo>
                <a:cubicBezTo>
                  <a:pt x="24" y="10"/>
                  <a:pt x="20" y="10"/>
                  <a:pt x="19" y="10"/>
                </a:cubicBezTo>
                <a:cubicBezTo>
                  <a:pt x="17" y="10"/>
                  <a:pt x="13" y="4"/>
                  <a:pt x="12" y="3"/>
                </a:cubicBezTo>
                <a:cubicBezTo>
                  <a:pt x="11" y="1"/>
                  <a:pt x="8" y="4"/>
                  <a:pt x="6" y="6"/>
                </a:cubicBezTo>
                <a:cubicBezTo>
                  <a:pt x="3" y="7"/>
                  <a:pt x="5" y="10"/>
                  <a:pt x="3" y="11"/>
                </a:cubicBezTo>
                <a:cubicBezTo>
                  <a:pt x="1" y="12"/>
                  <a:pt x="0" y="15"/>
                  <a:pt x="2" y="18"/>
                </a:cubicBezTo>
                <a:cubicBezTo>
                  <a:pt x="2" y="18"/>
                  <a:pt x="2" y="18"/>
                  <a:pt x="2" y="18"/>
                </a:cubicBezTo>
                <a:cubicBezTo>
                  <a:pt x="4" y="18"/>
                  <a:pt x="6" y="18"/>
                  <a:pt x="8" y="17"/>
                </a:cubicBezTo>
                <a:cubicBezTo>
                  <a:pt x="10" y="15"/>
                  <a:pt x="16" y="17"/>
                  <a:pt x="18" y="1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3" name="Freeform 89"/>
          <p:cNvSpPr/>
          <p:nvPr/>
        </p:nvSpPr>
        <p:spPr bwMode="auto">
          <a:xfrm>
            <a:off x="4620692" y="1887985"/>
            <a:ext cx="112713" cy="71438"/>
          </a:xfrm>
          <a:custGeom>
            <a:avLst/>
            <a:gdLst>
              <a:gd name="T0" fmla="*/ 6 w 40"/>
              <a:gd name="T1" fmla="*/ 13 h 25"/>
              <a:gd name="T2" fmla="*/ 10 w 40"/>
              <a:gd name="T3" fmla="*/ 14 h 25"/>
              <a:gd name="T4" fmla="*/ 14 w 40"/>
              <a:gd name="T5" fmla="*/ 17 h 25"/>
              <a:gd name="T6" fmla="*/ 14 w 40"/>
              <a:gd name="T7" fmla="*/ 21 h 25"/>
              <a:gd name="T8" fmla="*/ 19 w 40"/>
              <a:gd name="T9" fmla="*/ 25 h 25"/>
              <a:gd name="T10" fmla="*/ 24 w 40"/>
              <a:gd name="T11" fmla="*/ 25 h 25"/>
              <a:gd name="T12" fmla="*/ 28 w 40"/>
              <a:gd name="T13" fmla="*/ 23 h 25"/>
              <a:gd name="T14" fmla="*/ 32 w 40"/>
              <a:gd name="T15" fmla="*/ 22 h 25"/>
              <a:gd name="T16" fmla="*/ 33 w 40"/>
              <a:gd name="T17" fmla="*/ 19 h 25"/>
              <a:gd name="T18" fmla="*/ 37 w 40"/>
              <a:gd name="T19" fmla="*/ 15 h 25"/>
              <a:gd name="T20" fmla="*/ 39 w 40"/>
              <a:gd name="T21" fmla="*/ 14 h 25"/>
              <a:gd name="T22" fmla="*/ 40 w 40"/>
              <a:gd name="T23" fmla="*/ 11 h 25"/>
              <a:gd name="T24" fmla="*/ 40 w 40"/>
              <a:gd name="T25" fmla="*/ 9 h 25"/>
              <a:gd name="T26" fmla="*/ 37 w 40"/>
              <a:gd name="T27" fmla="*/ 7 h 25"/>
              <a:gd name="T28" fmla="*/ 30 w 40"/>
              <a:gd name="T29" fmla="*/ 3 h 25"/>
              <a:gd name="T30" fmla="*/ 26 w 40"/>
              <a:gd name="T31" fmla="*/ 2 h 25"/>
              <a:gd name="T32" fmla="*/ 18 w 40"/>
              <a:gd name="T33" fmla="*/ 2 h 25"/>
              <a:gd name="T34" fmla="*/ 8 w 40"/>
              <a:gd name="T35" fmla="*/ 2 h 25"/>
              <a:gd name="T36" fmla="*/ 2 w 40"/>
              <a:gd name="T37" fmla="*/ 3 h 25"/>
              <a:gd name="T38" fmla="*/ 2 w 40"/>
              <a:gd name="T39" fmla="*/ 11 h 25"/>
              <a:gd name="T40" fmla="*/ 2 w 40"/>
              <a:gd name="T41" fmla="*/ 12 h 25"/>
              <a:gd name="T42" fmla="*/ 6 w 40"/>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25">
                <a:moveTo>
                  <a:pt x="6" y="13"/>
                </a:moveTo>
                <a:cubicBezTo>
                  <a:pt x="7" y="14"/>
                  <a:pt x="9" y="15"/>
                  <a:pt x="10" y="14"/>
                </a:cubicBezTo>
                <a:cubicBezTo>
                  <a:pt x="11" y="14"/>
                  <a:pt x="14" y="15"/>
                  <a:pt x="14" y="17"/>
                </a:cubicBezTo>
                <a:cubicBezTo>
                  <a:pt x="14" y="18"/>
                  <a:pt x="13" y="21"/>
                  <a:pt x="14" y="21"/>
                </a:cubicBezTo>
                <a:cubicBezTo>
                  <a:pt x="15" y="21"/>
                  <a:pt x="19" y="23"/>
                  <a:pt x="19" y="25"/>
                </a:cubicBezTo>
                <a:cubicBezTo>
                  <a:pt x="21" y="25"/>
                  <a:pt x="24" y="25"/>
                  <a:pt x="24" y="25"/>
                </a:cubicBezTo>
                <a:cubicBezTo>
                  <a:pt x="26" y="25"/>
                  <a:pt x="27" y="24"/>
                  <a:pt x="28" y="23"/>
                </a:cubicBezTo>
                <a:cubicBezTo>
                  <a:pt x="29" y="22"/>
                  <a:pt x="32" y="22"/>
                  <a:pt x="32" y="22"/>
                </a:cubicBezTo>
                <a:cubicBezTo>
                  <a:pt x="33" y="22"/>
                  <a:pt x="33" y="20"/>
                  <a:pt x="33" y="19"/>
                </a:cubicBezTo>
                <a:cubicBezTo>
                  <a:pt x="34" y="18"/>
                  <a:pt x="36" y="16"/>
                  <a:pt x="37" y="15"/>
                </a:cubicBezTo>
                <a:cubicBezTo>
                  <a:pt x="38" y="15"/>
                  <a:pt x="38" y="14"/>
                  <a:pt x="39" y="14"/>
                </a:cubicBezTo>
                <a:cubicBezTo>
                  <a:pt x="40" y="14"/>
                  <a:pt x="40" y="12"/>
                  <a:pt x="40" y="11"/>
                </a:cubicBezTo>
                <a:cubicBezTo>
                  <a:pt x="40" y="10"/>
                  <a:pt x="40" y="10"/>
                  <a:pt x="40" y="9"/>
                </a:cubicBezTo>
                <a:cubicBezTo>
                  <a:pt x="39" y="8"/>
                  <a:pt x="38" y="7"/>
                  <a:pt x="37" y="7"/>
                </a:cubicBezTo>
                <a:cubicBezTo>
                  <a:pt x="35" y="5"/>
                  <a:pt x="32" y="3"/>
                  <a:pt x="30" y="3"/>
                </a:cubicBezTo>
                <a:cubicBezTo>
                  <a:pt x="29" y="3"/>
                  <a:pt x="29" y="1"/>
                  <a:pt x="26" y="2"/>
                </a:cubicBezTo>
                <a:cubicBezTo>
                  <a:pt x="24" y="3"/>
                  <a:pt x="19" y="2"/>
                  <a:pt x="18" y="2"/>
                </a:cubicBezTo>
                <a:cubicBezTo>
                  <a:pt x="16" y="2"/>
                  <a:pt x="10" y="0"/>
                  <a:pt x="8" y="2"/>
                </a:cubicBezTo>
                <a:cubicBezTo>
                  <a:pt x="6" y="3"/>
                  <a:pt x="4" y="3"/>
                  <a:pt x="2" y="3"/>
                </a:cubicBezTo>
                <a:cubicBezTo>
                  <a:pt x="4" y="6"/>
                  <a:pt x="3" y="9"/>
                  <a:pt x="2" y="11"/>
                </a:cubicBezTo>
                <a:cubicBezTo>
                  <a:pt x="0" y="12"/>
                  <a:pt x="1" y="12"/>
                  <a:pt x="2" y="12"/>
                </a:cubicBezTo>
                <a:cubicBezTo>
                  <a:pt x="4" y="12"/>
                  <a:pt x="5" y="12"/>
                  <a:pt x="6" y="1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4" name="Freeform 90"/>
          <p:cNvSpPr/>
          <p:nvPr/>
        </p:nvSpPr>
        <p:spPr bwMode="auto">
          <a:xfrm>
            <a:off x="4341292" y="2124523"/>
            <a:ext cx="87313" cy="49213"/>
          </a:xfrm>
          <a:custGeom>
            <a:avLst/>
            <a:gdLst>
              <a:gd name="T0" fmla="*/ 28 w 31"/>
              <a:gd name="T1" fmla="*/ 7 h 17"/>
              <a:gd name="T2" fmla="*/ 24 w 31"/>
              <a:gd name="T3" fmla="*/ 5 h 17"/>
              <a:gd name="T4" fmla="*/ 24 w 31"/>
              <a:gd name="T5" fmla="*/ 2 h 17"/>
              <a:gd name="T6" fmla="*/ 20 w 31"/>
              <a:gd name="T7" fmla="*/ 0 h 17"/>
              <a:gd name="T8" fmla="*/ 16 w 31"/>
              <a:gd name="T9" fmla="*/ 0 h 17"/>
              <a:gd name="T10" fmla="*/ 10 w 31"/>
              <a:gd name="T11" fmla="*/ 1 h 17"/>
              <a:gd name="T12" fmla="*/ 9 w 31"/>
              <a:gd name="T13" fmla="*/ 2 h 17"/>
              <a:gd name="T14" fmla="*/ 5 w 31"/>
              <a:gd name="T15" fmla="*/ 5 h 17"/>
              <a:gd name="T16" fmla="*/ 1 w 31"/>
              <a:gd name="T17" fmla="*/ 10 h 17"/>
              <a:gd name="T18" fmla="*/ 2 w 31"/>
              <a:gd name="T19" fmla="*/ 12 h 17"/>
              <a:gd name="T20" fmla="*/ 5 w 31"/>
              <a:gd name="T21" fmla="*/ 13 h 17"/>
              <a:gd name="T22" fmla="*/ 6 w 31"/>
              <a:gd name="T23" fmla="*/ 16 h 17"/>
              <a:gd name="T24" fmla="*/ 6 w 31"/>
              <a:gd name="T25" fmla="*/ 16 h 17"/>
              <a:gd name="T26" fmla="*/ 12 w 31"/>
              <a:gd name="T27" fmla="*/ 16 h 17"/>
              <a:gd name="T28" fmla="*/ 15 w 31"/>
              <a:gd name="T29" fmla="*/ 11 h 17"/>
              <a:gd name="T30" fmla="*/ 19 w 31"/>
              <a:gd name="T31" fmla="*/ 16 h 17"/>
              <a:gd name="T32" fmla="*/ 21 w 31"/>
              <a:gd name="T33" fmla="*/ 13 h 17"/>
              <a:gd name="T34" fmla="*/ 23 w 31"/>
              <a:gd name="T35" fmla="*/ 12 h 17"/>
              <a:gd name="T36" fmla="*/ 27 w 31"/>
              <a:gd name="T37" fmla="*/ 11 h 17"/>
              <a:gd name="T38" fmla="*/ 29 w 31"/>
              <a:gd name="T39" fmla="*/ 10 h 17"/>
              <a:gd name="T40" fmla="*/ 30 w 31"/>
              <a:gd name="T41" fmla="*/ 8 h 17"/>
              <a:gd name="T42" fmla="*/ 31 w 31"/>
              <a:gd name="T43" fmla="*/ 7 h 17"/>
              <a:gd name="T44" fmla="*/ 28 w 31"/>
              <a:gd name="T45"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17">
                <a:moveTo>
                  <a:pt x="28" y="7"/>
                </a:moveTo>
                <a:cubicBezTo>
                  <a:pt x="26" y="7"/>
                  <a:pt x="24" y="6"/>
                  <a:pt x="24" y="5"/>
                </a:cubicBezTo>
                <a:cubicBezTo>
                  <a:pt x="24" y="4"/>
                  <a:pt x="24" y="3"/>
                  <a:pt x="24" y="2"/>
                </a:cubicBezTo>
                <a:cubicBezTo>
                  <a:pt x="23" y="1"/>
                  <a:pt x="21" y="1"/>
                  <a:pt x="20" y="0"/>
                </a:cubicBezTo>
                <a:cubicBezTo>
                  <a:pt x="18" y="0"/>
                  <a:pt x="17" y="0"/>
                  <a:pt x="16" y="0"/>
                </a:cubicBezTo>
                <a:cubicBezTo>
                  <a:pt x="15" y="1"/>
                  <a:pt x="12" y="1"/>
                  <a:pt x="10" y="1"/>
                </a:cubicBezTo>
                <a:cubicBezTo>
                  <a:pt x="10" y="1"/>
                  <a:pt x="9" y="2"/>
                  <a:pt x="9" y="2"/>
                </a:cubicBezTo>
                <a:cubicBezTo>
                  <a:pt x="7" y="2"/>
                  <a:pt x="6" y="3"/>
                  <a:pt x="5" y="5"/>
                </a:cubicBezTo>
                <a:cubicBezTo>
                  <a:pt x="5" y="6"/>
                  <a:pt x="2" y="7"/>
                  <a:pt x="1" y="10"/>
                </a:cubicBezTo>
                <a:cubicBezTo>
                  <a:pt x="0" y="13"/>
                  <a:pt x="0" y="14"/>
                  <a:pt x="2" y="12"/>
                </a:cubicBezTo>
                <a:cubicBezTo>
                  <a:pt x="3" y="11"/>
                  <a:pt x="5" y="11"/>
                  <a:pt x="5" y="13"/>
                </a:cubicBezTo>
                <a:cubicBezTo>
                  <a:pt x="5" y="14"/>
                  <a:pt x="7" y="14"/>
                  <a:pt x="6" y="16"/>
                </a:cubicBezTo>
                <a:cubicBezTo>
                  <a:pt x="6" y="16"/>
                  <a:pt x="6" y="16"/>
                  <a:pt x="6" y="16"/>
                </a:cubicBezTo>
                <a:cubicBezTo>
                  <a:pt x="8" y="16"/>
                  <a:pt x="11" y="16"/>
                  <a:pt x="12" y="16"/>
                </a:cubicBezTo>
                <a:cubicBezTo>
                  <a:pt x="13" y="16"/>
                  <a:pt x="15" y="11"/>
                  <a:pt x="15" y="11"/>
                </a:cubicBezTo>
                <a:cubicBezTo>
                  <a:pt x="16" y="10"/>
                  <a:pt x="18" y="14"/>
                  <a:pt x="19" y="16"/>
                </a:cubicBezTo>
                <a:cubicBezTo>
                  <a:pt x="21" y="17"/>
                  <a:pt x="21" y="14"/>
                  <a:pt x="21" y="13"/>
                </a:cubicBezTo>
                <a:cubicBezTo>
                  <a:pt x="21" y="12"/>
                  <a:pt x="22" y="11"/>
                  <a:pt x="23" y="12"/>
                </a:cubicBezTo>
                <a:cubicBezTo>
                  <a:pt x="25" y="12"/>
                  <a:pt x="27" y="12"/>
                  <a:pt x="27" y="11"/>
                </a:cubicBezTo>
                <a:cubicBezTo>
                  <a:pt x="27" y="9"/>
                  <a:pt x="28" y="10"/>
                  <a:pt x="29" y="10"/>
                </a:cubicBezTo>
                <a:cubicBezTo>
                  <a:pt x="30" y="10"/>
                  <a:pt x="30" y="8"/>
                  <a:pt x="30" y="8"/>
                </a:cubicBezTo>
                <a:cubicBezTo>
                  <a:pt x="31" y="7"/>
                  <a:pt x="31" y="7"/>
                  <a:pt x="31" y="7"/>
                </a:cubicBezTo>
                <a:cubicBezTo>
                  <a:pt x="30" y="7"/>
                  <a:pt x="29" y="6"/>
                  <a:pt x="28" y="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5" name="Freeform 91"/>
          <p:cNvSpPr/>
          <p:nvPr/>
        </p:nvSpPr>
        <p:spPr bwMode="auto">
          <a:xfrm>
            <a:off x="4338117" y="1937198"/>
            <a:ext cx="176213" cy="198438"/>
          </a:xfrm>
          <a:custGeom>
            <a:avLst/>
            <a:gdLst>
              <a:gd name="T0" fmla="*/ 8 w 62"/>
              <a:gd name="T1" fmla="*/ 18 h 70"/>
              <a:gd name="T2" fmla="*/ 5 w 62"/>
              <a:gd name="T3" fmla="*/ 21 h 70"/>
              <a:gd name="T4" fmla="*/ 7 w 62"/>
              <a:gd name="T5" fmla="*/ 25 h 70"/>
              <a:gd name="T6" fmla="*/ 6 w 62"/>
              <a:gd name="T7" fmla="*/ 27 h 70"/>
              <a:gd name="T8" fmla="*/ 2 w 62"/>
              <a:gd name="T9" fmla="*/ 29 h 70"/>
              <a:gd name="T10" fmla="*/ 1 w 62"/>
              <a:gd name="T11" fmla="*/ 32 h 70"/>
              <a:gd name="T12" fmla="*/ 0 w 62"/>
              <a:gd name="T13" fmla="*/ 38 h 70"/>
              <a:gd name="T14" fmla="*/ 2 w 62"/>
              <a:gd name="T15" fmla="*/ 42 h 70"/>
              <a:gd name="T16" fmla="*/ 1 w 62"/>
              <a:gd name="T17" fmla="*/ 45 h 70"/>
              <a:gd name="T18" fmla="*/ 3 w 62"/>
              <a:gd name="T19" fmla="*/ 50 h 70"/>
              <a:gd name="T20" fmla="*/ 5 w 62"/>
              <a:gd name="T21" fmla="*/ 51 h 70"/>
              <a:gd name="T22" fmla="*/ 9 w 62"/>
              <a:gd name="T23" fmla="*/ 53 h 70"/>
              <a:gd name="T24" fmla="*/ 13 w 62"/>
              <a:gd name="T25" fmla="*/ 55 h 70"/>
              <a:gd name="T26" fmla="*/ 14 w 62"/>
              <a:gd name="T27" fmla="*/ 57 h 70"/>
              <a:gd name="T28" fmla="*/ 11 w 62"/>
              <a:gd name="T29" fmla="*/ 63 h 70"/>
              <a:gd name="T30" fmla="*/ 11 w 62"/>
              <a:gd name="T31" fmla="*/ 67 h 70"/>
              <a:gd name="T32" fmla="*/ 17 w 62"/>
              <a:gd name="T33" fmla="*/ 66 h 70"/>
              <a:gd name="T34" fmla="*/ 21 w 62"/>
              <a:gd name="T35" fmla="*/ 66 h 70"/>
              <a:gd name="T36" fmla="*/ 25 w 62"/>
              <a:gd name="T37" fmla="*/ 68 h 70"/>
              <a:gd name="T38" fmla="*/ 26 w 62"/>
              <a:gd name="T39" fmla="*/ 67 h 70"/>
              <a:gd name="T40" fmla="*/ 30 w 62"/>
              <a:gd name="T41" fmla="*/ 68 h 70"/>
              <a:gd name="T42" fmla="*/ 34 w 62"/>
              <a:gd name="T43" fmla="*/ 68 h 70"/>
              <a:gd name="T44" fmla="*/ 38 w 62"/>
              <a:gd name="T45" fmla="*/ 67 h 70"/>
              <a:gd name="T46" fmla="*/ 45 w 62"/>
              <a:gd name="T47" fmla="*/ 66 h 70"/>
              <a:gd name="T48" fmla="*/ 48 w 62"/>
              <a:gd name="T49" fmla="*/ 64 h 70"/>
              <a:gd name="T50" fmla="*/ 51 w 62"/>
              <a:gd name="T51" fmla="*/ 60 h 70"/>
              <a:gd name="T52" fmla="*/ 54 w 62"/>
              <a:gd name="T53" fmla="*/ 57 h 70"/>
              <a:gd name="T54" fmla="*/ 47 w 62"/>
              <a:gd name="T55" fmla="*/ 51 h 70"/>
              <a:gd name="T56" fmla="*/ 45 w 62"/>
              <a:gd name="T57" fmla="*/ 46 h 70"/>
              <a:gd name="T58" fmla="*/ 44 w 62"/>
              <a:gd name="T59" fmla="*/ 42 h 70"/>
              <a:gd name="T60" fmla="*/ 52 w 62"/>
              <a:gd name="T61" fmla="*/ 39 h 70"/>
              <a:gd name="T62" fmla="*/ 57 w 62"/>
              <a:gd name="T63" fmla="*/ 37 h 70"/>
              <a:gd name="T64" fmla="*/ 61 w 62"/>
              <a:gd name="T65" fmla="*/ 36 h 70"/>
              <a:gd name="T66" fmla="*/ 61 w 62"/>
              <a:gd name="T67" fmla="*/ 33 h 70"/>
              <a:gd name="T68" fmla="*/ 59 w 62"/>
              <a:gd name="T69" fmla="*/ 27 h 70"/>
              <a:gd name="T70" fmla="*/ 58 w 62"/>
              <a:gd name="T71" fmla="*/ 23 h 70"/>
              <a:gd name="T72" fmla="*/ 57 w 62"/>
              <a:gd name="T73" fmla="*/ 20 h 70"/>
              <a:gd name="T74" fmla="*/ 57 w 62"/>
              <a:gd name="T75" fmla="*/ 17 h 70"/>
              <a:gd name="T76" fmla="*/ 57 w 62"/>
              <a:gd name="T77" fmla="*/ 10 h 70"/>
              <a:gd name="T78" fmla="*/ 57 w 62"/>
              <a:gd name="T79" fmla="*/ 9 h 70"/>
              <a:gd name="T80" fmla="*/ 56 w 62"/>
              <a:gd name="T81" fmla="*/ 8 h 70"/>
              <a:gd name="T82" fmla="*/ 52 w 62"/>
              <a:gd name="T83" fmla="*/ 6 h 70"/>
              <a:gd name="T84" fmla="*/ 53 w 62"/>
              <a:gd name="T85" fmla="*/ 2 h 70"/>
              <a:gd name="T86" fmla="*/ 46 w 62"/>
              <a:gd name="T87" fmla="*/ 4 h 70"/>
              <a:gd name="T88" fmla="*/ 39 w 62"/>
              <a:gd name="T89" fmla="*/ 8 h 70"/>
              <a:gd name="T90" fmla="*/ 35 w 62"/>
              <a:gd name="T91" fmla="*/ 6 h 70"/>
              <a:gd name="T92" fmla="*/ 33 w 62"/>
              <a:gd name="T93" fmla="*/ 4 h 70"/>
              <a:gd name="T94" fmla="*/ 28 w 62"/>
              <a:gd name="T95" fmla="*/ 2 h 70"/>
              <a:gd name="T96" fmla="*/ 27 w 62"/>
              <a:gd name="T97" fmla="*/ 0 h 70"/>
              <a:gd name="T98" fmla="*/ 25 w 62"/>
              <a:gd name="T99" fmla="*/ 1 h 70"/>
              <a:gd name="T100" fmla="*/ 18 w 62"/>
              <a:gd name="T101" fmla="*/ 0 h 70"/>
              <a:gd name="T102" fmla="*/ 20 w 62"/>
              <a:gd name="T103" fmla="*/ 3 h 70"/>
              <a:gd name="T104" fmla="*/ 21 w 62"/>
              <a:gd name="T105" fmla="*/ 9 h 70"/>
              <a:gd name="T106" fmla="*/ 18 w 62"/>
              <a:gd name="T107" fmla="*/ 12 h 70"/>
              <a:gd name="T108" fmla="*/ 13 w 62"/>
              <a:gd name="T109" fmla="*/ 11 h 70"/>
              <a:gd name="T110" fmla="*/ 8 w 62"/>
              <a:gd name="T111" fmla="*/ 12 h 70"/>
              <a:gd name="T112" fmla="*/ 8 w 62"/>
              <a:gd name="T113" fmla="*/ 13 h 70"/>
              <a:gd name="T114" fmla="*/ 8 w 62"/>
              <a:gd name="T115"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 h="70">
                <a:moveTo>
                  <a:pt x="8" y="18"/>
                </a:moveTo>
                <a:cubicBezTo>
                  <a:pt x="7" y="20"/>
                  <a:pt x="4" y="21"/>
                  <a:pt x="5" y="21"/>
                </a:cubicBezTo>
                <a:cubicBezTo>
                  <a:pt x="5" y="22"/>
                  <a:pt x="8" y="24"/>
                  <a:pt x="7" y="25"/>
                </a:cubicBezTo>
                <a:cubicBezTo>
                  <a:pt x="6" y="26"/>
                  <a:pt x="6" y="25"/>
                  <a:pt x="6" y="27"/>
                </a:cubicBezTo>
                <a:cubicBezTo>
                  <a:pt x="6" y="29"/>
                  <a:pt x="3" y="29"/>
                  <a:pt x="2" y="29"/>
                </a:cubicBezTo>
                <a:cubicBezTo>
                  <a:pt x="1" y="29"/>
                  <a:pt x="2" y="31"/>
                  <a:pt x="1" y="32"/>
                </a:cubicBezTo>
                <a:cubicBezTo>
                  <a:pt x="1" y="34"/>
                  <a:pt x="1" y="37"/>
                  <a:pt x="0" y="38"/>
                </a:cubicBezTo>
                <a:cubicBezTo>
                  <a:pt x="0" y="39"/>
                  <a:pt x="3" y="41"/>
                  <a:pt x="2" y="42"/>
                </a:cubicBezTo>
                <a:cubicBezTo>
                  <a:pt x="2" y="43"/>
                  <a:pt x="0" y="44"/>
                  <a:pt x="1" y="45"/>
                </a:cubicBezTo>
                <a:cubicBezTo>
                  <a:pt x="1" y="45"/>
                  <a:pt x="3" y="47"/>
                  <a:pt x="3" y="50"/>
                </a:cubicBezTo>
                <a:cubicBezTo>
                  <a:pt x="4" y="51"/>
                  <a:pt x="4" y="51"/>
                  <a:pt x="5" y="51"/>
                </a:cubicBezTo>
                <a:cubicBezTo>
                  <a:pt x="6" y="52"/>
                  <a:pt x="7" y="53"/>
                  <a:pt x="9" y="53"/>
                </a:cubicBezTo>
                <a:cubicBezTo>
                  <a:pt x="11" y="53"/>
                  <a:pt x="12" y="55"/>
                  <a:pt x="13" y="55"/>
                </a:cubicBezTo>
                <a:cubicBezTo>
                  <a:pt x="14" y="54"/>
                  <a:pt x="16" y="55"/>
                  <a:pt x="14" y="57"/>
                </a:cubicBezTo>
                <a:cubicBezTo>
                  <a:pt x="12" y="59"/>
                  <a:pt x="12" y="61"/>
                  <a:pt x="11" y="63"/>
                </a:cubicBezTo>
                <a:cubicBezTo>
                  <a:pt x="11" y="64"/>
                  <a:pt x="11" y="66"/>
                  <a:pt x="11" y="67"/>
                </a:cubicBezTo>
                <a:cubicBezTo>
                  <a:pt x="13" y="67"/>
                  <a:pt x="16" y="67"/>
                  <a:pt x="17" y="66"/>
                </a:cubicBezTo>
                <a:cubicBezTo>
                  <a:pt x="18" y="66"/>
                  <a:pt x="19" y="66"/>
                  <a:pt x="21" y="66"/>
                </a:cubicBezTo>
                <a:cubicBezTo>
                  <a:pt x="22" y="67"/>
                  <a:pt x="24" y="67"/>
                  <a:pt x="25" y="68"/>
                </a:cubicBezTo>
                <a:cubicBezTo>
                  <a:pt x="25" y="68"/>
                  <a:pt x="26" y="67"/>
                  <a:pt x="26" y="67"/>
                </a:cubicBezTo>
                <a:cubicBezTo>
                  <a:pt x="27" y="67"/>
                  <a:pt x="29" y="70"/>
                  <a:pt x="30" y="68"/>
                </a:cubicBezTo>
                <a:cubicBezTo>
                  <a:pt x="31" y="67"/>
                  <a:pt x="33" y="67"/>
                  <a:pt x="34" y="68"/>
                </a:cubicBezTo>
                <a:cubicBezTo>
                  <a:pt x="35" y="68"/>
                  <a:pt x="37" y="69"/>
                  <a:pt x="38" y="67"/>
                </a:cubicBezTo>
                <a:cubicBezTo>
                  <a:pt x="39" y="66"/>
                  <a:pt x="44" y="66"/>
                  <a:pt x="45" y="66"/>
                </a:cubicBezTo>
                <a:cubicBezTo>
                  <a:pt x="46" y="66"/>
                  <a:pt x="49" y="68"/>
                  <a:pt x="48" y="64"/>
                </a:cubicBezTo>
                <a:cubicBezTo>
                  <a:pt x="47" y="60"/>
                  <a:pt x="50" y="61"/>
                  <a:pt x="51" y="60"/>
                </a:cubicBezTo>
                <a:cubicBezTo>
                  <a:pt x="51" y="58"/>
                  <a:pt x="55" y="58"/>
                  <a:pt x="54" y="57"/>
                </a:cubicBezTo>
                <a:cubicBezTo>
                  <a:pt x="54" y="56"/>
                  <a:pt x="49" y="52"/>
                  <a:pt x="47" y="51"/>
                </a:cubicBezTo>
                <a:cubicBezTo>
                  <a:pt x="46" y="50"/>
                  <a:pt x="46" y="47"/>
                  <a:pt x="45" y="46"/>
                </a:cubicBezTo>
                <a:cubicBezTo>
                  <a:pt x="44" y="44"/>
                  <a:pt x="42" y="42"/>
                  <a:pt x="44" y="42"/>
                </a:cubicBezTo>
                <a:cubicBezTo>
                  <a:pt x="46" y="41"/>
                  <a:pt x="50" y="41"/>
                  <a:pt x="52" y="39"/>
                </a:cubicBezTo>
                <a:cubicBezTo>
                  <a:pt x="53" y="38"/>
                  <a:pt x="56" y="37"/>
                  <a:pt x="57" y="37"/>
                </a:cubicBezTo>
                <a:cubicBezTo>
                  <a:pt x="58" y="36"/>
                  <a:pt x="60" y="37"/>
                  <a:pt x="61" y="36"/>
                </a:cubicBezTo>
                <a:cubicBezTo>
                  <a:pt x="62" y="35"/>
                  <a:pt x="62" y="34"/>
                  <a:pt x="61" y="33"/>
                </a:cubicBezTo>
                <a:cubicBezTo>
                  <a:pt x="60" y="32"/>
                  <a:pt x="60" y="30"/>
                  <a:pt x="59" y="27"/>
                </a:cubicBezTo>
                <a:cubicBezTo>
                  <a:pt x="59" y="25"/>
                  <a:pt x="58" y="25"/>
                  <a:pt x="58" y="23"/>
                </a:cubicBezTo>
                <a:cubicBezTo>
                  <a:pt x="58" y="22"/>
                  <a:pt x="58" y="21"/>
                  <a:pt x="57" y="20"/>
                </a:cubicBezTo>
                <a:cubicBezTo>
                  <a:pt x="56" y="19"/>
                  <a:pt x="55" y="19"/>
                  <a:pt x="57" y="17"/>
                </a:cubicBezTo>
                <a:cubicBezTo>
                  <a:pt x="58" y="16"/>
                  <a:pt x="57" y="11"/>
                  <a:pt x="57" y="10"/>
                </a:cubicBezTo>
                <a:cubicBezTo>
                  <a:pt x="57" y="10"/>
                  <a:pt x="57" y="10"/>
                  <a:pt x="57" y="9"/>
                </a:cubicBezTo>
                <a:cubicBezTo>
                  <a:pt x="56" y="9"/>
                  <a:pt x="56" y="9"/>
                  <a:pt x="56" y="8"/>
                </a:cubicBezTo>
                <a:cubicBezTo>
                  <a:pt x="56" y="7"/>
                  <a:pt x="55" y="6"/>
                  <a:pt x="52" y="6"/>
                </a:cubicBezTo>
                <a:cubicBezTo>
                  <a:pt x="49" y="6"/>
                  <a:pt x="54" y="4"/>
                  <a:pt x="53" y="2"/>
                </a:cubicBezTo>
                <a:cubicBezTo>
                  <a:pt x="52" y="1"/>
                  <a:pt x="49" y="5"/>
                  <a:pt x="46" y="4"/>
                </a:cubicBezTo>
                <a:cubicBezTo>
                  <a:pt x="44" y="3"/>
                  <a:pt x="41" y="7"/>
                  <a:pt x="39" y="8"/>
                </a:cubicBezTo>
                <a:cubicBezTo>
                  <a:pt x="37" y="10"/>
                  <a:pt x="34" y="8"/>
                  <a:pt x="35" y="6"/>
                </a:cubicBezTo>
                <a:cubicBezTo>
                  <a:pt x="37" y="3"/>
                  <a:pt x="35" y="4"/>
                  <a:pt x="33" y="4"/>
                </a:cubicBezTo>
                <a:cubicBezTo>
                  <a:pt x="30" y="5"/>
                  <a:pt x="27" y="4"/>
                  <a:pt x="28" y="2"/>
                </a:cubicBezTo>
                <a:cubicBezTo>
                  <a:pt x="28" y="1"/>
                  <a:pt x="28" y="1"/>
                  <a:pt x="27" y="0"/>
                </a:cubicBezTo>
                <a:cubicBezTo>
                  <a:pt x="26" y="1"/>
                  <a:pt x="25" y="1"/>
                  <a:pt x="25" y="1"/>
                </a:cubicBezTo>
                <a:cubicBezTo>
                  <a:pt x="24" y="0"/>
                  <a:pt x="21" y="0"/>
                  <a:pt x="18" y="0"/>
                </a:cubicBezTo>
                <a:cubicBezTo>
                  <a:pt x="19" y="1"/>
                  <a:pt x="20" y="2"/>
                  <a:pt x="20" y="3"/>
                </a:cubicBezTo>
                <a:cubicBezTo>
                  <a:pt x="19" y="5"/>
                  <a:pt x="20" y="7"/>
                  <a:pt x="21" y="9"/>
                </a:cubicBezTo>
                <a:cubicBezTo>
                  <a:pt x="23" y="12"/>
                  <a:pt x="19" y="10"/>
                  <a:pt x="18" y="12"/>
                </a:cubicBezTo>
                <a:cubicBezTo>
                  <a:pt x="18" y="13"/>
                  <a:pt x="15" y="12"/>
                  <a:pt x="13" y="11"/>
                </a:cubicBezTo>
                <a:cubicBezTo>
                  <a:pt x="12" y="11"/>
                  <a:pt x="8" y="11"/>
                  <a:pt x="8" y="12"/>
                </a:cubicBezTo>
                <a:cubicBezTo>
                  <a:pt x="8" y="12"/>
                  <a:pt x="8" y="13"/>
                  <a:pt x="8" y="13"/>
                </a:cubicBezTo>
                <a:cubicBezTo>
                  <a:pt x="9" y="15"/>
                  <a:pt x="9" y="17"/>
                  <a:pt x="8" y="1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6" name="Freeform 92"/>
          <p:cNvSpPr/>
          <p:nvPr/>
        </p:nvSpPr>
        <p:spPr bwMode="auto">
          <a:xfrm>
            <a:off x="4625455" y="1460948"/>
            <a:ext cx="204788" cy="328613"/>
          </a:xfrm>
          <a:custGeom>
            <a:avLst/>
            <a:gdLst>
              <a:gd name="T0" fmla="*/ 61 w 72"/>
              <a:gd name="T1" fmla="*/ 96 h 115"/>
              <a:gd name="T2" fmla="*/ 71 w 72"/>
              <a:gd name="T3" fmla="*/ 87 h 115"/>
              <a:gd name="T4" fmla="*/ 70 w 72"/>
              <a:gd name="T5" fmla="*/ 81 h 115"/>
              <a:gd name="T6" fmla="*/ 61 w 72"/>
              <a:gd name="T7" fmla="*/ 74 h 115"/>
              <a:gd name="T8" fmla="*/ 65 w 72"/>
              <a:gd name="T9" fmla="*/ 71 h 115"/>
              <a:gd name="T10" fmla="*/ 62 w 72"/>
              <a:gd name="T11" fmla="*/ 67 h 115"/>
              <a:gd name="T12" fmla="*/ 63 w 72"/>
              <a:gd name="T13" fmla="*/ 63 h 115"/>
              <a:gd name="T14" fmla="*/ 59 w 72"/>
              <a:gd name="T15" fmla="*/ 61 h 115"/>
              <a:gd name="T16" fmla="*/ 61 w 72"/>
              <a:gd name="T17" fmla="*/ 59 h 115"/>
              <a:gd name="T18" fmla="*/ 60 w 72"/>
              <a:gd name="T19" fmla="*/ 54 h 115"/>
              <a:gd name="T20" fmla="*/ 62 w 72"/>
              <a:gd name="T21" fmla="*/ 50 h 115"/>
              <a:gd name="T22" fmla="*/ 55 w 72"/>
              <a:gd name="T23" fmla="*/ 39 h 115"/>
              <a:gd name="T24" fmla="*/ 57 w 72"/>
              <a:gd name="T25" fmla="*/ 35 h 115"/>
              <a:gd name="T26" fmla="*/ 62 w 72"/>
              <a:gd name="T27" fmla="*/ 30 h 115"/>
              <a:gd name="T28" fmla="*/ 57 w 72"/>
              <a:gd name="T29" fmla="*/ 25 h 115"/>
              <a:gd name="T30" fmla="*/ 53 w 72"/>
              <a:gd name="T31" fmla="*/ 23 h 115"/>
              <a:gd name="T32" fmla="*/ 52 w 72"/>
              <a:gd name="T33" fmla="*/ 19 h 115"/>
              <a:gd name="T34" fmla="*/ 53 w 72"/>
              <a:gd name="T35" fmla="*/ 15 h 115"/>
              <a:gd name="T36" fmla="*/ 55 w 72"/>
              <a:gd name="T37" fmla="*/ 13 h 115"/>
              <a:gd name="T38" fmla="*/ 57 w 72"/>
              <a:gd name="T39" fmla="*/ 11 h 115"/>
              <a:gd name="T40" fmla="*/ 57 w 72"/>
              <a:gd name="T41" fmla="*/ 7 h 115"/>
              <a:gd name="T42" fmla="*/ 50 w 72"/>
              <a:gd name="T43" fmla="*/ 2 h 115"/>
              <a:gd name="T44" fmla="*/ 44 w 72"/>
              <a:gd name="T45" fmla="*/ 2 h 115"/>
              <a:gd name="T46" fmla="*/ 37 w 72"/>
              <a:gd name="T47" fmla="*/ 4 h 115"/>
              <a:gd name="T48" fmla="*/ 33 w 72"/>
              <a:gd name="T49" fmla="*/ 8 h 115"/>
              <a:gd name="T50" fmla="*/ 32 w 72"/>
              <a:gd name="T51" fmla="*/ 14 h 115"/>
              <a:gd name="T52" fmla="*/ 29 w 72"/>
              <a:gd name="T53" fmla="*/ 18 h 115"/>
              <a:gd name="T54" fmla="*/ 25 w 72"/>
              <a:gd name="T55" fmla="*/ 17 h 115"/>
              <a:gd name="T56" fmla="*/ 19 w 72"/>
              <a:gd name="T57" fmla="*/ 17 h 115"/>
              <a:gd name="T58" fmla="*/ 12 w 72"/>
              <a:gd name="T59" fmla="*/ 16 h 115"/>
              <a:gd name="T60" fmla="*/ 4 w 72"/>
              <a:gd name="T61" fmla="*/ 11 h 115"/>
              <a:gd name="T62" fmla="*/ 0 w 72"/>
              <a:gd name="T63" fmla="*/ 14 h 115"/>
              <a:gd name="T64" fmla="*/ 7 w 72"/>
              <a:gd name="T65" fmla="*/ 20 h 115"/>
              <a:gd name="T66" fmla="*/ 17 w 72"/>
              <a:gd name="T67" fmla="*/ 26 h 115"/>
              <a:gd name="T68" fmla="*/ 17 w 72"/>
              <a:gd name="T69" fmla="*/ 32 h 115"/>
              <a:gd name="T70" fmla="*/ 19 w 72"/>
              <a:gd name="T71" fmla="*/ 38 h 115"/>
              <a:gd name="T72" fmla="*/ 19 w 72"/>
              <a:gd name="T73" fmla="*/ 44 h 115"/>
              <a:gd name="T74" fmla="*/ 20 w 72"/>
              <a:gd name="T75" fmla="*/ 48 h 115"/>
              <a:gd name="T76" fmla="*/ 21 w 72"/>
              <a:gd name="T77" fmla="*/ 51 h 115"/>
              <a:gd name="T78" fmla="*/ 27 w 72"/>
              <a:gd name="T79" fmla="*/ 53 h 115"/>
              <a:gd name="T80" fmla="*/ 29 w 72"/>
              <a:gd name="T81" fmla="*/ 59 h 115"/>
              <a:gd name="T82" fmla="*/ 28 w 72"/>
              <a:gd name="T83" fmla="*/ 61 h 115"/>
              <a:gd name="T84" fmla="*/ 24 w 72"/>
              <a:gd name="T85" fmla="*/ 64 h 115"/>
              <a:gd name="T86" fmla="*/ 17 w 72"/>
              <a:gd name="T87" fmla="*/ 71 h 115"/>
              <a:gd name="T88" fmla="*/ 13 w 72"/>
              <a:gd name="T89" fmla="*/ 74 h 115"/>
              <a:gd name="T90" fmla="*/ 9 w 72"/>
              <a:gd name="T91" fmla="*/ 78 h 115"/>
              <a:gd name="T92" fmla="*/ 5 w 72"/>
              <a:gd name="T93" fmla="*/ 80 h 115"/>
              <a:gd name="T94" fmla="*/ 1 w 72"/>
              <a:gd name="T95" fmla="*/ 85 h 115"/>
              <a:gd name="T96" fmla="*/ 2 w 72"/>
              <a:gd name="T97" fmla="*/ 89 h 115"/>
              <a:gd name="T98" fmla="*/ 2 w 72"/>
              <a:gd name="T99" fmla="*/ 94 h 115"/>
              <a:gd name="T100" fmla="*/ 4 w 72"/>
              <a:gd name="T101" fmla="*/ 101 h 115"/>
              <a:gd name="T102" fmla="*/ 2 w 72"/>
              <a:gd name="T103" fmla="*/ 108 h 115"/>
              <a:gd name="T104" fmla="*/ 8 w 72"/>
              <a:gd name="T105" fmla="*/ 111 h 115"/>
              <a:gd name="T106" fmla="*/ 12 w 72"/>
              <a:gd name="T107" fmla="*/ 113 h 115"/>
              <a:gd name="T108" fmla="*/ 20 w 72"/>
              <a:gd name="T109" fmla="*/ 115 h 115"/>
              <a:gd name="T110" fmla="*/ 41 w 72"/>
              <a:gd name="T111" fmla="*/ 110 h 115"/>
              <a:gd name="T112" fmla="*/ 47 w 72"/>
              <a:gd name="T113" fmla="*/ 109 h 115"/>
              <a:gd name="T114" fmla="*/ 51 w 72"/>
              <a:gd name="T115" fmla="*/ 105 h 115"/>
              <a:gd name="T116" fmla="*/ 61 w 72"/>
              <a:gd name="T117" fmla="*/ 9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 h="115">
                <a:moveTo>
                  <a:pt x="61" y="96"/>
                </a:moveTo>
                <a:cubicBezTo>
                  <a:pt x="63" y="93"/>
                  <a:pt x="70" y="90"/>
                  <a:pt x="71" y="87"/>
                </a:cubicBezTo>
                <a:cubicBezTo>
                  <a:pt x="72" y="85"/>
                  <a:pt x="72" y="84"/>
                  <a:pt x="70" y="81"/>
                </a:cubicBezTo>
                <a:cubicBezTo>
                  <a:pt x="67" y="78"/>
                  <a:pt x="61" y="76"/>
                  <a:pt x="61" y="74"/>
                </a:cubicBezTo>
                <a:cubicBezTo>
                  <a:pt x="61" y="73"/>
                  <a:pt x="65" y="73"/>
                  <a:pt x="65" y="71"/>
                </a:cubicBezTo>
                <a:cubicBezTo>
                  <a:pt x="65" y="69"/>
                  <a:pt x="63" y="69"/>
                  <a:pt x="62" y="67"/>
                </a:cubicBezTo>
                <a:cubicBezTo>
                  <a:pt x="61" y="65"/>
                  <a:pt x="63" y="64"/>
                  <a:pt x="63" y="63"/>
                </a:cubicBezTo>
                <a:cubicBezTo>
                  <a:pt x="62" y="63"/>
                  <a:pt x="59" y="62"/>
                  <a:pt x="59" y="61"/>
                </a:cubicBezTo>
                <a:cubicBezTo>
                  <a:pt x="59" y="60"/>
                  <a:pt x="61" y="60"/>
                  <a:pt x="61" y="59"/>
                </a:cubicBezTo>
                <a:cubicBezTo>
                  <a:pt x="60" y="58"/>
                  <a:pt x="58" y="56"/>
                  <a:pt x="60" y="54"/>
                </a:cubicBezTo>
                <a:cubicBezTo>
                  <a:pt x="61" y="52"/>
                  <a:pt x="64" y="54"/>
                  <a:pt x="62" y="50"/>
                </a:cubicBezTo>
                <a:cubicBezTo>
                  <a:pt x="60" y="46"/>
                  <a:pt x="56" y="41"/>
                  <a:pt x="55" y="39"/>
                </a:cubicBezTo>
                <a:cubicBezTo>
                  <a:pt x="55" y="38"/>
                  <a:pt x="56" y="36"/>
                  <a:pt x="57" y="35"/>
                </a:cubicBezTo>
                <a:cubicBezTo>
                  <a:pt x="59" y="35"/>
                  <a:pt x="62" y="32"/>
                  <a:pt x="62" y="30"/>
                </a:cubicBezTo>
                <a:cubicBezTo>
                  <a:pt x="62" y="29"/>
                  <a:pt x="58" y="26"/>
                  <a:pt x="57" y="25"/>
                </a:cubicBezTo>
                <a:cubicBezTo>
                  <a:pt x="56" y="25"/>
                  <a:pt x="54" y="25"/>
                  <a:pt x="53" y="23"/>
                </a:cubicBezTo>
                <a:cubicBezTo>
                  <a:pt x="52" y="21"/>
                  <a:pt x="51" y="20"/>
                  <a:pt x="52" y="19"/>
                </a:cubicBezTo>
                <a:cubicBezTo>
                  <a:pt x="53" y="18"/>
                  <a:pt x="53" y="16"/>
                  <a:pt x="53" y="15"/>
                </a:cubicBezTo>
                <a:cubicBezTo>
                  <a:pt x="53" y="14"/>
                  <a:pt x="55" y="15"/>
                  <a:pt x="55" y="13"/>
                </a:cubicBezTo>
                <a:cubicBezTo>
                  <a:pt x="55" y="12"/>
                  <a:pt x="56" y="11"/>
                  <a:pt x="57" y="11"/>
                </a:cubicBezTo>
                <a:cubicBezTo>
                  <a:pt x="57" y="9"/>
                  <a:pt x="57" y="8"/>
                  <a:pt x="57" y="7"/>
                </a:cubicBezTo>
                <a:cubicBezTo>
                  <a:pt x="56" y="5"/>
                  <a:pt x="51" y="4"/>
                  <a:pt x="50" y="2"/>
                </a:cubicBezTo>
                <a:cubicBezTo>
                  <a:pt x="48" y="0"/>
                  <a:pt x="45" y="1"/>
                  <a:pt x="44" y="2"/>
                </a:cubicBezTo>
                <a:cubicBezTo>
                  <a:pt x="43" y="3"/>
                  <a:pt x="37" y="2"/>
                  <a:pt x="37" y="4"/>
                </a:cubicBezTo>
                <a:cubicBezTo>
                  <a:pt x="37" y="6"/>
                  <a:pt x="33" y="6"/>
                  <a:pt x="33" y="8"/>
                </a:cubicBezTo>
                <a:cubicBezTo>
                  <a:pt x="33" y="10"/>
                  <a:pt x="35" y="14"/>
                  <a:pt x="32" y="14"/>
                </a:cubicBezTo>
                <a:cubicBezTo>
                  <a:pt x="28" y="14"/>
                  <a:pt x="31" y="15"/>
                  <a:pt x="29" y="18"/>
                </a:cubicBezTo>
                <a:cubicBezTo>
                  <a:pt x="27" y="21"/>
                  <a:pt x="27" y="16"/>
                  <a:pt x="25" y="17"/>
                </a:cubicBezTo>
                <a:cubicBezTo>
                  <a:pt x="23" y="18"/>
                  <a:pt x="20" y="15"/>
                  <a:pt x="19" y="17"/>
                </a:cubicBezTo>
                <a:cubicBezTo>
                  <a:pt x="18" y="18"/>
                  <a:pt x="15" y="17"/>
                  <a:pt x="12" y="16"/>
                </a:cubicBezTo>
                <a:cubicBezTo>
                  <a:pt x="9" y="16"/>
                  <a:pt x="7" y="11"/>
                  <a:pt x="4" y="11"/>
                </a:cubicBezTo>
                <a:cubicBezTo>
                  <a:pt x="3" y="11"/>
                  <a:pt x="1" y="12"/>
                  <a:pt x="0" y="14"/>
                </a:cubicBezTo>
                <a:cubicBezTo>
                  <a:pt x="2" y="16"/>
                  <a:pt x="4" y="18"/>
                  <a:pt x="7" y="20"/>
                </a:cubicBezTo>
                <a:cubicBezTo>
                  <a:pt x="11" y="21"/>
                  <a:pt x="17" y="23"/>
                  <a:pt x="17" y="26"/>
                </a:cubicBezTo>
                <a:cubicBezTo>
                  <a:pt x="17" y="28"/>
                  <a:pt x="16" y="31"/>
                  <a:pt x="17" y="32"/>
                </a:cubicBezTo>
                <a:cubicBezTo>
                  <a:pt x="19" y="33"/>
                  <a:pt x="17" y="37"/>
                  <a:pt x="19" y="38"/>
                </a:cubicBezTo>
                <a:cubicBezTo>
                  <a:pt x="21" y="39"/>
                  <a:pt x="20" y="44"/>
                  <a:pt x="19" y="44"/>
                </a:cubicBezTo>
                <a:cubicBezTo>
                  <a:pt x="17" y="44"/>
                  <a:pt x="19" y="47"/>
                  <a:pt x="20" y="48"/>
                </a:cubicBezTo>
                <a:cubicBezTo>
                  <a:pt x="21" y="48"/>
                  <a:pt x="21" y="50"/>
                  <a:pt x="21" y="51"/>
                </a:cubicBezTo>
                <a:cubicBezTo>
                  <a:pt x="23" y="52"/>
                  <a:pt x="25" y="53"/>
                  <a:pt x="27" y="53"/>
                </a:cubicBezTo>
                <a:cubicBezTo>
                  <a:pt x="29" y="55"/>
                  <a:pt x="29" y="57"/>
                  <a:pt x="29" y="59"/>
                </a:cubicBezTo>
                <a:cubicBezTo>
                  <a:pt x="29" y="61"/>
                  <a:pt x="29" y="62"/>
                  <a:pt x="28" y="61"/>
                </a:cubicBezTo>
                <a:cubicBezTo>
                  <a:pt x="26" y="60"/>
                  <a:pt x="25" y="61"/>
                  <a:pt x="24" y="64"/>
                </a:cubicBezTo>
                <a:cubicBezTo>
                  <a:pt x="23" y="67"/>
                  <a:pt x="19" y="71"/>
                  <a:pt x="17" y="71"/>
                </a:cubicBezTo>
                <a:cubicBezTo>
                  <a:pt x="15" y="71"/>
                  <a:pt x="15" y="74"/>
                  <a:pt x="13" y="74"/>
                </a:cubicBezTo>
                <a:cubicBezTo>
                  <a:pt x="11" y="75"/>
                  <a:pt x="9" y="76"/>
                  <a:pt x="9" y="78"/>
                </a:cubicBezTo>
                <a:cubicBezTo>
                  <a:pt x="9" y="80"/>
                  <a:pt x="6" y="80"/>
                  <a:pt x="5" y="80"/>
                </a:cubicBezTo>
                <a:cubicBezTo>
                  <a:pt x="3" y="80"/>
                  <a:pt x="3" y="84"/>
                  <a:pt x="1" y="85"/>
                </a:cubicBezTo>
                <a:cubicBezTo>
                  <a:pt x="0" y="86"/>
                  <a:pt x="0" y="87"/>
                  <a:pt x="2" y="89"/>
                </a:cubicBezTo>
                <a:cubicBezTo>
                  <a:pt x="3" y="91"/>
                  <a:pt x="2" y="92"/>
                  <a:pt x="2" y="94"/>
                </a:cubicBezTo>
                <a:cubicBezTo>
                  <a:pt x="3" y="95"/>
                  <a:pt x="5" y="98"/>
                  <a:pt x="4" y="101"/>
                </a:cubicBezTo>
                <a:cubicBezTo>
                  <a:pt x="2" y="105"/>
                  <a:pt x="0" y="109"/>
                  <a:pt x="2" y="108"/>
                </a:cubicBezTo>
                <a:cubicBezTo>
                  <a:pt x="3" y="108"/>
                  <a:pt x="6" y="111"/>
                  <a:pt x="8" y="111"/>
                </a:cubicBezTo>
                <a:cubicBezTo>
                  <a:pt x="10" y="111"/>
                  <a:pt x="10" y="114"/>
                  <a:pt x="12" y="113"/>
                </a:cubicBezTo>
                <a:cubicBezTo>
                  <a:pt x="14" y="113"/>
                  <a:pt x="14" y="115"/>
                  <a:pt x="20" y="115"/>
                </a:cubicBezTo>
                <a:cubicBezTo>
                  <a:pt x="25" y="115"/>
                  <a:pt x="37" y="110"/>
                  <a:pt x="41" y="110"/>
                </a:cubicBezTo>
                <a:cubicBezTo>
                  <a:pt x="44" y="110"/>
                  <a:pt x="46" y="110"/>
                  <a:pt x="47" y="109"/>
                </a:cubicBezTo>
                <a:cubicBezTo>
                  <a:pt x="48" y="108"/>
                  <a:pt x="50" y="106"/>
                  <a:pt x="51" y="105"/>
                </a:cubicBezTo>
                <a:cubicBezTo>
                  <a:pt x="54" y="102"/>
                  <a:pt x="60" y="100"/>
                  <a:pt x="61" y="9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7" name="Freeform 93"/>
          <p:cNvSpPr/>
          <p:nvPr/>
        </p:nvSpPr>
        <p:spPr bwMode="auto">
          <a:xfrm>
            <a:off x="4887392" y="2489648"/>
            <a:ext cx="412750" cy="330200"/>
          </a:xfrm>
          <a:custGeom>
            <a:avLst/>
            <a:gdLst>
              <a:gd name="T0" fmla="*/ 87 w 145"/>
              <a:gd name="T1" fmla="*/ 24 h 116"/>
              <a:gd name="T2" fmla="*/ 75 w 145"/>
              <a:gd name="T3" fmla="*/ 23 h 116"/>
              <a:gd name="T4" fmla="*/ 67 w 145"/>
              <a:gd name="T5" fmla="*/ 20 h 116"/>
              <a:gd name="T6" fmla="*/ 50 w 145"/>
              <a:gd name="T7" fmla="*/ 8 h 116"/>
              <a:gd name="T8" fmla="*/ 37 w 145"/>
              <a:gd name="T9" fmla="*/ 0 h 116"/>
              <a:gd name="T10" fmla="*/ 31 w 145"/>
              <a:gd name="T11" fmla="*/ 0 h 116"/>
              <a:gd name="T12" fmla="*/ 24 w 145"/>
              <a:gd name="T13" fmla="*/ 2 h 116"/>
              <a:gd name="T14" fmla="*/ 17 w 145"/>
              <a:gd name="T15" fmla="*/ 6 h 116"/>
              <a:gd name="T16" fmla="*/ 22 w 145"/>
              <a:gd name="T17" fmla="*/ 12 h 116"/>
              <a:gd name="T18" fmla="*/ 18 w 145"/>
              <a:gd name="T19" fmla="*/ 16 h 116"/>
              <a:gd name="T20" fmla="*/ 14 w 145"/>
              <a:gd name="T21" fmla="*/ 18 h 116"/>
              <a:gd name="T22" fmla="*/ 8 w 145"/>
              <a:gd name="T23" fmla="*/ 22 h 116"/>
              <a:gd name="T24" fmla="*/ 1 w 145"/>
              <a:gd name="T25" fmla="*/ 19 h 116"/>
              <a:gd name="T26" fmla="*/ 1 w 145"/>
              <a:gd name="T27" fmla="*/ 21 h 116"/>
              <a:gd name="T28" fmla="*/ 0 w 145"/>
              <a:gd name="T29" fmla="*/ 23 h 116"/>
              <a:gd name="T30" fmla="*/ 2 w 145"/>
              <a:gd name="T31" fmla="*/ 30 h 116"/>
              <a:gd name="T32" fmla="*/ 7 w 145"/>
              <a:gd name="T33" fmla="*/ 37 h 116"/>
              <a:gd name="T34" fmla="*/ 17 w 145"/>
              <a:gd name="T35" fmla="*/ 53 h 116"/>
              <a:gd name="T36" fmla="*/ 22 w 145"/>
              <a:gd name="T37" fmla="*/ 60 h 116"/>
              <a:gd name="T38" fmla="*/ 29 w 145"/>
              <a:gd name="T39" fmla="*/ 68 h 116"/>
              <a:gd name="T40" fmla="*/ 30 w 145"/>
              <a:gd name="T41" fmla="*/ 76 h 116"/>
              <a:gd name="T42" fmla="*/ 36 w 145"/>
              <a:gd name="T43" fmla="*/ 87 h 116"/>
              <a:gd name="T44" fmla="*/ 44 w 145"/>
              <a:gd name="T45" fmla="*/ 96 h 116"/>
              <a:gd name="T46" fmla="*/ 50 w 145"/>
              <a:gd name="T47" fmla="*/ 107 h 116"/>
              <a:gd name="T48" fmla="*/ 53 w 145"/>
              <a:gd name="T49" fmla="*/ 112 h 116"/>
              <a:gd name="T50" fmla="*/ 55 w 145"/>
              <a:gd name="T51" fmla="*/ 116 h 116"/>
              <a:gd name="T52" fmla="*/ 58 w 145"/>
              <a:gd name="T53" fmla="*/ 114 h 116"/>
              <a:gd name="T54" fmla="*/ 58 w 145"/>
              <a:gd name="T55" fmla="*/ 111 h 116"/>
              <a:gd name="T56" fmla="*/ 61 w 145"/>
              <a:gd name="T57" fmla="*/ 108 h 116"/>
              <a:gd name="T58" fmla="*/ 66 w 145"/>
              <a:gd name="T59" fmla="*/ 109 h 116"/>
              <a:gd name="T60" fmla="*/ 74 w 145"/>
              <a:gd name="T61" fmla="*/ 110 h 116"/>
              <a:gd name="T62" fmla="*/ 84 w 145"/>
              <a:gd name="T63" fmla="*/ 111 h 116"/>
              <a:gd name="T64" fmla="*/ 89 w 145"/>
              <a:gd name="T65" fmla="*/ 109 h 116"/>
              <a:gd name="T66" fmla="*/ 99 w 145"/>
              <a:gd name="T67" fmla="*/ 100 h 116"/>
              <a:gd name="T68" fmla="*/ 113 w 145"/>
              <a:gd name="T69" fmla="*/ 99 h 116"/>
              <a:gd name="T70" fmla="*/ 141 w 145"/>
              <a:gd name="T71" fmla="*/ 90 h 116"/>
              <a:gd name="T72" fmla="*/ 145 w 145"/>
              <a:gd name="T73" fmla="*/ 76 h 116"/>
              <a:gd name="T74" fmla="*/ 142 w 145"/>
              <a:gd name="T75" fmla="*/ 71 h 116"/>
              <a:gd name="T76" fmla="*/ 125 w 145"/>
              <a:gd name="T77" fmla="*/ 69 h 116"/>
              <a:gd name="T78" fmla="*/ 119 w 145"/>
              <a:gd name="T79" fmla="*/ 62 h 116"/>
              <a:gd name="T80" fmla="*/ 116 w 145"/>
              <a:gd name="T81" fmla="*/ 57 h 116"/>
              <a:gd name="T82" fmla="*/ 111 w 145"/>
              <a:gd name="T83" fmla="*/ 53 h 116"/>
              <a:gd name="T84" fmla="*/ 107 w 145"/>
              <a:gd name="T85" fmla="*/ 46 h 116"/>
              <a:gd name="T86" fmla="*/ 104 w 145"/>
              <a:gd name="T87" fmla="*/ 38 h 116"/>
              <a:gd name="T88" fmla="*/ 97 w 145"/>
              <a:gd name="T89" fmla="*/ 30 h 116"/>
              <a:gd name="T90" fmla="*/ 96 w 145"/>
              <a:gd name="T91" fmla="*/ 27 h 116"/>
              <a:gd name="T92" fmla="*/ 91 w 145"/>
              <a:gd name="T93" fmla="*/ 27 h 116"/>
              <a:gd name="T94" fmla="*/ 87 w 145"/>
              <a:gd name="T95" fmla="*/ 2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5" h="116">
                <a:moveTo>
                  <a:pt x="87" y="24"/>
                </a:moveTo>
                <a:cubicBezTo>
                  <a:pt x="87" y="24"/>
                  <a:pt x="76" y="23"/>
                  <a:pt x="75" y="23"/>
                </a:cubicBezTo>
                <a:cubicBezTo>
                  <a:pt x="73" y="23"/>
                  <a:pt x="69" y="22"/>
                  <a:pt x="67" y="20"/>
                </a:cubicBezTo>
                <a:cubicBezTo>
                  <a:pt x="64" y="18"/>
                  <a:pt x="52" y="9"/>
                  <a:pt x="50" y="8"/>
                </a:cubicBezTo>
                <a:cubicBezTo>
                  <a:pt x="48" y="7"/>
                  <a:pt x="39" y="0"/>
                  <a:pt x="37" y="0"/>
                </a:cubicBezTo>
                <a:cubicBezTo>
                  <a:pt x="34" y="0"/>
                  <a:pt x="34" y="0"/>
                  <a:pt x="31" y="0"/>
                </a:cubicBezTo>
                <a:cubicBezTo>
                  <a:pt x="28" y="0"/>
                  <a:pt x="29" y="2"/>
                  <a:pt x="24" y="2"/>
                </a:cubicBezTo>
                <a:cubicBezTo>
                  <a:pt x="18" y="2"/>
                  <a:pt x="15" y="6"/>
                  <a:pt x="17" y="6"/>
                </a:cubicBezTo>
                <a:cubicBezTo>
                  <a:pt x="19" y="7"/>
                  <a:pt x="24" y="12"/>
                  <a:pt x="22" y="12"/>
                </a:cubicBezTo>
                <a:cubicBezTo>
                  <a:pt x="20" y="13"/>
                  <a:pt x="20" y="16"/>
                  <a:pt x="18" y="16"/>
                </a:cubicBezTo>
                <a:cubicBezTo>
                  <a:pt x="16" y="16"/>
                  <a:pt x="14" y="16"/>
                  <a:pt x="14" y="18"/>
                </a:cubicBezTo>
                <a:cubicBezTo>
                  <a:pt x="14" y="19"/>
                  <a:pt x="11" y="22"/>
                  <a:pt x="8" y="22"/>
                </a:cubicBezTo>
                <a:cubicBezTo>
                  <a:pt x="7" y="22"/>
                  <a:pt x="4" y="20"/>
                  <a:pt x="1" y="19"/>
                </a:cubicBezTo>
                <a:cubicBezTo>
                  <a:pt x="1" y="21"/>
                  <a:pt x="1" y="21"/>
                  <a:pt x="1" y="21"/>
                </a:cubicBezTo>
                <a:cubicBezTo>
                  <a:pt x="0" y="23"/>
                  <a:pt x="0" y="23"/>
                  <a:pt x="0" y="23"/>
                </a:cubicBezTo>
                <a:cubicBezTo>
                  <a:pt x="1" y="24"/>
                  <a:pt x="0" y="30"/>
                  <a:pt x="2" y="30"/>
                </a:cubicBezTo>
                <a:cubicBezTo>
                  <a:pt x="3" y="31"/>
                  <a:pt x="4" y="34"/>
                  <a:pt x="7" y="37"/>
                </a:cubicBezTo>
                <a:cubicBezTo>
                  <a:pt x="10" y="41"/>
                  <a:pt x="17" y="50"/>
                  <a:pt x="17" y="53"/>
                </a:cubicBezTo>
                <a:cubicBezTo>
                  <a:pt x="17" y="55"/>
                  <a:pt x="18" y="58"/>
                  <a:pt x="22" y="60"/>
                </a:cubicBezTo>
                <a:cubicBezTo>
                  <a:pt x="27" y="63"/>
                  <a:pt x="27" y="66"/>
                  <a:pt x="29" y="68"/>
                </a:cubicBezTo>
                <a:cubicBezTo>
                  <a:pt x="31" y="70"/>
                  <a:pt x="30" y="72"/>
                  <a:pt x="30" y="76"/>
                </a:cubicBezTo>
                <a:cubicBezTo>
                  <a:pt x="30" y="80"/>
                  <a:pt x="32" y="85"/>
                  <a:pt x="36" y="87"/>
                </a:cubicBezTo>
                <a:cubicBezTo>
                  <a:pt x="40" y="90"/>
                  <a:pt x="42" y="92"/>
                  <a:pt x="44" y="96"/>
                </a:cubicBezTo>
                <a:cubicBezTo>
                  <a:pt x="46" y="101"/>
                  <a:pt x="48" y="104"/>
                  <a:pt x="50" y="107"/>
                </a:cubicBezTo>
                <a:cubicBezTo>
                  <a:pt x="53" y="109"/>
                  <a:pt x="51" y="110"/>
                  <a:pt x="53" y="112"/>
                </a:cubicBezTo>
                <a:cubicBezTo>
                  <a:pt x="53" y="113"/>
                  <a:pt x="54" y="114"/>
                  <a:pt x="55" y="116"/>
                </a:cubicBezTo>
                <a:cubicBezTo>
                  <a:pt x="57" y="115"/>
                  <a:pt x="58" y="115"/>
                  <a:pt x="58" y="114"/>
                </a:cubicBezTo>
                <a:cubicBezTo>
                  <a:pt x="58" y="114"/>
                  <a:pt x="57" y="111"/>
                  <a:pt x="58" y="111"/>
                </a:cubicBezTo>
                <a:cubicBezTo>
                  <a:pt x="58" y="110"/>
                  <a:pt x="60" y="108"/>
                  <a:pt x="61" y="108"/>
                </a:cubicBezTo>
                <a:cubicBezTo>
                  <a:pt x="62" y="108"/>
                  <a:pt x="63" y="109"/>
                  <a:pt x="66" y="109"/>
                </a:cubicBezTo>
                <a:cubicBezTo>
                  <a:pt x="68" y="108"/>
                  <a:pt x="74" y="109"/>
                  <a:pt x="74" y="110"/>
                </a:cubicBezTo>
                <a:cubicBezTo>
                  <a:pt x="75" y="110"/>
                  <a:pt x="82" y="110"/>
                  <a:pt x="84" y="111"/>
                </a:cubicBezTo>
                <a:cubicBezTo>
                  <a:pt x="86" y="113"/>
                  <a:pt x="88" y="112"/>
                  <a:pt x="89" y="109"/>
                </a:cubicBezTo>
                <a:cubicBezTo>
                  <a:pt x="90" y="107"/>
                  <a:pt x="98" y="101"/>
                  <a:pt x="99" y="100"/>
                </a:cubicBezTo>
                <a:cubicBezTo>
                  <a:pt x="101" y="100"/>
                  <a:pt x="109" y="100"/>
                  <a:pt x="113" y="99"/>
                </a:cubicBezTo>
                <a:cubicBezTo>
                  <a:pt x="116" y="99"/>
                  <a:pt x="140" y="91"/>
                  <a:pt x="141" y="90"/>
                </a:cubicBezTo>
                <a:cubicBezTo>
                  <a:pt x="142" y="90"/>
                  <a:pt x="145" y="77"/>
                  <a:pt x="145" y="76"/>
                </a:cubicBezTo>
                <a:cubicBezTo>
                  <a:pt x="145" y="75"/>
                  <a:pt x="144" y="71"/>
                  <a:pt x="142" y="71"/>
                </a:cubicBezTo>
                <a:cubicBezTo>
                  <a:pt x="140" y="71"/>
                  <a:pt x="125" y="70"/>
                  <a:pt x="125" y="69"/>
                </a:cubicBezTo>
                <a:cubicBezTo>
                  <a:pt x="124" y="69"/>
                  <a:pt x="120" y="66"/>
                  <a:pt x="119" y="62"/>
                </a:cubicBezTo>
                <a:cubicBezTo>
                  <a:pt x="118" y="61"/>
                  <a:pt x="117" y="59"/>
                  <a:pt x="116" y="57"/>
                </a:cubicBezTo>
                <a:cubicBezTo>
                  <a:pt x="115" y="58"/>
                  <a:pt x="112" y="57"/>
                  <a:pt x="111" y="53"/>
                </a:cubicBezTo>
                <a:cubicBezTo>
                  <a:pt x="109" y="52"/>
                  <a:pt x="106" y="47"/>
                  <a:pt x="107" y="46"/>
                </a:cubicBezTo>
                <a:cubicBezTo>
                  <a:pt x="109" y="44"/>
                  <a:pt x="106" y="41"/>
                  <a:pt x="104" y="38"/>
                </a:cubicBezTo>
                <a:cubicBezTo>
                  <a:pt x="102" y="36"/>
                  <a:pt x="97" y="33"/>
                  <a:pt x="97" y="30"/>
                </a:cubicBezTo>
                <a:cubicBezTo>
                  <a:pt x="97" y="30"/>
                  <a:pt x="97" y="29"/>
                  <a:pt x="96" y="27"/>
                </a:cubicBezTo>
                <a:cubicBezTo>
                  <a:pt x="91" y="27"/>
                  <a:pt x="91" y="27"/>
                  <a:pt x="91" y="27"/>
                </a:cubicBezTo>
                <a:lnTo>
                  <a:pt x="87" y="24"/>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8" name="Freeform 94"/>
          <p:cNvSpPr/>
          <p:nvPr/>
        </p:nvSpPr>
        <p:spPr bwMode="auto">
          <a:xfrm>
            <a:off x="5230292" y="2640460"/>
            <a:ext cx="155575" cy="176213"/>
          </a:xfrm>
          <a:custGeom>
            <a:avLst/>
            <a:gdLst>
              <a:gd name="T0" fmla="*/ 27 w 55"/>
              <a:gd name="T1" fmla="*/ 2 h 62"/>
              <a:gd name="T2" fmla="*/ 27 w 55"/>
              <a:gd name="T3" fmla="*/ 7 h 62"/>
              <a:gd name="T4" fmla="*/ 23 w 55"/>
              <a:gd name="T5" fmla="*/ 12 h 62"/>
              <a:gd name="T6" fmla="*/ 20 w 55"/>
              <a:gd name="T7" fmla="*/ 18 h 62"/>
              <a:gd name="T8" fmla="*/ 22 w 55"/>
              <a:gd name="T9" fmla="*/ 18 h 62"/>
              <a:gd name="T10" fmla="*/ 25 w 55"/>
              <a:gd name="T11" fmla="*/ 23 h 62"/>
              <a:gd name="T12" fmla="*/ 21 w 55"/>
              <a:gd name="T13" fmla="*/ 37 h 62"/>
              <a:gd name="T14" fmla="*/ 0 w 55"/>
              <a:gd name="T15" fmla="*/ 44 h 62"/>
              <a:gd name="T16" fmla="*/ 8 w 55"/>
              <a:gd name="T17" fmla="*/ 62 h 62"/>
              <a:gd name="T18" fmla="*/ 10 w 55"/>
              <a:gd name="T19" fmla="*/ 61 h 62"/>
              <a:gd name="T20" fmla="*/ 21 w 55"/>
              <a:gd name="T21" fmla="*/ 59 h 62"/>
              <a:gd name="T22" fmla="*/ 24 w 55"/>
              <a:gd name="T23" fmla="*/ 54 h 62"/>
              <a:gd name="T24" fmla="*/ 31 w 55"/>
              <a:gd name="T25" fmla="*/ 52 h 62"/>
              <a:gd name="T26" fmla="*/ 36 w 55"/>
              <a:gd name="T27" fmla="*/ 46 h 62"/>
              <a:gd name="T28" fmla="*/ 40 w 55"/>
              <a:gd name="T29" fmla="*/ 44 h 62"/>
              <a:gd name="T30" fmla="*/ 42 w 55"/>
              <a:gd name="T31" fmla="*/ 35 h 62"/>
              <a:gd name="T32" fmla="*/ 48 w 55"/>
              <a:gd name="T33" fmla="*/ 31 h 62"/>
              <a:gd name="T34" fmla="*/ 54 w 55"/>
              <a:gd name="T35" fmla="*/ 23 h 62"/>
              <a:gd name="T36" fmla="*/ 53 w 55"/>
              <a:gd name="T37" fmla="*/ 19 h 62"/>
              <a:gd name="T38" fmla="*/ 47 w 55"/>
              <a:gd name="T39" fmla="*/ 12 h 62"/>
              <a:gd name="T40" fmla="*/ 36 w 55"/>
              <a:gd name="T41" fmla="*/ 7 h 62"/>
              <a:gd name="T42" fmla="*/ 32 w 55"/>
              <a:gd name="T43" fmla="*/ 0 h 62"/>
              <a:gd name="T44" fmla="*/ 30 w 55"/>
              <a:gd name="T45" fmla="*/ 2 h 62"/>
              <a:gd name="T46" fmla="*/ 27 w 55"/>
              <a:gd name="T47"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 h="62">
                <a:moveTo>
                  <a:pt x="27" y="2"/>
                </a:moveTo>
                <a:cubicBezTo>
                  <a:pt x="27" y="7"/>
                  <a:pt x="27" y="7"/>
                  <a:pt x="27" y="7"/>
                </a:cubicBezTo>
                <a:cubicBezTo>
                  <a:pt x="23" y="12"/>
                  <a:pt x="23" y="12"/>
                  <a:pt x="23" y="12"/>
                </a:cubicBezTo>
                <a:cubicBezTo>
                  <a:pt x="20" y="18"/>
                  <a:pt x="20" y="18"/>
                  <a:pt x="20" y="18"/>
                </a:cubicBezTo>
                <a:cubicBezTo>
                  <a:pt x="21" y="18"/>
                  <a:pt x="22" y="18"/>
                  <a:pt x="22" y="18"/>
                </a:cubicBezTo>
                <a:cubicBezTo>
                  <a:pt x="24" y="18"/>
                  <a:pt x="25" y="22"/>
                  <a:pt x="25" y="23"/>
                </a:cubicBezTo>
                <a:cubicBezTo>
                  <a:pt x="25" y="24"/>
                  <a:pt x="22" y="37"/>
                  <a:pt x="21" y="37"/>
                </a:cubicBezTo>
                <a:cubicBezTo>
                  <a:pt x="20" y="38"/>
                  <a:pt x="8" y="42"/>
                  <a:pt x="0" y="44"/>
                </a:cubicBezTo>
                <a:cubicBezTo>
                  <a:pt x="1" y="48"/>
                  <a:pt x="5" y="55"/>
                  <a:pt x="8" y="62"/>
                </a:cubicBezTo>
                <a:cubicBezTo>
                  <a:pt x="9" y="62"/>
                  <a:pt x="9" y="61"/>
                  <a:pt x="10" y="61"/>
                </a:cubicBezTo>
                <a:cubicBezTo>
                  <a:pt x="14" y="59"/>
                  <a:pt x="18" y="60"/>
                  <a:pt x="21" y="59"/>
                </a:cubicBezTo>
                <a:cubicBezTo>
                  <a:pt x="24" y="58"/>
                  <a:pt x="21" y="56"/>
                  <a:pt x="24" y="54"/>
                </a:cubicBezTo>
                <a:cubicBezTo>
                  <a:pt x="26" y="52"/>
                  <a:pt x="30" y="53"/>
                  <a:pt x="31" y="52"/>
                </a:cubicBezTo>
                <a:cubicBezTo>
                  <a:pt x="32" y="52"/>
                  <a:pt x="33" y="47"/>
                  <a:pt x="36" y="46"/>
                </a:cubicBezTo>
                <a:cubicBezTo>
                  <a:pt x="38" y="45"/>
                  <a:pt x="40" y="46"/>
                  <a:pt x="40" y="44"/>
                </a:cubicBezTo>
                <a:cubicBezTo>
                  <a:pt x="40" y="42"/>
                  <a:pt x="40" y="35"/>
                  <a:pt x="42" y="35"/>
                </a:cubicBezTo>
                <a:cubicBezTo>
                  <a:pt x="44" y="34"/>
                  <a:pt x="48" y="32"/>
                  <a:pt x="48" y="31"/>
                </a:cubicBezTo>
                <a:cubicBezTo>
                  <a:pt x="48" y="30"/>
                  <a:pt x="52" y="25"/>
                  <a:pt x="54" y="23"/>
                </a:cubicBezTo>
                <a:cubicBezTo>
                  <a:pt x="55" y="21"/>
                  <a:pt x="55" y="19"/>
                  <a:pt x="53" y="19"/>
                </a:cubicBezTo>
                <a:cubicBezTo>
                  <a:pt x="51" y="19"/>
                  <a:pt x="48" y="13"/>
                  <a:pt x="47" y="12"/>
                </a:cubicBezTo>
                <a:cubicBezTo>
                  <a:pt x="46" y="10"/>
                  <a:pt x="41" y="11"/>
                  <a:pt x="36" y="7"/>
                </a:cubicBezTo>
                <a:cubicBezTo>
                  <a:pt x="34" y="6"/>
                  <a:pt x="33" y="3"/>
                  <a:pt x="32" y="0"/>
                </a:cubicBezTo>
                <a:cubicBezTo>
                  <a:pt x="30" y="2"/>
                  <a:pt x="30" y="2"/>
                  <a:pt x="30" y="2"/>
                </a:cubicBezTo>
                <a:lnTo>
                  <a:pt x="27" y="2"/>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9" name="Freeform 95"/>
          <p:cNvSpPr/>
          <p:nvPr/>
        </p:nvSpPr>
        <p:spPr bwMode="auto">
          <a:xfrm>
            <a:off x="5203305" y="2619823"/>
            <a:ext cx="23813" cy="34925"/>
          </a:xfrm>
          <a:custGeom>
            <a:avLst/>
            <a:gdLst>
              <a:gd name="T0" fmla="*/ 5 w 8"/>
              <a:gd name="T1" fmla="*/ 11 h 12"/>
              <a:gd name="T2" fmla="*/ 6 w 8"/>
              <a:gd name="T3" fmla="*/ 9 h 12"/>
              <a:gd name="T4" fmla="*/ 5 w 8"/>
              <a:gd name="T5" fmla="*/ 1 h 12"/>
              <a:gd name="T6" fmla="*/ 0 w 8"/>
              <a:gd name="T7" fmla="*/ 7 h 12"/>
              <a:gd name="T8" fmla="*/ 0 w 8"/>
              <a:gd name="T9" fmla="*/ 7 h 12"/>
              <a:gd name="T10" fmla="*/ 5 w 8"/>
              <a:gd name="T11" fmla="*/ 11 h 12"/>
            </a:gdLst>
            <a:ahLst/>
            <a:cxnLst>
              <a:cxn ang="0">
                <a:pos x="T0" y="T1"/>
              </a:cxn>
              <a:cxn ang="0">
                <a:pos x="T2" y="T3"/>
              </a:cxn>
              <a:cxn ang="0">
                <a:pos x="T4" y="T5"/>
              </a:cxn>
              <a:cxn ang="0">
                <a:pos x="T6" y="T7"/>
              </a:cxn>
              <a:cxn ang="0">
                <a:pos x="T8" y="T9"/>
              </a:cxn>
              <a:cxn ang="0">
                <a:pos x="T10" y="T11"/>
              </a:cxn>
            </a:cxnLst>
            <a:rect l="0" t="0" r="r" b="b"/>
            <a:pathLst>
              <a:path w="8" h="12">
                <a:moveTo>
                  <a:pt x="5" y="11"/>
                </a:moveTo>
                <a:cubicBezTo>
                  <a:pt x="5" y="11"/>
                  <a:pt x="5" y="10"/>
                  <a:pt x="6" y="9"/>
                </a:cubicBezTo>
                <a:cubicBezTo>
                  <a:pt x="7" y="7"/>
                  <a:pt x="8" y="1"/>
                  <a:pt x="5" y="1"/>
                </a:cubicBezTo>
                <a:cubicBezTo>
                  <a:pt x="2" y="0"/>
                  <a:pt x="0" y="6"/>
                  <a:pt x="0" y="7"/>
                </a:cubicBezTo>
                <a:cubicBezTo>
                  <a:pt x="0" y="8"/>
                  <a:pt x="0" y="8"/>
                  <a:pt x="0" y="7"/>
                </a:cubicBezTo>
                <a:cubicBezTo>
                  <a:pt x="1" y="11"/>
                  <a:pt x="4" y="12"/>
                  <a:pt x="5" y="1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0" name="Freeform 96"/>
          <p:cNvSpPr/>
          <p:nvPr/>
        </p:nvSpPr>
        <p:spPr bwMode="auto">
          <a:xfrm>
            <a:off x="5227117" y="2618235"/>
            <a:ext cx="93663" cy="73025"/>
          </a:xfrm>
          <a:custGeom>
            <a:avLst/>
            <a:gdLst>
              <a:gd name="T0" fmla="*/ 6 w 33"/>
              <a:gd name="T1" fmla="*/ 24 h 26"/>
              <a:gd name="T2" fmla="*/ 21 w 33"/>
              <a:gd name="T3" fmla="*/ 26 h 26"/>
              <a:gd name="T4" fmla="*/ 24 w 33"/>
              <a:gd name="T5" fmla="*/ 20 h 26"/>
              <a:gd name="T6" fmla="*/ 28 w 33"/>
              <a:gd name="T7" fmla="*/ 15 h 26"/>
              <a:gd name="T8" fmla="*/ 28 w 33"/>
              <a:gd name="T9" fmla="*/ 10 h 26"/>
              <a:gd name="T10" fmla="*/ 31 w 33"/>
              <a:gd name="T11" fmla="*/ 10 h 26"/>
              <a:gd name="T12" fmla="*/ 33 w 33"/>
              <a:gd name="T13" fmla="*/ 8 h 26"/>
              <a:gd name="T14" fmla="*/ 31 w 33"/>
              <a:gd name="T15" fmla="*/ 0 h 26"/>
              <a:gd name="T16" fmla="*/ 23 w 33"/>
              <a:gd name="T17" fmla="*/ 9 h 26"/>
              <a:gd name="T18" fmla="*/ 10 w 33"/>
              <a:gd name="T19" fmla="*/ 15 h 26"/>
              <a:gd name="T20" fmla="*/ 2 w 33"/>
              <a:gd name="T21" fmla="*/ 17 h 26"/>
              <a:gd name="T22" fmla="*/ 0 w 33"/>
              <a:gd name="T23" fmla="*/ 17 h 26"/>
              <a:gd name="T24" fmla="*/ 6 w 33"/>
              <a:gd name="T2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26">
                <a:moveTo>
                  <a:pt x="6" y="24"/>
                </a:moveTo>
                <a:cubicBezTo>
                  <a:pt x="6" y="25"/>
                  <a:pt x="17" y="26"/>
                  <a:pt x="21" y="26"/>
                </a:cubicBezTo>
                <a:cubicBezTo>
                  <a:pt x="24" y="20"/>
                  <a:pt x="24" y="20"/>
                  <a:pt x="24" y="20"/>
                </a:cubicBezTo>
                <a:cubicBezTo>
                  <a:pt x="28" y="15"/>
                  <a:pt x="28" y="15"/>
                  <a:pt x="28" y="15"/>
                </a:cubicBezTo>
                <a:cubicBezTo>
                  <a:pt x="28" y="10"/>
                  <a:pt x="28" y="10"/>
                  <a:pt x="28" y="10"/>
                </a:cubicBezTo>
                <a:cubicBezTo>
                  <a:pt x="31" y="10"/>
                  <a:pt x="31" y="10"/>
                  <a:pt x="31" y="10"/>
                </a:cubicBezTo>
                <a:cubicBezTo>
                  <a:pt x="33" y="8"/>
                  <a:pt x="33" y="8"/>
                  <a:pt x="33" y="8"/>
                </a:cubicBezTo>
                <a:cubicBezTo>
                  <a:pt x="32" y="4"/>
                  <a:pt x="32" y="0"/>
                  <a:pt x="31" y="0"/>
                </a:cubicBezTo>
                <a:cubicBezTo>
                  <a:pt x="30" y="0"/>
                  <a:pt x="25" y="5"/>
                  <a:pt x="23" y="9"/>
                </a:cubicBezTo>
                <a:cubicBezTo>
                  <a:pt x="21" y="13"/>
                  <a:pt x="15" y="16"/>
                  <a:pt x="10" y="15"/>
                </a:cubicBezTo>
                <a:cubicBezTo>
                  <a:pt x="5" y="14"/>
                  <a:pt x="3" y="16"/>
                  <a:pt x="2" y="17"/>
                </a:cubicBezTo>
                <a:cubicBezTo>
                  <a:pt x="1" y="17"/>
                  <a:pt x="1" y="17"/>
                  <a:pt x="0" y="17"/>
                </a:cubicBezTo>
                <a:cubicBezTo>
                  <a:pt x="1" y="21"/>
                  <a:pt x="5" y="24"/>
                  <a:pt x="6" y="2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1" name="Freeform 97"/>
          <p:cNvSpPr>
            <a:spLocks noEditPoints="1"/>
          </p:cNvSpPr>
          <p:nvPr/>
        </p:nvSpPr>
        <p:spPr bwMode="auto">
          <a:xfrm>
            <a:off x="6155805" y="3016698"/>
            <a:ext cx="377825" cy="119063"/>
          </a:xfrm>
          <a:custGeom>
            <a:avLst/>
            <a:gdLst>
              <a:gd name="T0" fmla="*/ 24 w 133"/>
              <a:gd name="T1" fmla="*/ 15 h 42"/>
              <a:gd name="T2" fmla="*/ 19 w 133"/>
              <a:gd name="T3" fmla="*/ 8 h 42"/>
              <a:gd name="T4" fmla="*/ 15 w 133"/>
              <a:gd name="T5" fmla="*/ 5 h 42"/>
              <a:gd name="T6" fmla="*/ 15 w 133"/>
              <a:gd name="T7" fmla="*/ 4 h 42"/>
              <a:gd name="T8" fmla="*/ 12 w 133"/>
              <a:gd name="T9" fmla="*/ 6 h 42"/>
              <a:gd name="T10" fmla="*/ 7 w 133"/>
              <a:gd name="T11" fmla="*/ 6 h 42"/>
              <a:gd name="T12" fmla="*/ 4 w 133"/>
              <a:gd name="T13" fmla="*/ 2 h 42"/>
              <a:gd name="T14" fmla="*/ 0 w 133"/>
              <a:gd name="T15" fmla="*/ 1 h 42"/>
              <a:gd name="T16" fmla="*/ 2 w 133"/>
              <a:gd name="T17" fmla="*/ 12 h 42"/>
              <a:gd name="T18" fmla="*/ 9 w 133"/>
              <a:gd name="T19" fmla="*/ 25 h 42"/>
              <a:gd name="T20" fmla="*/ 15 w 133"/>
              <a:gd name="T21" fmla="*/ 31 h 42"/>
              <a:gd name="T22" fmla="*/ 28 w 133"/>
              <a:gd name="T23" fmla="*/ 38 h 42"/>
              <a:gd name="T24" fmla="*/ 24 w 133"/>
              <a:gd name="T25" fmla="*/ 28 h 42"/>
              <a:gd name="T26" fmla="*/ 24 w 133"/>
              <a:gd name="T27" fmla="*/ 15 h 42"/>
              <a:gd name="T28" fmla="*/ 128 w 133"/>
              <a:gd name="T29" fmla="*/ 7 h 42"/>
              <a:gd name="T30" fmla="*/ 122 w 133"/>
              <a:gd name="T31" fmla="*/ 6 h 42"/>
              <a:gd name="T32" fmla="*/ 116 w 133"/>
              <a:gd name="T33" fmla="*/ 0 h 42"/>
              <a:gd name="T34" fmla="*/ 110 w 133"/>
              <a:gd name="T35" fmla="*/ 7 h 42"/>
              <a:gd name="T36" fmla="*/ 106 w 133"/>
              <a:gd name="T37" fmla="*/ 12 h 42"/>
              <a:gd name="T38" fmla="*/ 105 w 133"/>
              <a:gd name="T39" fmla="*/ 14 h 42"/>
              <a:gd name="T40" fmla="*/ 105 w 133"/>
              <a:gd name="T41" fmla="*/ 18 h 42"/>
              <a:gd name="T42" fmla="*/ 100 w 133"/>
              <a:gd name="T43" fmla="*/ 20 h 42"/>
              <a:gd name="T44" fmla="*/ 97 w 133"/>
              <a:gd name="T45" fmla="*/ 15 h 42"/>
              <a:gd name="T46" fmla="*/ 97 w 133"/>
              <a:gd name="T47" fmla="*/ 15 h 42"/>
              <a:gd name="T48" fmla="*/ 90 w 133"/>
              <a:gd name="T49" fmla="*/ 24 h 42"/>
              <a:gd name="T50" fmla="*/ 80 w 133"/>
              <a:gd name="T51" fmla="*/ 27 h 42"/>
              <a:gd name="T52" fmla="*/ 76 w 133"/>
              <a:gd name="T53" fmla="*/ 36 h 42"/>
              <a:gd name="T54" fmla="*/ 66 w 133"/>
              <a:gd name="T55" fmla="*/ 33 h 42"/>
              <a:gd name="T56" fmla="*/ 68 w 133"/>
              <a:gd name="T57" fmla="*/ 38 h 42"/>
              <a:gd name="T58" fmla="*/ 74 w 133"/>
              <a:gd name="T59" fmla="*/ 41 h 42"/>
              <a:gd name="T60" fmla="*/ 83 w 133"/>
              <a:gd name="T61" fmla="*/ 40 h 42"/>
              <a:gd name="T62" fmla="*/ 89 w 133"/>
              <a:gd name="T63" fmla="*/ 37 h 42"/>
              <a:gd name="T64" fmla="*/ 96 w 133"/>
              <a:gd name="T65" fmla="*/ 38 h 42"/>
              <a:gd name="T66" fmla="*/ 102 w 133"/>
              <a:gd name="T67" fmla="*/ 34 h 42"/>
              <a:gd name="T68" fmla="*/ 104 w 133"/>
              <a:gd name="T69" fmla="*/ 28 h 42"/>
              <a:gd name="T70" fmla="*/ 108 w 133"/>
              <a:gd name="T71" fmla="*/ 22 h 42"/>
              <a:gd name="T72" fmla="*/ 119 w 133"/>
              <a:gd name="T73" fmla="*/ 17 h 42"/>
              <a:gd name="T74" fmla="*/ 122 w 133"/>
              <a:gd name="T75" fmla="*/ 18 h 42"/>
              <a:gd name="T76" fmla="*/ 126 w 133"/>
              <a:gd name="T77" fmla="*/ 14 h 42"/>
              <a:gd name="T78" fmla="*/ 133 w 133"/>
              <a:gd name="T79" fmla="*/ 11 h 42"/>
              <a:gd name="T80" fmla="*/ 128 w 133"/>
              <a:gd name="T81" fmla="*/ 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42">
                <a:moveTo>
                  <a:pt x="24" y="15"/>
                </a:moveTo>
                <a:cubicBezTo>
                  <a:pt x="24" y="11"/>
                  <a:pt x="20" y="11"/>
                  <a:pt x="19" y="8"/>
                </a:cubicBezTo>
                <a:cubicBezTo>
                  <a:pt x="17" y="5"/>
                  <a:pt x="16" y="7"/>
                  <a:pt x="15" y="5"/>
                </a:cubicBezTo>
                <a:cubicBezTo>
                  <a:pt x="15" y="4"/>
                  <a:pt x="15" y="4"/>
                  <a:pt x="15" y="4"/>
                </a:cubicBezTo>
                <a:cubicBezTo>
                  <a:pt x="12" y="4"/>
                  <a:pt x="13" y="6"/>
                  <a:pt x="12" y="6"/>
                </a:cubicBezTo>
                <a:cubicBezTo>
                  <a:pt x="12" y="7"/>
                  <a:pt x="7" y="7"/>
                  <a:pt x="7" y="6"/>
                </a:cubicBezTo>
                <a:cubicBezTo>
                  <a:pt x="7" y="4"/>
                  <a:pt x="6" y="2"/>
                  <a:pt x="4" y="2"/>
                </a:cubicBezTo>
                <a:cubicBezTo>
                  <a:pt x="2" y="1"/>
                  <a:pt x="1" y="1"/>
                  <a:pt x="0" y="1"/>
                </a:cubicBezTo>
                <a:cubicBezTo>
                  <a:pt x="1" y="5"/>
                  <a:pt x="2" y="9"/>
                  <a:pt x="2" y="12"/>
                </a:cubicBezTo>
                <a:cubicBezTo>
                  <a:pt x="2" y="16"/>
                  <a:pt x="8" y="22"/>
                  <a:pt x="9" y="25"/>
                </a:cubicBezTo>
                <a:cubicBezTo>
                  <a:pt x="10" y="28"/>
                  <a:pt x="11" y="29"/>
                  <a:pt x="15" y="31"/>
                </a:cubicBezTo>
                <a:cubicBezTo>
                  <a:pt x="19" y="34"/>
                  <a:pt x="27" y="39"/>
                  <a:pt x="28" y="38"/>
                </a:cubicBezTo>
                <a:cubicBezTo>
                  <a:pt x="30" y="37"/>
                  <a:pt x="26" y="31"/>
                  <a:pt x="24" y="28"/>
                </a:cubicBezTo>
                <a:cubicBezTo>
                  <a:pt x="22" y="26"/>
                  <a:pt x="24" y="20"/>
                  <a:pt x="24" y="15"/>
                </a:cubicBezTo>
                <a:close/>
                <a:moveTo>
                  <a:pt x="128" y="7"/>
                </a:moveTo>
                <a:cubicBezTo>
                  <a:pt x="126" y="8"/>
                  <a:pt x="122" y="8"/>
                  <a:pt x="122" y="6"/>
                </a:cubicBezTo>
                <a:cubicBezTo>
                  <a:pt x="122" y="4"/>
                  <a:pt x="118" y="0"/>
                  <a:pt x="116" y="0"/>
                </a:cubicBezTo>
                <a:cubicBezTo>
                  <a:pt x="113" y="0"/>
                  <a:pt x="110" y="5"/>
                  <a:pt x="110" y="7"/>
                </a:cubicBezTo>
                <a:cubicBezTo>
                  <a:pt x="110" y="9"/>
                  <a:pt x="106" y="9"/>
                  <a:pt x="106" y="12"/>
                </a:cubicBezTo>
                <a:cubicBezTo>
                  <a:pt x="107" y="13"/>
                  <a:pt x="106" y="14"/>
                  <a:pt x="105" y="14"/>
                </a:cubicBezTo>
                <a:cubicBezTo>
                  <a:pt x="105" y="16"/>
                  <a:pt x="106" y="18"/>
                  <a:pt x="105" y="18"/>
                </a:cubicBezTo>
                <a:cubicBezTo>
                  <a:pt x="103" y="17"/>
                  <a:pt x="103" y="20"/>
                  <a:pt x="100" y="20"/>
                </a:cubicBezTo>
                <a:cubicBezTo>
                  <a:pt x="100" y="20"/>
                  <a:pt x="98" y="17"/>
                  <a:pt x="97" y="15"/>
                </a:cubicBezTo>
                <a:cubicBezTo>
                  <a:pt x="97" y="15"/>
                  <a:pt x="97" y="15"/>
                  <a:pt x="97" y="15"/>
                </a:cubicBezTo>
                <a:cubicBezTo>
                  <a:pt x="95" y="15"/>
                  <a:pt x="91" y="20"/>
                  <a:pt x="90" y="24"/>
                </a:cubicBezTo>
                <a:cubicBezTo>
                  <a:pt x="90" y="28"/>
                  <a:pt x="86" y="27"/>
                  <a:pt x="80" y="27"/>
                </a:cubicBezTo>
                <a:cubicBezTo>
                  <a:pt x="75" y="28"/>
                  <a:pt x="77" y="33"/>
                  <a:pt x="76" y="36"/>
                </a:cubicBezTo>
                <a:cubicBezTo>
                  <a:pt x="75" y="38"/>
                  <a:pt x="69" y="34"/>
                  <a:pt x="66" y="33"/>
                </a:cubicBezTo>
                <a:cubicBezTo>
                  <a:pt x="66" y="36"/>
                  <a:pt x="67" y="38"/>
                  <a:pt x="68" y="38"/>
                </a:cubicBezTo>
                <a:cubicBezTo>
                  <a:pt x="69" y="38"/>
                  <a:pt x="72" y="42"/>
                  <a:pt x="74" y="41"/>
                </a:cubicBezTo>
                <a:cubicBezTo>
                  <a:pt x="75" y="39"/>
                  <a:pt x="80" y="41"/>
                  <a:pt x="83" y="40"/>
                </a:cubicBezTo>
                <a:cubicBezTo>
                  <a:pt x="85" y="39"/>
                  <a:pt x="85" y="37"/>
                  <a:pt x="89" y="37"/>
                </a:cubicBezTo>
                <a:cubicBezTo>
                  <a:pt x="94" y="37"/>
                  <a:pt x="92" y="40"/>
                  <a:pt x="96" y="38"/>
                </a:cubicBezTo>
                <a:cubicBezTo>
                  <a:pt x="100" y="36"/>
                  <a:pt x="102" y="38"/>
                  <a:pt x="102" y="34"/>
                </a:cubicBezTo>
                <a:cubicBezTo>
                  <a:pt x="102" y="31"/>
                  <a:pt x="105" y="31"/>
                  <a:pt x="104" y="28"/>
                </a:cubicBezTo>
                <a:cubicBezTo>
                  <a:pt x="104" y="25"/>
                  <a:pt x="109" y="27"/>
                  <a:pt x="108" y="22"/>
                </a:cubicBezTo>
                <a:cubicBezTo>
                  <a:pt x="108" y="16"/>
                  <a:pt x="116" y="17"/>
                  <a:pt x="119" y="17"/>
                </a:cubicBezTo>
                <a:cubicBezTo>
                  <a:pt x="120" y="17"/>
                  <a:pt x="121" y="18"/>
                  <a:pt x="122" y="18"/>
                </a:cubicBezTo>
                <a:cubicBezTo>
                  <a:pt x="124" y="17"/>
                  <a:pt x="128" y="15"/>
                  <a:pt x="126" y="14"/>
                </a:cubicBezTo>
                <a:cubicBezTo>
                  <a:pt x="124" y="12"/>
                  <a:pt x="132" y="14"/>
                  <a:pt x="133" y="11"/>
                </a:cubicBezTo>
                <a:cubicBezTo>
                  <a:pt x="133" y="9"/>
                  <a:pt x="130" y="7"/>
                  <a:pt x="128" y="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2" name="Freeform 98"/>
          <p:cNvSpPr/>
          <p:nvPr/>
        </p:nvSpPr>
        <p:spPr bwMode="auto">
          <a:xfrm>
            <a:off x="6432030" y="3056385"/>
            <a:ext cx="25400" cy="17463"/>
          </a:xfrm>
          <a:custGeom>
            <a:avLst/>
            <a:gdLst>
              <a:gd name="T0" fmla="*/ 3 w 9"/>
              <a:gd name="T1" fmla="*/ 6 h 6"/>
              <a:gd name="T2" fmla="*/ 8 w 9"/>
              <a:gd name="T3" fmla="*/ 4 h 6"/>
              <a:gd name="T4" fmla="*/ 8 w 9"/>
              <a:gd name="T5" fmla="*/ 0 h 6"/>
              <a:gd name="T6" fmla="*/ 4 w 9"/>
              <a:gd name="T7" fmla="*/ 1 h 6"/>
              <a:gd name="T8" fmla="*/ 0 w 9"/>
              <a:gd name="T9" fmla="*/ 1 h 6"/>
              <a:gd name="T10" fmla="*/ 3 w 9"/>
              <a:gd name="T11" fmla="*/ 6 h 6"/>
            </a:gdLst>
            <a:ahLst/>
            <a:cxnLst>
              <a:cxn ang="0">
                <a:pos x="T0" y="T1"/>
              </a:cxn>
              <a:cxn ang="0">
                <a:pos x="T2" y="T3"/>
              </a:cxn>
              <a:cxn ang="0">
                <a:pos x="T4" y="T5"/>
              </a:cxn>
              <a:cxn ang="0">
                <a:pos x="T6" y="T7"/>
              </a:cxn>
              <a:cxn ang="0">
                <a:pos x="T8" y="T9"/>
              </a:cxn>
              <a:cxn ang="0">
                <a:pos x="T10" y="T11"/>
              </a:cxn>
            </a:cxnLst>
            <a:rect l="0" t="0" r="r" b="b"/>
            <a:pathLst>
              <a:path w="9" h="6">
                <a:moveTo>
                  <a:pt x="3" y="6"/>
                </a:moveTo>
                <a:cubicBezTo>
                  <a:pt x="6" y="6"/>
                  <a:pt x="6" y="3"/>
                  <a:pt x="8" y="4"/>
                </a:cubicBezTo>
                <a:cubicBezTo>
                  <a:pt x="9" y="4"/>
                  <a:pt x="8" y="2"/>
                  <a:pt x="8" y="0"/>
                </a:cubicBezTo>
                <a:cubicBezTo>
                  <a:pt x="6" y="0"/>
                  <a:pt x="4" y="0"/>
                  <a:pt x="4" y="1"/>
                </a:cubicBezTo>
                <a:cubicBezTo>
                  <a:pt x="4" y="3"/>
                  <a:pt x="1" y="1"/>
                  <a:pt x="0" y="1"/>
                </a:cubicBezTo>
                <a:cubicBezTo>
                  <a:pt x="1" y="3"/>
                  <a:pt x="3" y="6"/>
                  <a:pt x="3"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3" name="Freeform 99"/>
          <p:cNvSpPr/>
          <p:nvPr/>
        </p:nvSpPr>
        <p:spPr bwMode="auto">
          <a:xfrm>
            <a:off x="4969942" y="2368998"/>
            <a:ext cx="190500" cy="188913"/>
          </a:xfrm>
          <a:custGeom>
            <a:avLst/>
            <a:gdLst>
              <a:gd name="T0" fmla="*/ 57 w 67"/>
              <a:gd name="T1" fmla="*/ 60 h 66"/>
              <a:gd name="T2" fmla="*/ 60 w 67"/>
              <a:gd name="T3" fmla="*/ 57 h 66"/>
              <a:gd name="T4" fmla="*/ 64 w 67"/>
              <a:gd name="T5" fmla="*/ 60 h 66"/>
              <a:gd name="T6" fmla="*/ 67 w 67"/>
              <a:gd name="T7" fmla="*/ 58 h 66"/>
              <a:gd name="T8" fmla="*/ 64 w 67"/>
              <a:gd name="T9" fmla="*/ 53 h 66"/>
              <a:gd name="T10" fmla="*/ 61 w 67"/>
              <a:gd name="T11" fmla="*/ 48 h 66"/>
              <a:gd name="T12" fmla="*/ 62 w 67"/>
              <a:gd name="T13" fmla="*/ 43 h 66"/>
              <a:gd name="T14" fmla="*/ 58 w 67"/>
              <a:gd name="T15" fmla="*/ 39 h 66"/>
              <a:gd name="T16" fmla="*/ 51 w 67"/>
              <a:gd name="T17" fmla="*/ 34 h 66"/>
              <a:gd name="T18" fmla="*/ 47 w 67"/>
              <a:gd name="T19" fmla="*/ 30 h 66"/>
              <a:gd name="T20" fmla="*/ 47 w 67"/>
              <a:gd name="T21" fmla="*/ 24 h 66"/>
              <a:gd name="T22" fmla="*/ 49 w 67"/>
              <a:gd name="T23" fmla="*/ 19 h 66"/>
              <a:gd name="T24" fmla="*/ 50 w 67"/>
              <a:gd name="T25" fmla="*/ 15 h 66"/>
              <a:gd name="T26" fmla="*/ 47 w 67"/>
              <a:gd name="T27" fmla="*/ 12 h 66"/>
              <a:gd name="T28" fmla="*/ 44 w 67"/>
              <a:gd name="T29" fmla="*/ 8 h 66"/>
              <a:gd name="T30" fmla="*/ 41 w 67"/>
              <a:gd name="T31" fmla="*/ 3 h 66"/>
              <a:gd name="T32" fmla="*/ 34 w 67"/>
              <a:gd name="T33" fmla="*/ 1 h 66"/>
              <a:gd name="T34" fmla="*/ 28 w 67"/>
              <a:gd name="T35" fmla="*/ 0 h 66"/>
              <a:gd name="T36" fmla="*/ 25 w 67"/>
              <a:gd name="T37" fmla="*/ 3 h 66"/>
              <a:gd name="T38" fmla="*/ 25 w 67"/>
              <a:gd name="T39" fmla="*/ 3 h 66"/>
              <a:gd name="T40" fmla="*/ 21 w 67"/>
              <a:gd name="T41" fmla="*/ 6 h 66"/>
              <a:gd name="T42" fmla="*/ 16 w 67"/>
              <a:gd name="T43" fmla="*/ 9 h 66"/>
              <a:gd name="T44" fmla="*/ 17 w 67"/>
              <a:gd name="T45" fmla="*/ 15 h 66"/>
              <a:gd name="T46" fmla="*/ 16 w 67"/>
              <a:gd name="T47" fmla="*/ 20 h 66"/>
              <a:gd name="T48" fmla="*/ 15 w 67"/>
              <a:gd name="T49" fmla="*/ 24 h 66"/>
              <a:gd name="T50" fmla="*/ 0 w 67"/>
              <a:gd name="T51" fmla="*/ 32 h 66"/>
              <a:gd name="T52" fmla="*/ 1 w 67"/>
              <a:gd name="T53" fmla="*/ 35 h 66"/>
              <a:gd name="T54" fmla="*/ 2 w 67"/>
              <a:gd name="T55" fmla="*/ 42 h 66"/>
              <a:gd name="T56" fmla="*/ 8 w 67"/>
              <a:gd name="T57" fmla="*/ 42 h 66"/>
              <a:gd name="T58" fmla="*/ 21 w 67"/>
              <a:gd name="T59" fmla="*/ 50 h 66"/>
              <a:gd name="T60" fmla="*/ 38 w 67"/>
              <a:gd name="T61" fmla="*/ 62 h 66"/>
              <a:gd name="T62" fmla="*/ 46 w 67"/>
              <a:gd name="T63" fmla="*/ 65 h 66"/>
              <a:gd name="T64" fmla="*/ 54 w 67"/>
              <a:gd name="T65" fmla="*/ 66 h 66"/>
              <a:gd name="T66" fmla="*/ 57 w 67"/>
              <a:gd name="T67" fmla="*/ 6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 h="66">
                <a:moveTo>
                  <a:pt x="57" y="60"/>
                </a:moveTo>
                <a:cubicBezTo>
                  <a:pt x="58" y="59"/>
                  <a:pt x="58" y="57"/>
                  <a:pt x="60" y="57"/>
                </a:cubicBezTo>
                <a:cubicBezTo>
                  <a:pt x="62" y="57"/>
                  <a:pt x="63" y="58"/>
                  <a:pt x="64" y="60"/>
                </a:cubicBezTo>
                <a:cubicBezTo>
                  <a:pt x="65" y="59"/>
                  <a:pt x="66" y="58"/>
                  <a:pt x="67" y="58"/>
                </a:cubicBezTo>
                <a:cubicBezTo>
                  <a:pt x="66" y="56"/>
                  <a:pt x="63" y="54"/>
                  <a:pt x="64" y="53"/>
                </a:cubicBezTo>
                <a:cubicBezTo>
                  <a:pt x="64" y="50"/>
                  <a:pt x="61" y="49"/>
                  <a:pt x="61" y="48"/>
                </a:cubicBezTo>
                <a:cubicBezTo>
                  <a:pt x="61" y="47"/>
                  <a:pt x="63" y="44"/>
                  <a:pt x="62" y="43"/>
                </a:cubicBezTo>
                <a:cubicBezTo>
                  <a:pt x="61" y="42"/>
                  <a:pt x="60" y="40"/>
                  <a:pt x="58" y="39"/>
                </a:cubicBezTo>
                <a:cubicBezTo>
                  <a:pt x="56" y="39"/>
                  <a:pt x="50" y="36"/>
                  <a:pt x="51" y="34"/>
                </a:cubicBezTo>
                <a:cubicBezTo>
                  <a:pt x="51" y="32"/>
                  <a:pt x="49" y="31"/>
                  <a:pt x="47" y="30"/>
                </a:cubicBezTo>
                <a:cubicBezTo>
                  <a:pt x="46" y="30"/>
                  <a:pt x="45" y="25"/>
                  <a:pt x="47" y="24"/>
                </a:cubicBezTo>
                <a:cubicBezTo>
                  <a:pt x="48" y="23"/>
                  <a:pt x="48" y="19"/>
                  <a:pt x="49" y="19"/>
                </a:cubicBezTo>
                <a:cubicBezTo>
                  <a:pt x="51" y="19"/>
                  <a:pt x="50" y="16"/>
                  <a:pt x="50" y="15"/>
                </a:cubicBezTo>
                <a:cubicBezTo>
                  <a:pt x="51" y="13"/>
                  <a:pt x="49" y="12"/>
                  <a:pt x="47" y="12"/>
                </a:cubicBezTo>
                <a:cubicBezTo>
                  <a:pt x="46" y="12"/>
                  <a:pt x="44" y="10"/>
                  <a:pt x="44" y="8"/>
                </a:cubicBezTo>
                <a:cubicBezTo>
                  <a:pt x="44" y="6"/>
                  <a:pt x="41" y="3"/>
                  <a:pt x="41" y="3"/>
                </a:cubicBezTo>
                <a:cubicBezTo>
                  <a:pt x="41" y="6"/>
                  <a:pt x="36" y="1"/>
                  <a:pt x="34" y="1"/>
                </a:cubicBezTo>
                <a:cubicBezTo>
                  <a:pt x="32" y="2"/>
                  <a:pt x="31" y="0"/>
                  <a:pt x="28" y="0"/>
                </a:cubicBezTo>
                <a:cubicBezTo>
                  <a:pt x="26" y="0"/>
                  <a:pt x="26" y="2"/>
                  <a:pt x="25" y="3"/>
                </a:cubicBezTo>
                <a:cubicBezTo>
                  <a:pt x="25" y="3"/>
                  <a:pt x="25" y="3"/>
                  <a:pt x="25" y="3"/>
                </a:cubicBezTo>
                <a:cubicBezTo>
                  <a:pt x="21" y="6"/>
                  <a:pt x="21" y="6"/>
                  <a:pt x="21" y="6"/>
                </a:cubicBezTo>
                <a:cubicBezTo>
                  <a:pt x="21" y="6"/>
                  <a:pt x="17" y="7"/>
                  <a:pt x="16" y="9"/>
                </a:cubicBezTo>
                <a:cubicBezTo>
                  <a:pt x="16" y="11"/>
                  <a:pt x="18" y="13"/>
                  <a:pt x="17" y="15"/>
                </a:cubicBezTo>
                <a:cubicBezTo>
                  <a:pt x="16" y="16"/>
                  <a:pt x="16" y="19"/>
                  <a:pt x="16" y="20"/>
                </a:cubicBezTo>
                <a:cubicBezTo>
                  <a:pt x="17" y="21"/>
                  <a:pt x="15" y="24"/>
                  <a:pt x="15" y="24"/>
                </a:cubicBezTo>
                <a:cubicBezTo>
                  <a:pt x="15" y="24"/>
                  <a:pt x="7" y="28"/>
                  <a:pt x="0" y="32"/>
                </a:cubicBezTo>
                <a:cubicBezTo>
                  <a:pt x="0" y="33"/>
                  <a:pt x="0" y="34"/>
                  <a:pt x="1" y="35"/>
                </a:cubicBezTo>
                <a:cubicBezTo>
                  <a:pt x="1" y="37"/>
                  <a:pt x="2" y="40"/>
                  <a:pt x="2" y="42"/>
                </a:cubicBezTo>
                <a:cubicBezTo>
                  <a:pt x="5" y="42"/>
                  <a:pt x="5" y="42"/>
                  <a:pt x="8" y="42"/>
                </a:cubicBezTo>
                <a:cubicBezTo>
                  <a:pt x="10" y="42"/>
                  <a:pt x="19" y="49"/>
                  <a:pt x="21" y="50"/>
                </a:cubicBezTo>
                <a:cubicBezTo>
                  <a:pt x="23" y="51"/>
                  <a:pt x="35" y="60"/>
                  <a:pt x="38" y="62"/>
                </a:cubicBezTo>
                <a:cubicBezTo>
                  <a:pt x="40" y="64"/>
                  <a:pt x="44" y="65"/>
                  <a:pt x="46" y="65"/>
                </a:cubicBezTo>
                <a:cubicBezTo>
                  <a:pt x="47" y="65"/>
                  <a:pt x="51" y="65"/>
                  <a:pt x="54" y="66"/>
                </a:cubicBezTo>
                <a:cubicBezTo>
                  <a:pt x="55" y="63"/>
                  <a:pt x="56" y="60"/>
                  <a:pt x="57" y="6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4" name="Freeform 100"/>
          <p:cNvSpPr/>
          <p:nvPr/>
        </p:nvSpPr>
        <p:spPr bwMode="auto">
          <a:xfrm>
            <a:off x="5123930" y="2532510"/>
            <a:ext cx="36513" cy="33338"/>
          </a:xfrm>
          <a:custGeom>
            <a:avLst/>
            <a:gdLst>
              <a:gd name="T0" fmla="*/ 4 w 13"/>
              <a:gd name="T1" fmla="*/ 9 h 12"/>
              <a:gd name="T2" fmla="*/ 8 w 13"/>
              <a:gd name="T3" fmla="*/ 12 h 12"/>
              <a:gd name="T4" fmla="*/ 13 w 13"/>
              <a:gd name="T5" fmla="*/ 12 h 12"/>
              <a:gd name="T6" fmla="*/ 10 w 13"/>
              <a:gd name="T7" fmla="*/ 4 h 12"/>
              <a:gd name="T8" fmla="*/ 10 w 13"/>
              <a:gd name="T9" fmla="*/ 3 h 12"/>
              <a:gd name="T10" fmla="*/ 6 w 13"/>
              <a:gd name="T11" fmla="*/ 0 h 12"/>
              <a:gd name="T12" fmla="*/ 3 w 13"/>
              <a:gd name="T13" fmla="*/ 3 h 12"/>
              <a:gd name="T14" fmla="*/ 0 w 13"/>
              <a:gd name="T15" fmla="*/ 9 h 12"/>
              <a:gd name="T16" fmla="*/ 4 w 13"/>
              <a:gd name="T17"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4" y="9"/>
                </a:moveTo>
                <a:cubicBezTo>
                  <a:pt x="8" y="12"/>
                  <a:pt x="8" y="12"/>
                  <a:pt x="8" y="12"/>
                </a:cubicBezTo>
                <a:cubicBezTo>
                  <a:pt x="13" y="12"/>
                  <a:pt x="13" y="12"/>
                  <a:pt x="13" y="12"/>
                </a:cubicBezTo>
                <a:cubicBezTo>
                  <a:pt x="12" y="9"/>
                  <a:pt x="10" y="5"/>
                  <a:pt x="10" y="4"/>
                </a:cubicBezTo>
                <a:cubicBezTo>
                  <a:pt x="10" y="3"/>
                  <a:pt x="10" y="3"/>
                  <a:pt x="10" y="3"/>
                </a:cubicBezTo>
                <a:cubicBezTo>
                  <a:pt x="9" y="1"/>
                  <a:pt x="8" y="0"/>
                  <a:pt x="6" y="0"/>
                </a:cubicBezTo>
                <a:cubicBezTo>
                  <a:pt x="4" y="0"/>
                  <a:pt x="4" y="2"/>
                  <a:pt x="3" y="3"/>
                </a:cubicBezTo>
                <a:cubicBezTo>
                  <a:pt x="2" y="3"/>
                  <a:pt x="1" y="6"/>
                  <a:pt x="0" y="9"/>
                </a:cubicBezTo>
                <a:cubicBezTo>
                  <a:pt x="2" y="9"/>
                  <a:pt x="4" y="9"/>
                  <a:pt x="4" y="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5" name="Freeform 101"/>
          <p:cNvSpPr>
            <a:spLocks noEditPoints="1"/>
          </p:cNvSpPr>
          <p:nvPr/>
        </p:nvSpPr>
        <p:spPr bwMode="auto">
          <a:xfrm>
            <a:off x="4122217" y="2037210"/>
            <a:ext cx="287338" cy="241300"/>
          </a:xfrm>
          <a:custGeom>
            <a:avLst/>
            <a:gdLst>
              <a:gd name="T0" fmla="*/ 89 w 101"/>
              <a:gd name="T1" fmla="*/ 20 h 85"/>
              <a:gd name="T2" fmla="*/ 85 w 101"/>
              <a:gd name="T3" fmla="*/ 18 h 85"/>
              <a:gd name="T4" fmla="*/ 81 w 101"/>
              <a:gd name="T5" fmla="*/ 16 h 85"/>
              <a:gd name="T6" fmla="*/ 73 w 101"/>
              <a:gd name="T7" fmla="*/ 15 h 85"/>
              <a:gd name="T8" fmla="*/ 70 w 101"/>
              <a:gd name="T9" fmla="*/ 13 h 85"/>
              <a:gd name="T10" fmla="*/ 68 w 101"/>
              <a:gd name="T11" fmla="*/ 9 h 85"/>
              <a:gd name="T12" fmla="*/ 65 w 101"/>
              <a:gd name="T13" fmla="*/ 11 h 85"/>
              <a:gd name="T14" fmla="*/ 63 w 101"/>
              <a:gd name="T15" fmla="*/ 9 h 85"/>
              <a:gd name="T16" fmla="*/ 59 w 101"/>
              <a:gd name="T17" fmla="*/ 6 h 85"/>
              <a:gd name="T18" fmla="*/ 55 w 101"/>
              <a:gd name="T19" fmla="*/ 4 h 85"/>
              <a:gd name="T20" fmla="*/ 53 w 101"/>
              <a:gd name="T21" fmla="*/ 1 h 85"/>
              <a:gd name="T22" fmla="*/ 52 w 101"/>
              <a:gd name="T23" fmla="*/ 0 h 85"/>
              <a:gd name="T24" fmla="*/ 50 w 101"/>
              <a:gd name="T25" fmla="*/ 1 h 85"/>
              <a:gd name="T26" fmla="*/ 46 w 101"/>
              <a:gd name="T27" fmla="*/ 7 h 85"/>
              <a:gd name="T28" fmla="*/ 39 w 101"/>
              <a:gd name="T29" fmla="*/ 11 h 85"/>
              <a:gd name="T30" fmla="*/ 34 w 101"/>
              <a:gd name="T31" fmla="*/ 16 h 85"/>
              <a:gd name="T32" fmla="*/ 26 w 101"/>
              <a:gd name="T33" fmla="*/ 13 h 85"/>
              <a:gd name="T34" fmla="*/ 22 w 101"/>
              <a:gd name="T35" fmla="*/ 16 h 85"/>
              <a:gd name="T36" fmla="*/ 23 w 101"/>
              <a:gd name="T37" fmla="*/ 23 h 85"/>
              <a:gd name="T38" fmla="*/ 17 w 101"/>
              <a:gd name="T39" fmla="*/ 23 h 85"/>
              <a:gd name="T40" fmla="*/ 13 w 101"/>
              <a:gd name="T41" fmla="*/ 21 h 85"/>
              <a:gd name="T42" fmla="*/ 6 w 101"/>
              <a:gd name="T43" fmla="*/ 22 h 85"/>
              <a:gd name="T44" fmla="*/ 2 w 101"/>
              <a:gd name="T45" fmla="*/ 25 h 85"/>
              <a:gd name="T46" fmla="*/ 2 w 101"/>
              <a:gd name="T47" fmla="*/ 29 h 85"/>
              <a:gd name="T48" fmla="*/ 12 w 101"/>
              <a:gd name="T49" fmla="*/ 32 h 85"/>
              <a:gd name="T50" fmla="*/ 18 w 101"/>
              <a:gd name="T51" fmla="*/ 34 h 85"/>
              <a:gd name="T52" fmla="*/ 20 w 101"/>
              <a:gd name="T53" fmla="*/ 37 h 85"/>
              <a:gd name="T54" fmla="*/ 25 w 101"/>
              <a:gd name="T55" fmla="*/ 43 h 85"/>
              <a:gd name="T56" fmla="*/ 27 w 101"/>
              <a:gd name="T57" fmla="*/ 48 h 85"/>
              <a:gd name="T58" fmla="*/ 26 w 101"/>
              <a:gd name="T59" fmla="*/ 56 h 85"/>
              <a:gd name="T60" fmla="*/ 23 w 101"/>
              <a:gd name="T61" fmla="*/ 69 h 85"/>
              <a:gd name="T62" fmla="*/ 22 w 101"/>
              <a:gd name="T63" fmla="*/ 69 h 85"/>
              <a:gd name="T64" fmla="*/ 26 w 101"/>
              <a:gd name="T65" fmla="*/ 71 h 85"/>
              <a:gd name="T66" fmla="*/ 33 w 101"/>
              <a:gd name="T67" fmla="*/ 74 h 85"/>
              <a:gd name="T68" fmla="*/ 38 w 101"/>
              <a:gd name="T69" fmla="*/ 73 h 85"/>
              <a:gd name="T70" fmla="*/ 42 w 101"/>
              <a:gd name="T71" fmla="*/ 74 h 85"/>
              <a:gd name="T72" fmla="*/ 50 w 101"/>
              <a:gd name="T73" fmla="*/ 76 h 85"/>
              <a:gd name="T74" fmla="*/ 57 w 101"/>
              <a:gd name="T75" fmla="*/ 76 h 85"/>
              <a:gd name="T76" fmla="*/ 56 w 101"/>
              <a:gd name="T77" fmla="*/ 75 h 85"/>
              <a:gd name="T78" fmla="*/ 62 w 101"/>
              <a:gd name="T79" fmla="*/ 68 h 85"/>
              <a:gd name="T80" fmla="*/ 75 w 101"/>
              <a:gd name="T81" fmla="*/ 71 h 85"/>
              <a:gd name="T82" fmla="*/ 83 w 101"/>
              <a:gd name="T83" fmla="*/ 68 h 85"/>
              <a:gd name="T84" fmla="*/ 87 w 101"/>
              <a:gd name="T85" fmla="*/ 65 h 85"/>
              <a:gd name="T86" fmla="*/ 88 w 101"/>
              <a:gd name="T87" fmla="*/ 63 h 85"/>
              <a:gd name="T88" fmla="*/ 85 w 101"/>
              <a:gd name="T89" fmla="*/ 62 h 85"/>
              <a:gd name="T90" fmla="*/ 83 w 101"/>
              <a:gd name="T91" fmla="*/ 58 h 85"/>
              <a:gd name="T92" fmla="*/ 81 w 101"/>
              <a:gd name="T93" fmla="*/ 55 h 85"/>
              <a:gd name="T94" fmla="*/ 82 w 101"/>
              <a:gd name="T95" fmla="*/ 53 h 85"/>
              <a:gd name="T96" fmla="*/ 84 w 101"/>
              <a:gd name="T97" fmla="*/ 50 h 85"/>
              <a:gd name="T98" fmla="*/ 83 w 101"/>
              <a:gd name="T99" fmla="*/ 47 h 85"/>
              <a:gd name="T100" fmla="*/ 82 w 101"/>
              <a:gd name="T101" fmla="*/ 44 h 85"/>
              <a:gd name="T102" fmla="*/ 79 w 101"/>
              <a:gd name="T103" fmla="*/ 43 h 85"/>
              <a:gd name="T104" fmla="*/ 78 w 101"/>
              <a:gd name="T105" fmla="*/ 41 h 85"/>
              <a:gd name="T106" fmla="*/ 82 w 101"/>
              <a:gd name="T107" fmla="*/ 36 h 85"/>
              <a:gd name="T108" fmla="*/ 86 w 101"/>
              <a:gd name="T109" fmla="*/ 33 h 85"/>
              <a:gd name="T110" fmla="*/ 87 w 101"/>
              <a:gd name="T111" fmla="*/ 28 h 85"/>
              <a:gd name="T112" fmla="*/ 90 w 101"/>
              <a:gd name="T113" fmla="*/ 22 h 85"/>
              <a:gd name="T114" fmla="*/ 89 w 101"/>
              <a:gd name="T115" fmla="*/ 20 h 85"/>
              <a:gd name="T116" fmla="*/ 100 w 101"/>
              <a:gd name="T117" fmla="*/ 71 h 85"/>
              <a:gd name="T118" fmla="*/ 95 w 101"/>
              <a:gd name="T119" fmla="*/ 75 h 85"/>
              <a:gd name="T120" fmla="*/ 98 w 101"/>
              <a:gd name="T121" fmla="*/ 84 h 85"/>
              <a:gd name="T122" fmla="*/ 100 w 101"/>
              <a:gd name="T123" fmla="*/ 7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 h="85">
                <a:moveTo>
                  <a:pt x="89" y="20"/>
                </a:moveTo>
                <a:cubicBezTo>
                  <a:pt x="88" y="20"/>
                  <a:pt x="87" y="18"/>
                  <a:pt x="85" y="18"/>
                </a:cubicBezTo>
                <a:cubicBezTo>
                  <a:pt x="83" y="18"/>
                  <a:pt x="82" y="17"/>
                  <a:pt x="81" y="16"/>
                </a:cubicBezTo>
                <a:cubicBezTo>
                  <a:pt x="80" y="15"/>
                  <a:pt x="75" y="15"/>
                  <a:pt x="73" y="15"/>
                </a:cubicBezTo>
                <a:cubicBezTo>
                  <a:pt x="72" y="15"/>
                  <a:pt x="71" y="12"/>
                  <a:pt x="70" y="13"/>
                </a:cubicBezTo>
                <a:cubicBezTo>
                  <a:pt x="68" y="13"/>
                  <a:pt x="68" y="11"/>
                  <a:pt x="68" y="9"/>
                </a:cubicBezTo>
                <a:cubicBezTo>
                  <a:pt x="68" y="8"/>
                  <a:pt x="66" y="10"/>
                  <a:pt x="65" y="11"/>
                </a:cubicBezTo>
                <a:cubicBezTo>
                  <a:pt x="63" y="12"/>
                  <a:pt x="63" y="10"/>
                  <a:pt x="63" y="9"/>
                </a:cubicBezTo>
                <a:cubicBezTo>
                  <a:pt x="63" y="8"/>
                  <a:pt x="60" y="7"/>
                  <a:pt x="59" y="6"/>
                </a:cubicBezTo>
                <a:cubicBezTo>
                  <a:pt x="57" y="5"/>
                  <a:pt x="56" y="3"/>
                  <a:pt x="55" y="4"/>
                </a:cubicBezTo>
                <a:cubicBezTo>
                  <a:pt x="54" y="5"/>
                  <a:pt x="53" y="2"/>
                  <a:pt x="53" y="1"/>
                </a:cubicBezTo>
                <a:cubicBezTo>
                  <a:pt x="53" y="1"/>
                  <a:pt x="52" y="1"/>
                  <a:pt x="52" y="0"/>
                </a:cubicBezTo>
                <a:cubicBezTo>
                  <a:pt x="51" y="1"/>
                  <a:pt x="51" y="1"/>
                  <a:pt x="50" y="1"/>
                </a:cubicBezTo>
                <a:cubicBezTo>
                  <a:pt x="48" y="1"/>
                  <a:pt x="46" y="2"/>
                  <a:pt x="46" y="7"/>
                </a:cubicBezTo>
                <a:cubicBezTo>
                  <a:pt x="46" y="11"/>
                  <a:pt x="43" y="11"/>
                  <a:pt x="39" y="11"/>
                </a:cubicBezTo>
                <a:cubicBezTo>
                  <a:pt x="35" y="12"/>
                  <a:pt x="36" y="15"/>
                  <a:pt x="34" y="16"/>
                </a:cubicBezTo>
                <a:cubicBezTo>
                  <a:pt x="33" y="18"/>
                  <a:pt x="27" y="15"/>
                  <a:pt x="26" y="13"/>
                </a:cubicBezTo>
                <a:cubicBezTo>
                  <a:pt x="25" y="11"/>
                  <a:pt x="19" y="13"/>
                  <a:pt x="22" y="16"/>
                </a:cubicBezTo>
                <a:cubicBezTo>
                  <a:pt x="24" y="19"/>
                  <a:pt x="24" y="22"/>
                  <a:pt x="23" y="23"/>
                </a:cubicBezTo>
                <a:cubicBezTo>
                  <a:pt x="21" y="24"/>
                  <a:pt x="19" y="22"/>
                  <a:pt x="17" y="23"/>
                </a:cubicBezTo>
                <a:cubicBezTo>
                  <a:pt x="15" y="24"/>
                  <a:pt x="15" y="22"/>
                  <a:pt x="13" y="21"/>
                </a:cubicBezTo>
                <a:cubicBezTo>
                  <a:pt x="10" y="20"/>
                  <a:pt x="9" y="22"/>
                  <a:pt x="6" y="22"/>
                </a:cubicBezTo>
                <a:cubicBezTo>
                  <a:pt x="2" y="21"/>
                  <a:pt x="0" y="23"/>
                  <a:pt x="2" y="25"/>
                </a:cubicBezTo>
                <a:cubicBezTo>
                  <a:pt x="3" y="26"/>
                  <a:pt x="1" y="28"/>
                  <a:pt x="2" y="29"/>
                </a:cubicBezTo>
                <a:cubicBezTo>
                  <a:pt x="3" y="30"/>
                  <a:pt x="8" y="30"/>
                  <a:pt x="12" y="32"/>
                </a:cubicBezTo>
                <a:cubicBezTo>
                  <a:pt x="15" y="34"/>
                  <a:pt x="16" y="32"/>
                  <a:pt x="18" y="34"/>
                </a:cubicBezTo>
                <a:cubicBezTo>
                  <a:pt x="19" y="35"/>
                  <a:pt x="20" y="34"/>
                  <a:pt x="20" y="37"/>
                </a:cubicBezTo>
                <a:cubicBezTo>
                  <a:pt x="20" y="39"/>
                  <a:pt x="22" y="42"/>
                  <a:pt x="25" y="43"/>
                </a:cubicBezTo>
                <a:cubicBezTo>
                  <a:pt x="29" y="44"/>
                  <a:pt x="26" y="46"/>
                  <a:pt x="27" y="48"/>
                </a:cubicBezTo>
                <a:cubicBezTo>
                  <a:pt x="28" y="50"/>
                  <a:pt x="25" y="54"/>
                  <a:pt x="26" y="56"/>
                </a:cubicBezTo>
                <a:cubicBezTo>
                  <a:pt x="26" y="59"/>
                  <a:pt x="24" y="68"/>
                  <a:pt x="23" y="69"/>
                </a:cubicBezTo>
                <a:cubicBezTo>
                  <a:pt x="23" y="69"/>
                  <a:pt x="22" y="69"/>
                  <a:pt x="22" y="69"/>
                </a:cubicBezTo>
                <a:cubicBezTo>
                  <a:pt x="24" y="70"/>
                  <a:pt x="25" y="70"/>
                  <a:pt x="26" y="71"/>
                </a:cubicBezTo>
                <a:cubicBezTo>
                  <a:pt x="28" y="72"/>
                  <a:pt x="31" y="73"/>
                  <a:pt x="33" y="74"/>
                </a:cubicBezTo>
                <a:cubicBezTo>
                  <a:pt x="35" y="75"/>
                  <a:pt x="38" y="75"/>
                  <a:pt x="38" y="73"/>
                </a:cubicBezTo>
                <a:cubicBezTo>
                  <a:pt x="38" y="72"/>
                  <a:pt x="40" y="73"/>
                  <a:pt x="42" y="74"/>
                </a:cubicBezTo>
                <a:cubicBezTo>
                  <a:pt x="43" y="75"/>
                  <a:pt x="48" y="76"/>
                  <a:pt x="50" y="76"/>
                </a:cubicBezTo>
                <a:cubicBezTo>
                  <a:pt x="52" y="77"/>
                  <a:pt x="54" y="76"/>
                  <a:pt x="57" y="76"/>
                </a:cubicBezTo>
                <a:cubicBezTo>
                  <a:pt x="57" y="76"/>
                  <a:pt x="57" y="75"/>
                  <a:pt x="56" y="75"/>
                </a:cubicBezTo>
                <a:cubicBezTo>
                  <a:pt x="55" y="71"/>
                  <a:pt x="59" y="68"/>
                  <a:pt x="62" y="68"/>
                </a:cubicBezTo>
                <a:cubicBezTo>
                  <a:pt x="65" y="67"/>
                  <a:pt x="73" y="69"/>
                  <a:pt x="75" y="71"/>
                </a:cubicBezTo>
                <a:cubicBezTo>
                  <a:pt x="77" y="72"/>
                  <a:pt x="79" y="71"/>
                  <a:pt x="83" y="68"/>
                </a:cubicBezTo>
                <a:cubicBezTo>
                  <a:pt x="84" y="66"/>
                  <a:pt x="86" y="65"/>
                  <a:pt x="87" y="65"/>
                </a:cubicBezTo>
                <a:cubicBezTo>
                  <a:pt x="87" y="64"/>
                  <a:pt x="88" y="63"/>
                  <a:pt x="88" y="63"/>
                </a:cubicBezTo>
                <a:cubicBezTo>
                  <a:pt x="88" y="62"/>
                  <a:pt x="86" y="62"/>
                  <a:pt x="85" y="62"/>
                </a:cubicBezTo>
                <a:cubicBezTo>
                  <a:pt x="83" y="62"/>
                  <a:pt x="82" y="60"/>
                  <a:pt x="83" y="58"/>
                </a:cubicBezTo>
                <a:cubicBezTo>
                  <a:pt x="84" y="57"/>
                  <a:pt x="82" y="57"/>
                  <a:pt x="81" y="55"/>
                </a:cubicBezTo>
                <a:cubicBezTo>
                  <a:pt x="80" y="53"/>
                  <a:pt x="82" y="54"/>
                  <a:pt x="82" y="53"/>
                </a:cubicBezTo>
                <a:cubicBezTo>
                  <a:pt x="83" y="53"/>
                  <a:pt x="85" y="51"/>
                  <a:pt x="84" y="50"/>
                </a:cubicBezTo>
                <a:cubicBezTo>
                  <a:pt x="83" y="50"/>
                  <a:pt x="82" y="49"/>
                  <a:pt x="83" y="47"/>
                </a:cubicBezTo>
                <a:cubicBezTo>
                  <a:pt x="84" y="45"/>
                  <a:pt x="82" y="45"/>
                  <a:pt x="82" y="44"/>
                </a:cubicBezTo>
                <a:cubicBezTo>
                  <a:pt x="82" y="42"/>
                  <a:pt x="80" y="42"/>
                  <a:pt x="79" y="43"/>
                </a:cubicBezTo>
                <a:cubicBezTo>
                  <a:pt x="77" y="45"/>
                  <a:pt x="77" y="44"/>
                  <a:pt x="78" y="41"/>
                </a:cubicBezTo>
                <a:cubicBezTo>
                  <a:pt x="79" y="38"/>
                  <a:pt x="82" y="37"/>
                  <a:pt x="82" y="36"/>
                </a:cubicBezTo>
                <a:cubicBezTo>
                  <a:pt x="83" y="34"/>
                  <a:pt x="84" y="33"/>
                  <a:pt x="86" y="33"/>
                </a:cubicBezTo>
                <a:cubicBezTo>
                  <a:pt x="87" y="33"/>
                  <a:pt x="87" y="30"/>
                  <a:pt x="87" y="28"/>
                </a:cubicBezTo>
                <a:cubicBezTo>
                  <a:pt x="88" y="26"/>
                  <a:pt x="88" y="24"/>
                  <a:pt x="90" y="22"/>
                </a:cubicBezTo>
                <a:cubicBezTo>
                  <a:pt x="92" y="20"/>
                  <a:pt x="90" y="19"/>
                  <a:pt x="89" y="20"/>
                </a:cubicBezTo>
                <a:close/>
                <a:moveTo>
                  <a:pt x="100" y="71"/>
                </a:moveTo>
                <a:cubicBezTo>
                  <a:pt x="98" y="71"/>
                  <a:pt x="98" y="73"/>
                  <a:pt x="95" y="75"/>
                </a:cubicBezTo>
                <a:cubicBezTo>
                  <a:pt x="92" y="77"/>
                  <a:pt x="95" y="85"/>
                  <a:pt x="98" y="84"/>
                </a:cubicBezTo>
                <a:cubicBezTo>
                  <a:pt x="101" y="84"/>
                  <a:pt x="101" y="71"/>
                  <a:pt x="100" y="71"/>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96" name="Freeform 102"/>
          <p:cNvSpPr/>
          <p:nvPr/>
        </p:nvSpPr>
        <p:spPr bwMode="auto">
          <a:xfrm>
            <a:off x="2437880" y="2859535"/>
            <a:ext cx="46038" cy="25400"/>
          </a:xfrm>
          <a:custGeom>
            <a:avLst/>
            <a:gdLst>
              <a:gd name="T0" fmla="*/ 16 w 16"/>
              <a:gd name="T1" fmla="*/ 4 h 9"/>
              <a:gd name="T2" fmla="*/ 8 w 16"/>
              <a:gd name="T3" fmla="*/ 2 h 9"/>
              <a:gd name="T4" fmla="*/ 5 w 16"/>
              <a:gd name="T5" fmla="*/ 0 h 9"/>
              <a:gd name="T6" fmla="*/ 5 w 16"/>
              <a:gd name="T7" fmla="*/ 1 h 9"/>
              <a:gd name="T8" fmla="*/ 0 w 16"/>
              <a:gd name="T9" fmla="*/ 5 h 9"/>
              <a:gd name="T10" fmla="*/ 13 w 16"/>
              <a:gd name="T11" fmla="*/ 9 h 9"/>
              <a:gd name="T12" fmla="*/ 15 w 16"/>
              <a:gd name="T13" fmla="*/ 8 h 9"/>
              <a:gd name="T14" fmla="*/ 16 w 16"/>
              <a:gd name="T15" fmla="*/ 4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9">
                <a:moveTo>
                  <a:pt x="16" y="4"/>
                </a:moveTo>
                <a:cubicBezTo>
                  <a:pt x="14" y="2"/>
                  <a:pt x="11" y="4"/>
                  <a:pt x="8" y="2"/>
                </a:cubicBezTo>
                <a:cubicBezTo>
                  <a:pt x="7" y="1"/>
                  <a:pt x="6" y="1"/>
                  <a:pt x="5" y="0"/>
                </a:cubicBezTo>
                <a:cubicBezTo>
                  <a:pt x="5" y="0"/>
                  <a:pt x="5" y="1"/>
                  <a:pt x="5" y="1"/>
                </a:cubicBezTo>
                <a:cubicBezTo>
                  <a:pt x="4" y="1"/>
                  <a:pt x="2" y="3"/>
                  <a:pt x="0" y="5"/>
                </a:cubicBezTo>
                <a:cubicBezTo>
                  <a:pt x="2" y="6"/>
                  <a:pt x="11" y="9"/>
                  <a:pt x="13" y="9"/>
                </a:cubicBezTo>
                <a:cubicBezTo>
                  <a:pt x="14" y="9"/>
                  <a:pt x="15" y="9"/>
                  <a:pt x="15" y="8"/>
                </a:cubicBezTo>
                <a:cubicBezTo>
                  <a:pt x="16" y="6"/>
                  <a:pt x="16" y="4"/>
                  <a:pt x="16" y="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7" name="Freeform 103"/>
          <p:cNvSpPr/>
          <p:nvPr/>
        </p:nvSpPr>
        <p:spPr bwMode="auto">
          <a:xfrm>
            <a:off x="2452167" y="2823023"/>
            <a:ext cx="120650" cy="68263"/>
          </a:xfrm>
          <a:custGeom>
            <a:avLst/>
            <a:gdLst>
              <a:gd name="T0" fmla="*/ 18 w 42"/>
              <a:gd name="T1" fmla="*/ 21 h 24"/>
              <a:gd name="T2" fmla="*/ 20 w 42"/>
              <a:gd name="T3" fmla="*/ 17 h 24"/>
              <a:gd name="T4" fmla="*/ 27 w 42"/>
              <a:gd name="T5" fmla="*/ 14 h 24"/>
              <a:gd name="T6" fmla="*/ 34 w 42"/>
              <a:gd name="T7" fmla="*/ 12 h 24"/>
              <a:gd name="T8" fmla="*/ 42 w 42"/>
              <a:gd name="T9" fmla="*/ 9 h 24"/>
              <a:gd name="T10" fmla="*/ 34 w 42"/>
              <a:gd name="T11" fmla="*/ 4 h 24"/>
              <a:gd name="T12" fmla="*/ 20 w 42"/>
              <a:gd name="T13" fmla="*/ 3 h 24"/>
              <a:gd name="T14" fmla="*/ 7 w 42"/>
              <a:gd name="T15" fmla="*/ 4 h 24"/>
              <a:gd name="T16" fmla="*/ 7 w 42"/>
              <a:gd name="T17" fmla="*/ 4 h 24"/>
              <a:gd name="T18" fmla="*/ 3 w 42"/>
              <a:gd name="T19" fmla="*/ 8 h 24"/>
              <a:gd name="T20" fmla="*/ 0 w 42"/>
              <a:gd name="T21" fmla="*/ 13 h 24"/>
              <a:gd name="T22" fmla="*/ 3 w 42"/>
              <a:gd name="T23" fmla="*/ 15 h 24"/>
              <a:gd name="T24" fmla="*/ 11 w 42"/>
              <a:gd name="T25" fmla="*/ 17 h 24"/>
              <a:gd name="T26" fmla="*/ 10 w 42"/>
              <a:gd name="T27" fmla="*/ 21 h 24"/>
              <a:gd name="T28" fmla="*/ 13 w 42"/>
              <a:gd name="T29" fmla="*/ 21 h 24"/>
              <a:gd name="T30" fmla="*/ 13 w 42"/>
              <a:gd name="T31" fmla="*/ 24 h 24"/>
              <a:gd name="T32" fmla="*/ 16 w 42"/>
              <a:gd name="T33" fmla="*/ 23 h 24"/>
              <a:gd name="T34" fmla="*/ 18 w 42"/>
              <a:gd name="T35"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24">
                <a:moveTo>
                  <a:pt x="18" y="21"/>
                </a:moveTo>
                <a:cubicBezTo>
                  <a:pt x="18" y="21"/>
                  <a:pt x="16" y="17"/>
                  <a:pt x="20" y="17"/>
                </a:cubicBezTo>
                <a:cubicBezTo>
                  <a:pt x="24" y="17"/>
                  <a:pt x="27" y="16"/>
                  <a:pt x="27" y="14"/>
                </a:cubicBezTo>
                <a:cubicBezTo>
                  <a:pt x="28" y="11"/>
                  <a:pt x="33" y="13"/>
                  <a:pt x="34" y="12"/>
                </a:cubicBezTo>
                <a:cubicBezTo>
                  <a:pt x="35" y="12"/>
                  <a:pt x="39" y="9"/>
                  <a:pt x="42" y="9"/>
                </a:cubicBezTo>
                <a:cubicBezTo>
                  <a:pt x="42" y="6"/>
                  <a:pt x="38" y="7"/>
                  <a:pt x="34" y="4"/>
                </a:cubicBezTo>
                <a:cubicBezTo>
                  <a:pt x="31" y="0"/>
                  <a:pt x="24" y="2"/>
                  <a:pt x="20" y="3"/>
                </a:cubicBezTo>
                <a:cubicBezTo>
                  <a:pt x="16" y="5"/>
                  <a:pt x="11" y="2"/>
                  <a:pt x="7" y="4"/>
                </a:cubicBezTo>
                <a:cubicBezTo>
                  <a:pt x="7" y="4"/>
                  <a:pt x="7" y="4"/>
                  <a:pt x="7" y="4"/>
                </a:cubicBezTo>
                <a:cubicBezTo>
                  <a:pt x="6" y="5"/>
                  <a:pt x="5" y="7"/>
                  <a:pt x="3" y="8"/>
                </a:cubicBezTo>
                <a:cubicBezTo>
                  <a:pt x="0" y="10"/>
                  <a:pt x="1" y="13"/>
                  <a:pt x="0" y="13"/>
                </a:cubicBezTo>
                <a:cubicBezTo>
                  <a:pt x="1" y="14"/>
                  <a:pt x="2" y="14"/>
                  <a:pt x="3" y="15"/>
                </a:cubicBezTo>
                <a:cubicBezTo>
                  <a:pt x="6" y="17"/>
                  <a:pt x="9" y="15"/>
                  <a:pt x="11" y="17"/>
                </a:cubicBezTo>
                <a:cubicBezTo>
                  <a:pt x="11" y="17"/>
                  <a:pt x="11" y="19"/>
                  <a:pt x="10" y="21"/>
                </a:cubicBezTo>
                <a:cubicBezTo>
                  <a:pt x="11" y="21"/>
                  <a:pt x="12" y="20"/>
                  <a:pt x="13" y="21"/>
                </a:cubicBezTo>
                <a:cubicBezTo>
                  <a:pt x="13" y="22"/>
                  <a:pt x="13" y="23"/>
                  <a:pt x="13" y="24"/>
                </a:cubicBezTo>
                <a:cubicBezTo>
                  <a:pt x="16" y="23"/>
                  <a:pt x="16" y="23"/>
                  <a:pt x="16" y="23"/>
                </a:cubicBezTo>
                <a:cubicBezTo>
                  <a:pt x="16" y="23"/>
                  <a:pt x="17" y="22"/>
                  <a:pt x="18" y="2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 name="Freeform 104"/>
          <p:cNvSpPr/>
          <p:nvPr/>
        </p:nvSpPr>
        <p:spPr bwMode="auto">
          <a:xfrm>
            <a:off x="1909242" y="2478535"/>
            <a:ext cx="595313" cy="369888"/>
          </a:xfrm>
          <a:custGeom>
            <a:avLst/>
            <a:gdLst>
              <a:gd name="T0" fmla="*/ 183 w 209"/>
              <a:gd name="T1" fmla="*/ 122 h 130"/>
              <a:gd name="T2" fmla="*/ 180 w 209"/>
              <a:gd name="T3" fmla="*/ 110 h 130"/>
              <a:gd name="T4" fmla="*/ 197 w 209"/>
              <a:gd name="T5" fmla="*/ 106 h 130"/>
              <a:gd name="T6" fmla="*/ 204 w 209"/>
              <a:gd name="T7" fmla="*/ 98 h 130"/>
              <a:gd name="T8" fmla="*/ 209 w 209"/>
              <a:gd name="T9" fmla="*/ 85 h 130"/>
              <a:gd name="T10" fmla="*/ 192 w 209"/>
              <a:gd name="T11" fmla="*/ 84 h 130"/>
              <a:gd name="T12" fmla="*/ 181 w 209"/>
              <a:gd name="T13" fmla="*/ 98 h 130"/>
              <a:gd name="T14" fmla="*/ 171 w 209"/>
              <a:gd name="T15" fmla="*/ 104 h 130"/>
              <a:gd name="T16" fmla="*/ 147 w 209"/>
              <a:gd name="T17" fmla="*/ 104 h 130"/>
              <a:gd name="T18" fmla="*/ 136 w 209"/>
              <a:gd name="T19" fmla="*/ 87 h 130"/>
              <a:gd name="T20" fmla="*/ 136 w 209"/>
              <a:gd name="T21" fmla="*/ 55 h 130"/>
              <a:gd name="T22" fmla="*/ 133 w 209"/>
              <a:gd name="T23" fmla="*/ 51 h 130"/>
              <a:gd name="T24" fmla="*/ 122 w 209"/>
              <a:gd name="T25" fmla="*/ 43 h 130"/>
              <a:gd name="T26" fmla="*/ 114 w 209"/>
              <a:gd name="T27" fmla="*/ 29 h 130"/>
              <a:gd name="T28" fmla="*/ 96 w 209"/>
              <a:gd name="T29" fmla="*/ 28 h 130"/>
              <a:gd name="T30" fmla="*/ 86 w 209"/>
              <a:gd name="T31" fmla="*/ 20 h 130"/>
              <a:gd name="T32" fmla="*/ 73 w 209"/>
              <a:gd name="T33" fmla="*/ 7 h 130"/>
              <a:gd name="T34" fmla="*/ 60 w 209"/>
              <a:gd name="T35" fmla="*/ 10 h 130"/>
              <a:gd name="T36" fmla="*/ 23 w 209"/>
              <a:gd name="T37" fmla="*/ 4 h 130"/>
              <a:gd name="T38" fmla="*/ 0 w 209"/>
              <a:gd name="T39" fmla="*/ 2 h 130"/>
              <a:gd name="T40" fmla="*/ 9 w 209"/>
              <a:gd name="T41" fmla="*/ 21 h 130"/>
              <a:gd name="T42" fmla="*/ 21 w 209"/>
              <a:gd name="T43" fmla="*/ 37 h 130"/>
              <a:gd name="T44" fmla="*/ 24 w 209"/>
              <a:gd name="T45" fmla="*/ 44 h 130"/>
              <a:gd name="T46" fmla="*/ 33 w 209"/>
              <a:gd name="T47" fmla="*/ 57 h 130"/>
              <a:gd name="T48" fmla="*/ 49 w 209"/>
              <a:gd name="T49" fmla="*/ 73 h 130"/>
              <a:gd name="T50" fmla="*/ 51 w 209"/>
              <a:gd name="T51" fmla="*/ 66 h 130"/>
              <a:gd name="T52" fmla="*/ 43 w 209"/>
              <a:gd name="T53" fmla="*/ 57 h 130"/>
              <a:gd name="T54" fmla="*/ 31 w 209"/>
              <a:gd name="T55" fmla="*/ 37 h 130"/>
              <a:gd name="T56" fmla="*/ 26 w 209"/>
              <a:gd name="T57" fmla="*/ 26 h 130"/>
              <a:gd name="T58" fmla="*/ 17 w 209"/>
              <a:gd name="T59" fmla="*/ 18 h 130"/>
              <a:gd name="T60" fmla="*/ 17 w 209"/>
              <a:gd name="T61" fmla="*/ 7 h 130"/>
              <a:gd name="T62" fmla="*/ 23 w 209"/>
              <a:gd name="T63" fmla="*/ 10 h 130"/>
              <a:gd name="T64" fmla="*/ 29 w 209"/>
              <a:gd name="T65" fmla="*/ 19 h 130"/>
              <a:gd name="T66" fmla="*/ 34 w 209"/>
              <a:gd name="T67" fmla="*/ 29 h 130"/>
              <a:gd name="T68" fmla="*/ 44 w 209"/>
              <a:gd name="T69" fmla="*/ 37 h 130"/>
              <a:gd name="T70" fmla="*/ 52 w 209"/>
              <a:gd name="T71" fmla="*/ 45 h 130"/>
              <a:gd name="T72" fmla="*/ 58 w 209"/>
              <a:gd name="T73" fmla="*/ 55 h 130"/>
              <a:gd name="T74" fmla="*/ 78 w 209"/>
              <a:gd name="T75" fmla="*/ 76 h 130"/>
              <a:gd name="T76" fmla="*/ 81 w 209"/>
              <a:gd name="T77" fmla="*/ 89 h 130"/>
              <a:gd name="T78" fmla="*/ 85 w 209"/>
              <a:gd name="T79" fmla="*/ 100 h 130"/>
              <a:gd name="T80" fmla="*/ 105 w 209"/>
              <a:gd name="T81" fmla="*/ 110 h 130"/>
              <a:gd name="T82" fmla="*/ 135 w 209"/>
              <a:gd name="T83" fmla="*/ 124 h 130"/>
              <a:gd name="T84" fmla="*/ 161 w 209"/>
              <a:gd name="T85" fmla="*/ 125 h 130"/>
              <a:gd name="T86" fmla="*/ 174 w 209"/>
              <a:gd name="T87" fmla="*/ 123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9" h="130">
                <a:moveTo>
                  <a:pt x="174" y="123"/>
                </a:moveTo>
                <a:cubicBezTo>
                  <a:pt x="175" y="123"/>
                  <a:pt x="183" y="124"/>
                  <a:pt x="183" y="122"/>
                </a:cubicBezTo>
                <a:cubicBezTo>
                  <a:pt x="184" y="120"/>
                  <a:pt x="177" y="116"/>
                  <a:pt x="178" y="115"/>
                </a:cubicBezTo>
                <a:cubicBezTo>
                  <a:pt x="179" y="115"/>
                  <a:pt x="179" y="110"/>
                  <a:pt x="180" y="110"/>
                </a:cubicBezTo>
                <a:cubicBezTo>
                  <a:pt x="182" y="110"/>
                  <a:pt x="192" y="110"/>
                  <a:pt x="193" y="110"/>
                </a:cubicBezTo>
                <a:cubicBezTo>
                  <a:pt x="194" y="110"/>
                  <a:pt x="196" y="106"/>
                  <a:pt x="197" y="106"/>
                </a:cubicBezTo>
                <a:cubicBezTo>
                  <a:pt x="198" y="106"/>
                  <a:pt x="199" y="107"/>
                  <a:pt x="201" y="108"/>
                </a:cubicBezTo>
                <a:cubicBezTo>
                  <a:pt x="203" y="106"/>
                  <a:pt x="203" y="102"/>
                  <a:pt x="204" y="98"/>
                </a:cubicBezTo>
                <a:cubicBezTo>
                  <a:pt x="204" y="94"/>
                  <a:pt x="203" y="93"/>
                  <a:pt x="205" y="91"/>
                </a:cubicBezTo>
                <a:cubicBezTo>
                  <a:pt x="207" y="88"/>
                  <a:pt x="209" y="88"/>
                  <a:pt x="209" y="85"/>
                </a:cubicBezTo>
                <a:cubicBezTo>
                  <a:pt x="208" y="82"/>
                  <a:pt x="205" y="85"/>
                  <a:pt x="203" y="84"/>
                </a:cubicBezTo>
                <a:cubicBezTo>
                  <a:pt x="200" y="82"/>
                  <a:pt x="198" y="83"/>
                  <a:pt x="192" y="84"/>
                </a:cubicBezTo>
                <a:cubicBezTo>
                  <a:pt x="186" y="85"/>
                  <a:pt x="183" y="87"/>
                  <a:pt x="183" y="92"/>
                </a:cubicBezTo>
                <a:cubicBezTo>
                  <a:pt x="183" y="96"/>
                  <a:pt x="181" y="94"/>
                  <a:pt x="181" y="98"/>
                </a:cubicBezTo>
                <a:cubicBezTo>
                  <a:pt x="181" y="102"/>
                  <a:pt x="176" y="102"/>
                  <a:pt x="176" y="104"/>
                </a:cubicBezTo>
                <a:cubicBezTo>
                  <a:pt x="177" y="107"/>
                  <a:pt x="173" y="104"/>
                  <a:pt x="171" y="104"/>
                </a:cubicBezTo>
                <a:cubicBezTo>
                  <a:pt x="170" y="103"/>
                  <a:pt x="157" y="107"/>
                  <a:pt x="155" y="107"/>
                </a:cubicBezTo>
                <a:cubicBezTo>
                  <a:pt x="153" y="108"/>
                  <a:pt x="150" y="103"/>
                  <a:pt x="147" y="104"/>
                </a:cubicBezTo>
                <a:cubicBezTo>
                  <a:pt x="145" y="104"/>
                  <a:pt x="144" y="100"/>
                  <a:pt x="143" y="97"/>
                </a:cubicBezTo>
                <a:cubicBezTo>
                  <a:pt x="143" y="93"/>
                  <a:pt x="138" y="90"/>
                  <a:pt x="136" y="87"/>
                </a:cubicBezTo>
                <a:cubicBezTo>
                  <a:pt x="134" y="85"/>
                  <a:pt x="134" y="78"/>
                  <a:pt x="133" y="74"/>
                </a:cubicBezTo>
                <a:cubicBezTo>
                  <a:pt x="133" y="70"/>
                  <a:pt x="133" y="63"/>
                  <a:pt x="136" y="55"/>
                </a:cubicBezTo>
                <a:cubicBezTo>
                  <a:pt x="136" y="54"/>
                  <a:pt x="136" y="53"/>
                  <a:pt x="136" y="52"/>
                </a:cubicBezTo>
                <a:cubicBezTo>
                  <a:pt x="135" y="51"/>
                  <a:pt x="134" y="51"/>
                  <a:pt x="133" y="51"/>
                </a:cubicBezTo>
                <a:cubicBezTo>
                  <a:pt x="131" y="51"/>
                  <a:pt x="125" y="47"/>
                  <a:pt x="124" y="47"/>
                </a:cubicBezTo>
                <a:cubicBezTo>
                  <a:pt x="123" y="47"/>
                  <a:pt x="123" y="45"/>
                  <a:pt x="122" y="43"/>
                </a:cubicBezTo>
                <a:cubicBezTo>
                  <a:pt x="121" y="42"/>
                  <a:pt x="122" y="39"/>
                  <a:pt x="120" y="38"/>
                </a:cubicBezTo>
                <a:cubicBezTo>
                  <a:pt x="119" y="37"/>
                  <a:pt x="115" y="33"/>
                  <a:pt x="114" y="29"/>
                </a:cubicBezTo>
                <a:cubicBezTo>
                  <a:pt x="112" y="24"/>
                  <a:pt x="104" y="22"/>
                  <a:pt x="101" y="22"/>
                </a:cubicBezTo>
                <a:cubicBezTo>
                  <a:pt x="99" y="22"/>
                  <a:pt x="97" y="28"/>
                  <a:pt x="96" y="28"/>
                </a:cubicBezTo>
                <a:cubicBezTo>
                  <a:pt x="95" y="28"/>
                  <a:pt x="90" y="25"/>
                  <a:pt x="88" y="24"/>
                </a:cubicBezTo>
                <a:cubicBezTo>
                  <a:pt x="86" y="23"/>
                  <a:pt x="86" y="22"/>
                  <a:pt x="86" y="20"/>
                </a:cubicBezTo>
                <a:cubicBezTo>
                  <a:pt x="86" y="18"/>
                  <a:pt x="82" y="15"/>
                  <a:pt x="81" y="14"/>
                </a:cubicBezTo>
                <a:cubicBezTo>
                  <a:pt x="80" y="14"/>
                  <a:pt x="73" y="7"/>
                  <a:pt x="73" y="7"/>
                </a:cubicBezTo>
                <a:cubicBezTo>
                  <a:pt x="63" y="7"/>
                  <a:pt x="63" y="7"/>
                  <a:pt x="63" y="7"/>
                </a:cubicBezTo>
                <a:cubicBezTo>
                  <a:pt x="60" y="10"/>
                  <a:pt x="60" y="10"/>
                  <a:pt x="60" y="10"/>
                </a:cubicBezTo>
                <a:cubicBezTo>
                  <a:pt x="41" y="10"/>
                  <a:pt x="41" y="10"/>
                  <a:pt x="41" y="10"/>
                </a:cubicBezTo>
                <a:cubicBezTo>
                  <a:pt x="41" y="10"/>
                  <a:pt x="26" y="5"/>
                  <a:pt x="23" y="4"/>
                </a:cubicBezTo>
                <a:cubicBezTo>
                  <a:pt x="20" y="3"/>
                  <a:pt x="15" y="0"/>
                  <a:pt x="15" y="0"/>
                </a:cubicBezTo>
                <a:cubicBezTo>
                  <a:pt x="0" y="2"/>
                  <a:pt x="0" y="2"/>
                  <a:pt x="0" y="2"/>
                </a:cubicBezTo>
                <a:cubicBezTo>
                  <a:pt x="0" y="4"/>
                  <a:pt x="1" y="6"/>
                  <a:pt x="3" y="8"/>
                </a:cubicBezTo>
                <a:cubicBezTo>
                  <a:pt x="6" y="12"/>
                  <a:pt x="9" y="19"/>
                  <a:pt x="9" y="21"/>
                </a:cubicBezTo>
                <a:cubicBezTo>
                  <a:pt x="9" y="24"/>
                  <a:pt x="14" y="26"/>
                  <a:pt x="18" y="28"/>
                </a:cubicBezTo>
                <a:cubicBezTo>
                  <a:pt x="21" y="31"/>
                  <a:pt x="21" y="36"/>
                  <a:pt x="21" y="37"/>
                </a:cubicBezTo>
                <a:cubicBezTo>
                  <a:pt x="20" y="39"/>
                  <a:pt x="16" y="36"/>
                  <a:pt x="15" y="38"/>
                </a:cubicBezTo>
                <a:cubicBezTo>
                  <a:pt x="15" y="39"/>
                  <a:pt x="22" y="44"/>
                  <a:pt x="24" y="44"/>
                </a:cubicBezTo>
                <a:cubicBezTo>
                  <a:pt x="26" y="44"/>
                  <a:pt x="28" y="45"/>
                  <a:pt x="31" y="49"/>
                </a:cubicBezTo>
                <a:cubicBezTo>
                  <a:pt x="35" y="52"/>
                  <a:pt x="35" y="56"/>
                  <a:pt x="33" y="57"/>
                </a:cubicBezTo>
                <a:cubicBezTo>
                  <a:pt x="32" y="58"/>
                  <a:pt x="36" y="61"/>
                  <a:pt x="41" y="64"/>
                </a:cubicBezTo>
                <a:cubicBezTo>
                  <a:pt x="46" y="67"/>
                  <a:pt x="48" y="71"/>
                  <a:pt x="49" y="73"/>
                </a:cubicBezTo>
                <a:cubicBezTo>
                  <a:pt x="49" y="75"/>
                  <a:pt x="51" y="73"/>
                  <a:pt x="52" y="71"/>
                </a:cubicBezTo>
                <a:cubicBezTo>
                  <a:pt x="53" y="69"/>
                  <a:pt x="51" y="68"/>
                  <a:pt x="51" y="66"/>
                </a:cubicBezTo>
                <a:cubicBezTo>
                  <a:pt x="51" y="63"/>
                  <a:pt x="47" y="63"/>
                  <a:pt x="45" y="63"/>
                </a:cubicBezTo>
                <a:cubicBezTo>
                  <a:pt x="43" y="63"/>
                  <a:pt x="45" y="59"/>
                  <a:pt x="43" y="57"/>
                </a:cubicBezTo>
                <a:cubicBezTo>
                  <a:pt x="41" y="55"/>
                  <a:pt x="40" y="51"/>
                  <a:pt x="39" y="47"/>
                </a:cubicBezTo>
                <a:cubicBezTo>
                  <a:pt x="38" y="44"/>
                  <a:pt x="33" y="40"/>
                  <a:pt x="31" y="37"/>
                </a:cubicBezTo>
                <a:cubicBezTo>
                  <a:pt x="29" y="33"/>
                  <a:pt x="27" y="30"/>
                  <a:pt x="25" y="29"/>
                </a:cubicBezTo>
                <a:cubicBezTo>
                  <a:pt x="24" y="28"/>
                  <a:pt x="27" y="27"/>
                  <a:pt x="26" y="26"/>
                </a:cubicBezTo>
                <a:cubicBezTo>
                  <a:pt x="25" y="24"/>
                  <a:pt x="23" y="24"/>
                  <a:pt x="21" y="23"/>
                </a:cubicBezTo>
                <a:cubicBezTo>
                  <a:pt x="19" y="22"/>
                  <a:pt x="17" y="20"/>
                  <a:pt x="17" y="18"/>
                </a:cubicBezTo>
                <a:cubicBezTo>
                  <a:pt x="17" y="16"/>
                  <a:pt x="16" y="10"/>
                  <a:pt x="15" y="8"/>
                </a:cubicBezTo>
                <a:cubicBezTo>
                  <a:pt x="14" y="6"/>
                  <a:pt x="16" y="6"/>
                  <a:pt x="17" y="7"/>
                </a:cubicBezTo>
                <a:cubicBezTo>
                  <a:pt x="18" y="8"/>
                  <a:pt x="19" y="9"/>
                  <a:pt x="20" y="8"/>
                </a:cubicBezTo>
                <a:cubicBezTo>
                  <a:pt x="21" y="8"/>
                  <a:pt x="23" y="8"/>
                  <a:pt x="23" y="10"/>
                </a:cubicBezTo>
                <a:cubicBezTo>
                  <a:pt x="24" y="11"/>
                  <a:pt x="27" y="10"/>
                  <a:pt x="28" y="11"/>
                </a:cubicBezTo>
                <a:cubicBezTo>
                  <a:pt x="29" y="11"/>
                  <a:pt x="25" y="12"/>
                  <a:pt x="29" y="19"/>
                </a:cubicBezTo>
                <a:cubicBezTo>
                  <a:pt x="33" y="26"/>
                  <a:pt x="30" y="22"/>
                  <a:pt x="30" y="27"/>
                </a:cubicBezTo>
                <a:cubicBezTo>
                  <a:pt x="30" y="32"/>
                  <a:pt x="33" y="30"/>
                  <a:pt x="34" y="29"/>
                </a:cubicBezTo>
                <a:cubicBezTo>
                  <a:pt x="34" y="28"/>
                  <a:pt x="36" y="31"/>
                  <a:pt x="38" y="33"/>
                </a:cubicBezTo>
                <a:cubicBezTo>
                  <a:pt x="40" y="35"/>
                  <a:pt x="44" y="36"/>
                  <a:pt x="44" y="37"/>
                </a:cubicBezTo>
                <a:cubicBezTo>
                  <a:pt x="44" y="38"/>
                  <a:pt x="45" y="41"/>
                  <a:pt x="48" y="42"/>
                </a:cubicBezTo>
                <a:cubicBezTo>
                  <a:pt x="50" y="42"/>
                  <a:pt x="51" y="45"/>
                  <a:pt x="52" y="45"/>
                </a:cubicBezTo>
                <a:cubicBezTo>
                  <a:pt x="54" y="45"/>
                  <a:pt x="54" y="47"/>
                  <a:pt x="53" y="49"/>
                </a:cubicBezTo>
                <a:cubicBezTo>
                  <a:pt x="53" y="51"/>
                  <a:pt x="53" y="53"/>
                  <a:pt x="58" y="55"/>
                </a:cubicBezTo>
                <a:cubicBezTo>
                  <a:pt x="62" y="56"/>
                  <a:pt x="60" y="57"/>
                  <a:pt x="63" y="60"/>
                </a:cubicBezTo>
                <a:cubicBezTo>
                  <a:pt x="67" y="63"/>
                  <a:pt x="76" y="73"/>
                  <a:pt x="78" y="76"/>
                </a:cubicBezTo>
                <a:cubicBezTo>
                  <a:pt x="80" y="79"/>
                  <a:pt x="81" y="82"/>
                  <a:pt x="82" y="84"/>
                </a:cubicBezTo>
                <a:cubicBezTo>
                  <a:pt x="82" y="86"/>
                  <a:pt x="80" y="87"/>
                  <a:pt x="81" y="89"/>
                </a:cubicBezTo>
                <a:cubicBezTo>
                  <a:pt x="82" y="91"/>
                  <a:pt x="79" y="90"/>
                  <a:pt x="79" y="91"/>
                </a:cubicBezTo>
                <a:cubicBezTo>
                  <a:pt x="79" y="93"/>
                  <a:pt x="81" y="100"/>
                  <a:pt x="85" y="100"/>
                </a:cubicBezTo>
                <a:cubicBezTo>
                  <a:pt x="88" y="100"/>
                  <a:pt x="92" y="104"/>
                  <a:pt x="94" y="107"/>
                </a:cubicBezTo>
                <a:cubicBezTo>
                  <a:pt x="97" y="109"/>
                  <a:pt x="101" y="108"/>
                  <a:pt x="105" y="110"/>
                </a:cubicBezTo>
                <a:cubicBezTo>
                  <a:pt x="110" y="111"/>
                  <a:pt x="113" y="115"/>
                  <a:pt x="119" y="117"/>
                </a:cubicBezTo>
                <a:cubicBezTo>
                  <a:pt x="125" y="118"/>
                  <a:pt x="131" y="121"/>
                  <a:pt x="135" y="124"/>
                </a:cubicBezTo>
                <a:cubicBezTo>
                  <a:pt x="138" y="126"/>
                  <a:pt x="143" y="125"/>
                  <a:pt x="149" y="123"/>
                </a:cubicBezTo>
                <a:cubicBezTo>
                  <a:pt x="154" y="121"/>
                  <a:pt x="158" y="123"/>
                  <a:pt x="161" y="125"/>
                </a:cubicBezTo>
                <a:cubicBezTo>
                  <a:pt x="163" y="125"/>
                  <a:pt x="166" y="128"/>
                  <a:pt x="168" y="130"/>
                </a:cubicBezTo>
                <a:cubicBezTo>
                  <a:pt x="171" y="126"/>
                  <a:pt x="174" y="123"/>
                  <a:pt x="174" y="12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9" name="Freeform 105"/>
          <p:cNvSpPr/>
          <p:nvPr/>
        </p:nvSpPr>
        <p:spPr bwMode="auto">
          <a:xfrm>
            <a:off x="2387080" y="2791273"/>
            <a:ext cx="85725" cy="82550"/>
          </a:xfrm>
          <a:custGeom>
            <a:avLst/>
            <a:gdLst>
              <a:gd name="T0" fmla="*/ 26 w 30"/>
              <a:gd name="T1" fmla="*/ 19 h 29"/>
              <a:gd name="T2" fmla="*/ 30 w 30"/>
              <a:gd name="T3" fmla="*/ 15 h 29"/>
              <a:gd name="T4" fmla="*/ 27 w 30"/>
              <a:gd name="T5" fmla="*/ 14 h 29"/>
              <a:gd name="T6" fmla="*/ 24 w 30"/>
              <a:gd name="T7" fmla="*/ 14 h 29"/>
              <a:gd name="T8" fmla="*/ 24 w 30"/>
              <a:gd name="T9" fmla="*/ 0 h 29"/>
              <a:gd name="T10" fmla="*/ 12 w 30"/>
              <a:gd name="T11" fmla="*/ 0 h 29"/>
              <a:gd name="T12" fmla="*/ 10 w 30"/>
              <a:gd name="T13" fmla="*/ 5 h 29"/>
              <a:gd name="T14" fmla="*/ 15 w 30"/>
              <a:gd name="T15" fmla="*/ 12 h 29"/>
              <a:gd name="T16" fmla="*/ 6 w 30"/>
              <a:gd name="T17" fmla="*/ 13 h 29"/>
              <a:gd name="T18" fmla="*/ 0 w 30"/>
              <a:gd name="T19" fmla="*/ 20 h 29"/>
              <a:gd name="T20" fmla="*/ 8 w 30"/>
              <a:gd name="T21" fmla="*/ 27 h 29"/>
              <a:gd name="T22" fmla="*/ 18 w 30"/>
              <a:gd name="T23" fmla="*/ 28 h 29"/>
              <a:gd name="T24" fmla="*/ 18 w 30"/>
              <a:gd name="T25" fmla="*/ 29 h 29"/>
              <a:gd name="T26" fmla="*/ 23 w 30"/>
              <a:gd name="T27" fmla="*/ 25 h 29"/>
              <a:gd name="T28" fmla="*/ 26 w 30"/>
              <a:gd name="T2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29">
                <a:moveTo>
                  <a:pt x="26" y="19"/>
                </a:moveTo>
                <a:cubicBezTo>
                  <a:pt x="28" y="18"/>
                  <a:pt x="29" y="16"/>
                  <a:pt x="30" y="15"/>
                </a:cubicBezTo>
                <a:cubicBezTo>
                  <a:pt x="27" y="17"/>
                  <a:pt x="27" y="15"/>
                  <a:pt x="27" y="14"/>
                </a:cubicBezTo>
                <a:cubicBezTo>
                  <a:pt x="24" y="14"/>
                  <a:pt x="24" y="14"/>
                  <a:pt x="24" y="14"/>
                </a:cubicBezTo>
                <a:cubicBezTo>
                  <a:pt x="24" y="0"/>
                  <a:pt x="24" y="0"/>
                  <a:pt x="24" y="0"/>
                </a:cubicBezTo>
                <a:cubicBezTo>
                  <a:pt x="21" y="0"/>
                  <a:pt x="13" y="0"/>
                  <a:pt x="12" y="0"/>
                </a:cubicBezTo>
                <a:cubicBezTo>
                  <a:pt x="11" y="0"/>
                  <a:pt x="11" y="5"/>
                  <a:pt x="10" y="5"/>
                </a:cubicBezTo>
                <a:cubicBezTo>
                  <a:pt x="9" y="6"/>
                  <a:pt x="16" y="10"/>
                  <a:pt x="15" y="12"/>
                </a:cubicBezTo>
                <a:cubicBezTo>
                  <a:pt x="15" y="14"/>
                  <a:pt x="7" y="13"/>
                  <a:pt x="6" y="13"/>
                </a:cubicBezTo>
                <a:cubicBezTo>
                  <a:pt x="6" y="13"/>
                  <a:pt x="3" y="16"/>
                  <a:pt x="0" y="20"/>
                </a:cubicBezTo>
                <a:cubicBezTo>
                  <a:pt x="4" y="23"/>
                  <a:pt x="7" y="26"/>
                  <a:pt x="8" y="27"/>
                </a:cubicBezTo>
                <a:cubicBezTo>
                  <a:pt x="11" y="29"/>
                  <a:pt x="16" y="27"/>
                  <a:pt x="18" y="28"/>
                </a:cubicBezTo>
                <a:cubicBezTo>
                  <a:pt x="18" y="29"/>
                  <a:pt x="18" y="29"/>
                  <a:pt x="18" y="29"/>
                </a:cubicBezTo>
                <a:cubicBezTo>
                  <a:pt x="20" y="27"/>
                  <a:pt x="22" y="25"/>
                  <a:pt x="23" y="25"/>
                </a:cubicBezTo>
                <a:cubicBezTo>
                  <a:pt x="24" y="24"/>
                  <a:pt x="23" y="22"/>
                  <a:pt x="26" y="1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 name="Freeform 106"/>
          <p:cNvSpPr/>
          <p:nvPr/>
        </p:nvSpPr>
        <p:spPr bwMode="auto">
          <a:xfrm>
            <a:off x="2455342" y="2780160"/>
            <a:ext cx="25400" cy="50800"/>
          </a:xfrm>
          <a:custGeom>
            <a:avLst/>
            <a:gdLst>
              <a:gd name="T0" fmla="*/ 1 w 9"/>
              <a:gd name="T1" fmla="*/ 4 h 18"/>
              <a:gd name="T2" fmla="*/ 0 w 9"/>
              <a:gd name="T3" fmla="*/ 4 h 18"/>
              <a:gd name="T4" fmla="*/ 0 w 9"/>
              <a:gd name="T5" fmla="*/ 18 h 18"/>
              <a:gd name="T6" fmla="*/ 3 w 9"/>
              <a:gd name="T7" fmla="*/ 18 h 18"/>
              <a:gd name="T8" fmla="*/ 5 w 9"/>
              <a:gd name="T9" fmla="*/ 14 h 18"/>
              <a:gd name="T10" fmla="*/ 7 w 9"/>
              <a:gd name="T11" fmla="*/ 3 h 18"/>
              <a:gd name="T12" fmla="*/ 9 w 9"/>
              <a:gd name="T13" fmla="*/ 2 h 18"/>
              <a:gd name="T14" fmla="*/ 5 w 9"/>
              <a:gd name="T15" fmla="*/ 0 h 18"/>
              <a:gd name="T16" fmla="*/ 1 w 9"/>
              <a:gd name="T1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1" y="4"/>
                </a:moveTo>
                <a:cubicBezTo>
                  <a:pt x="1" y="4"/>
                  <a:pt x="1" y="4"/>
                  <a:pt x="0" y="4"/>
                </a:cubicBezTo>
                <a:cubicBezTo>
                  <a:pt x="0" y="18"/>
                  <a:pt x="0" y="18"/>
                  <a:pt x="0" y="18"/>
                </a:cubicBezTo>
                <a:cubicBezTo>
                  <a:pt x="3" y="18"/>
                  <a:pt x="3" y="18"/>
                  <a:pt x="3" y="18"/>
                </a:cubicBezTo>
                <a:cubicBezTo>
                  <a:pt x="3" y="16"/>
                  <a:pt x="4" y="15"/>
                  <a:pt x="5" y="14"/>
                </a:cubicBezTo>
                <a:cubicBezTo>
                  <a:pt x="8" y="12"/>
                  <a:pt x="4" y="3"/>
                  <a:pt x="7" y="3"/>
                </a:cubicBezTo>
                <a:cubicBezTo>
                  <a:pt x="8" y="3"/>
                  <a:pt x="8" y="2"/>
                  <a:pt x="9" y="2"/>
                </a:cubicBezTo>
                <a:cubicBezTo>
                  <a:pt x="7" y="1"/>
                  <a:pt x="6" y="0"/>
                  <a:pt x="5" y="0"/>
                </a:cubicBezTo>
                <a:cubicBezTo>
                  <a:pt x="4" y="0"/>
                  <a:pt x="2" y="4"/>
                  <a:pt x="1" y="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 name="Freeform 107"/>
          <p:cNvSpPr/>
          <p:nvPr/>
        </p:nvSpPr>
        <p:spPr bwMode="auto">
          <a:xfrm>
            <a:off x="2742680" y="2742060"/>
            <a:ext cx="57150" cy="49213"/>
          </a:xfrm>
          <a:custGeom>
            <a:avLst/>
            <a:gdLst>
              <a:gd name="T0" fmla="*/ 9 w 20"/>
              <a:gd name="T1" fmla="*/ 1 h 17"/>
              <a:gd name="T2" fmla="*/ 14 w 20"/>
              <a:gd name="T3" fmla="*/ 11 h 17"/>
              <a:gd name="T4" fmla="*/ 0 w 20"/>
              <a:gd name="T5" fmla="*/ 13 h 17"/>
              <a:gd name="T6" fmla="*/ 9 w 20"/>
              <a:gd name="T7" fmla="*/ 15 h 17"/>
              <a:gd name="T8" fmla="*/ 19 w 20"/>
              <a:gd name="T9" fmla="*/ 17 h 17"/>
              <a:gd name="T10" fmla="*/ 20 w 20"/>
              <a:gd name="T11" fmla="*/ 3 h 17"/>
              <a:gd name="T12" fmla="*/ 9 w 20"/>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20" h="17">
                <a:moveTo>
                  <a:pt x="9" y="1"/>
                </a:moveTo>
                <a:cubicBezTo>
                  <a:pt x="6" y="3"/>
                  <a:pt x="14" y="8"/>
                  <a:pt x="14" y="11"/>
                </a:cubicBezTo>
                <a:cubicBezTo>
                  <a:pt x="14" y="13"/>
                  <a:pt x="2" y="10"/>
                  <a:pt x="0" y="13"/>
                </a:cubicBezTo>
                <a:cubicBezTo>
                  <a:pt x="0" y="15"/>
                  <a:pt x="5" y="17"/>
                  <a:pt x="9" y="15"/>
                </a:cubicBezTo>
                <a:cubicBezTo>
                  <a:pt x="14" y="14"/>
                  <a:pt x="16" y="15"/>
                  <a:pt x="19" y="17"/>
                </a:cubicBezTo>
                <a:cubicBezTo>
                  <a:pt x="19" y="12"/>
                  <a:pt x="20" y="7"/>
                  <a:pt x="20" y="3"/>
                </a:cubicBezTo>
                <a:cubicBezTo>
                  <a:pt x="16" y="2"/>
                  <a:pt x="12" y="0"/>
                  <a:pt x="9" y="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 name="Freeform 108"/>
          <p:cNvSpPr/>
          <p:nvPr/>
        </p:nvSpPr>
        <p:spPr bwMode="auto">
          <a:xfrm>
            <a:off x="2796655" y="2748410"/>
            <a:ext cx="66675" cy="46038"/>
          </a:xfrm>
          <a:custGeom>
            <a:avLst/>
            <a:gdLst>
              <a:gd name="T0" fmla="*/ 9 w 23"/>
              <a:gd name="T1" fmla="*/ 12 h 16"/>
              <a:gd name="T2" fmla="*/ 23 w 23"/>
              <a:gd name="T3" fmla="*/ 9 h 16"/>
              <a:gd name="T4" fmla="*/ 5 w 23"/>
              <a:gd name="T5" fmla="*/ 1 h 16"/>
              <a:gd name="T6" fmla="*/ 1 w 23"/>
              <a:gd name="T7" fmla="*/ 1 h 16"/>
              <a:gd name="T8" fmla="*/ 0 w 23"/>
              <a:gd name="T9" fmla="*/ 15 h 16"/>
              <a:gd name="T10" fmla="*/ 0 w 23"/>
              <a:gd name="T11" fmla="*/ 15 h 16"/>
              <a:gd name="T12" fmla="*/ 9 w 23"/>
              <a:gd name="T13" fmla="*/ 12 h 16"/>
            </a:gdLst>
            <a:ahLst/>
            <a:cxnLst>
              <a:cxn ang="0">
                <a:pos x="T0" y="T1"/>
              </a:cxn>
              <a:cxn ang="0">
                <a:pos x="T2" y="T3"/>
              </a:cxn>
              <a:cxn ang="0">
                <a:pos x="T4" y="T5"/>
              </a:cxn>
              <a:cxn ang="0">
                <a:pos x="T6" y="T7"/>
              </a:cxn>
              <a:cxn ang="0">
                <a:pos x="T8" y="T9"/>
              </a:cxn>
              <a:cxn ang="0">
                <a:pos x="T10" y="T11"/>
              </a:cxn>
              <a:cxn ang="0">
                <a:pos x="T12" y="T13"/>
              </a:cxn>
            </a:cxnLst>
            <a:rect l="0" t="0" r="r" b="b"/>
            <a:pathLst>
              <a:path w="23" h="16">
                <a:moveTo>
                  <a:pt x="9" y="12"/>
                </a:moveTo>
                <a:cubicBezTo>
                  <a:pt x="14" y="10"/>
                  <a:pt x="23" y="13"/>
                  <a:pt x="23" y="9"/>
                </a:cubicBezTo>
                <a:cubicBezTo>
                  <a:pt x="23" y="5"/>
                  <a:pt x="9" y="0"/>
                  <a:pt x="5" y="1"/>
                </a:cubicBezTo>
                <a:cubicBezTo>
                  <a:pt x="4" y="2"/>
                  <a:pt x="3" y="2"/>
                  <a:pt x="1" y="1"/>
                </a:cubicBezTo>
                <a:cubicBezTo>
                  <a:pt x="1" y="5"/>
                  <a:pt x="0" y="10"/>
                  <a:pt x="0" y="15"/>
                </a:cubicBezTo>
                <a:cubicBezTo>
                  <a:pt x="0" y="15"/>
                  <a:pt x="0" y="15"/>
                  <a:pt x="0" y="15"/>
                </a:cubicBezTo>
                <a:cubicBezTo>
                  <a:pt x="3" y="16"/>
                  <a:pt x="3" y="14"/>
                  <a:pt x="9" y="1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3" name="Freeform 109"/>
          <p:cNvSpPr/>
          <p:nvPr/>
        </p:nvSpPr>
        <p:spPr bwMode="auto">
          <a:xfrm>
            <a:off x="2490267" y="2848423"/>
            <a:ext cx="82550" cy="85725"/>
          </a:xfrm>
          <a:custGeom>
            <a:avLst/>
            <a:gdLst>
              <a:gd name="T0" fmla="*/ 16 w 29"/>
              <a:gd name="T1" fmla="*/ 29 h 30"/>
              <a:gd name="T2" fmla="*/ 23 w 29"/>
              <a:gd name="T3" fmla="*/ 30 h 30"/>
              <a:gd name="T4" fmla="*/ 26 w 29"/>
              <a:gd name="T5" fmla="*/ 30 h 30"/>
              <a:gd name="T6" fmla="*/ 25 w 29"/>
              <a:gd name="T7" fmla="*/ 29 h 30"/>
              <a:gd name="T8" fmla="*/ 27 w 29"/>
              <a:gd name="T9" fmla="*/ 20 h 30"/>
              <a:gd name="T10" fmla="*/ 28 w 29"/>
              <a:gd name="T11" fmla="*/ 8 h 30"/>
              <a:gd name="T12" fmla="*/ 29 w 29"/>
              <a:gd name="T13" fmla="*/ 1 h 30"/>
              <a:gd name="T14" fmla="*/ 29 w 29"/>
              <a:gd name="T15" fmla="*/ 0 h 30"/>
              <a:gd name="T16" fmla="*/ 21 w 29"/>
              <a:gd name="T17" fmla="*/ 3 h 30"/>
              <a:gd name="T18" fmla="*/ 14 w 29"/>
              <a:gd name="T19" fmla="*/ 5 h 30"/>
              <a:gd name="T20" fmla="*/ 7 w 29"/>
              <a:gd name="T21" fmla="*/ 8 h 30"/>
              <a:gd name="T22" fmla="*/ 5 w 29"/>
              <a:gd name="T23" fmla="*/ 12 h 30"/>
              <a:gd name="T24" fmla="*/ 3 w 29"/>
              <a:gd name="T25" fmla="*/ 14 h 30"/>
              <a:gd name="T26" fmla="*/ 0 w 29"/>
              <a:gd name="T27" fmla="*/ 15 h 30"/>
              <a:gd name="T28" fmla="*/ 1 w 29"/>
              <a:gd name="T29" fmla="*/ 17 h 30"/>
              <a:gd name="T30" fmla="*/ 10 w 29"/>
              <a:gd name="T31" fmla="*/ 26 h 30"/>
              <a:gd name="T32" fmla="*/ 12 w 29"/>
              <a:gd name="T33" fmla="*/ 28 h 30"/>
              <a:gd name="T34" fmla="*/ 16 w 29"/>
              <a:gd name="T35"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30">
                <a:moveTo>
                  <a:pt x="16" y="29"/>
                </a:moveTo>
                <a:cubicBezTo>
                  <a:pt x="17" y="29"/>
                  <a:pt x="21" y="29"/>
                  <a:pt x="23" y="30"/>
                </a:cubicBezTo>
                <a:cubicBezTo>
                  <a:pt x="23" y="30"/>
                  <a:pt x="25" y="30"/>
                  <a:pt x="26" y="30"/>
                </a:cubicBezTo>
                <a:cubicBezTo>
                  <a:pt x="26" y="29"/>
                  <a:pt x="25" y="29"/>
                  <a:pt x="25" y="29"/>
                </a:cubicBezTo>
                <a:cubicBezTo>
                  <a:pt x="24" y="27"/>
                  <a:pt x="26" y="23"/>
                  <a:pt x="27" y="20"/>
                </a:cubicBezTo>
                <a:cubicBezTo>
                  <a:pt x="28" y="17"/>
                  <a:pt x="26" y="10"/>
                  <a:pt x="28" y="8"/>
                </a:cubicBezTo>
                <a:cubicBezTo>
                  <a:pt x="29" y="6"/>
                  <a:pt x="28" y="5"/>
                  <a:pt x="29" y="1"/>
                </a:cubicBezTo>
                <a:cubicBezTo>
                  <a:pt x="29" y="1"/>
                  <a:pt x="29" y="0"/>
                  <a:pt x="29" y="0"/>
                </a:cubicBezTo>
                <a:cubicBezTo>
                  <a:pt x="26" y="0"/>
                  <a:pt x="22" y="3"/>
                  <a:pt x="21" y="3"/>
                </a:cubicBezTo>
                <a:cubicBezTo>
                  <a:pt x="20" y="4"/>
                  <a:pt x="15" y="2"/>
                  <a:pt x="14" y="5"/>
                </a:cubicBezTo>
                <a:cubicBezTo>
                  <a:pt x="14" y="7"/>
                  <a:pt x="11" y="8"/>
                  <a:pt x="7" y="8"/>
                </a:cubicBezTo>
                <a:cubicBezTo>
                  <a:pt x="3" y="8"/>
                  <a:pt x="5" y="12"/>
                  <a:pt x="5" y="12"/>
                </a:cubicBezTo>
                <a:cubicBezTo>
                  <a:pt x="4" y="13"/>
                  <a:pt x="3" y="14"/>
                  <a:pt x="3" y="14"/>
                </a:cubicBezTo>
                <a:cubicBezTo>
                  <a:pt x="0" y="15"/>
                  <a:pt x="0" y="15"/>
                  <a:pt x="0" y="15"/>
                </a:cubicBezTo>
                <a:cubicBezTo>
                  <a:pt x="0" y="16"/>
                  <a:pt x="0" y="17"/>
                  <a:pt x="1" y="17"/>
                </a:cubicBezTo>
                <a:cubicBezTo>
                  <a:pt x="4" y="19"/>
                  <a:pt x="7" y="24"/>
                  <a:pt x="10" y="26"/>
                </a:cubicBezTo>
                <a:cubicBezTo>
                  <a:pt x="11" y="26"/>
                  <a:pt x="12" y="27"/>
                  <a:pt x="12" y="28"/>
                </a:cubicBezTo>
                <a:cubicBezTo>
                  <a:pt x="13" y="28"/>
                  <a:pt x="15" y="28"/>
                  <a:pt x="16" y="2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4" name="Freeform 110"/>
          <p:cNvSpPr/>
          <p:nvPr/>
        </p:nvSpPr>
        <p:spPr bwMode="auto">
          <a:xfrm>
            <a:off x="2753792" y="3045273"/>
            <a:ext cx="781050" cy="796925"/>
          </a:xfrm>
          <a:custGeom>
            <a:avLst/>
            <a:gdLst>
              <a:gd name="T0" fmla="*/ 154 w 274"/>
              <a:gd name="T1" fmla="*/ 260 h 280"/>
              <a:gd name="T2" fmla="*/ 159 w 274"/>
              <a:gd name="T3" fmla="*/ 262 h 280"/>
              <a:gd name="T4" fmla="*/ 176 w 274"/>
              <a:gd name="T5" fmla="*/ 231 h 280"/>
              <a:gd name="T6" fmla="*/ 187 w 274"/>
              <a:gd name="T7" fmla="*/ 209 h 280"/>
              <a:gd name="T8" fmla="*/ 205 w 274"/>
              <a:gd name="T9" fmla="*/ 199 h 280"/>
              <a:gd name="T10" fmla="*/ 227 w 274"/>
              <a:gd name="T11" fmla="*/ 193 h 280"/>
              <a:gd name="T12" fmla="*/ 235 w 274"/>
              <a:gd name="T13" fmla="*/ 176 h 280"/>
              <a:gd name="T14" fmla="*/ 243 w 274"/>
              <a:gd name="T15" fmla="*/ 161 h 280"/>
              <a:gd name="T16" fmla="*/ 245 w 274"/>
              <a:gd name="T17" fmla="*/ 129 h 280"/>
              <a:gd name="T18" fmla="*/ 250 w 274"/>
              <a:gd name="T19" fmla="*/ 125 h 280"/>
              <a:gd name="T20" fmla="*/ 272 w 274"/>
              <a:gd name="T21" fmla="*/ 96 h 280"/>
              <a:gd name="T22" fmla="*/ 248 w 274"/>
              <a:gd name="T23" fmla="*/ 63 h 280"/>
              <a:gd name="T24" fmla="*/ 205 w 274"/>
              <a:gd name="T25" fmla="*/ 58 h 280"/>
              <a:gd name="T26" fmla="*/ 180 w 274"/>
              <a:gd name="T27" fmla="*/ 45 h 280"/>
              <a:gd name="T28" fmla="*/ 178 w 274"/>
              <a:gd name="T29" fmla="*/ 40 h 280"/>
              <a:gd name="T30" fmla="*/ 161 w 274"/>
              <a:gd name="T31" fmla="*/ 36 h 280"/>
              <a:gd name="T32" fmla="*/ 157 w 274"/>
              <a:gd name="T33" fmla="*/ 7 h 280"/>
              <a:gd name="T34" fmla="*/ 135 w 274"/>
              <a:gd name="T35" fmla="*/ 19 h 280"/>
              <a:gd name="T36" fmla="*/ 116 w 274"/>
              <a:gd name="T37" fmla="*/ 23 h 280"/>
              <a:gd name="T38" fmla="*/ 101 w 274"/>
              <a:gd name="T39" fmla="*/ 24 h 280"/>
              <a:gd name="T40" fmla="*/ 96 w 274"/>
              <a:gd name="T41" fmla="*/ 0 h 280"/>
              <a:gd name="T42" fmla="*/ 78 w 274"/>
              <a:gd name="T43" fmla="*/ 10 h 280"/>
              <a:gd name="T44" fmla="*/ 65 w 274"/>
              <a:gd name="T45" fmla="*/ 9 h 280"/>
              <a:gd name="T46" fmla="*/ 73 w 274"/>
              <a:gd name="T47" fmla="*/ 19 h 280"/>
              <a:gd name="T48" fmla="*/ 64 w 274"/>
              <a:gd name="T49" fmla="*/ 28 h 280"/>
              <a:gd name="T50" fmla="*/ 51 w 274"/>
              <a:gd name="T51" fmla="*/ 29 h 280"/>
              <a:gd name="T52" fmla="*/ 29 w 274"/>
              <a:gd name="T53" fmla="*/ 25 h 280"/>
              <a:gd name="T54" fmla="*/ 27 w 274"/>
              <a:gd name="T55" fmla="*/ 36 h 280"/>
              <a:gd name="T56" fmla="*/ 28 w 274"/>
              <a:gd name="T57" fmla="*/ 66 h 280"/>
              <a:gd name="T58" fmla="*/ 7 w 274"/>
              <a:gd name="T59" fmla="*/ 73 h 280"/>
              <a:gd name="T60" fmla="*/ 1 w 274"/>
              <a:gd name="T61" fmla="*/ 88 h 280"/>
              <a:gd name="T62" fmla="*/ 9 w 274"/>
              <a:gd name="T63" fmla="*/ 102 h 280"/>
              <a:gd name="T64" fmla="*/ 23 w 274"/>
              <a:gd name="T65" fmla="*/ 104 h 280"/>
              <a:gd name="T66" fmla="*/ 40 w 274"/>
              <a:gd name="T67" fmla="*/ 112 h 280"/>
              <a:gd name="T68" fmla="*/ 60 w 274"/>
              <a:gd name="T69" fmla="*/ 106 h 280"/>
              <a:gd name="T70" fmla="*/ 76 w 274"/>
              <a:gd name="T71" fmla="*/ 125 h 280"/>
              <a:gd name="T72" fmla="*/ 92 w 274"/>
              <a:gd name="T73" fmla="*/ 132 h 280"/>
              <a:gd name="T74" fmla="*/ 96 w 274"/>
              <a:gd name="T75" fmla="*/ 148 h 280"/>
              <a:gd name="T76" fmla="*/ 114 w 274"/>
              <a:gd name="T77" fmla="*/ 161 h 280"/>
              <a:gd name="T78" fmla="*/ 111 w 274"/>
              <a:gd name="T79" fmla="*/ 179 h 280"/>
              <a:gd name="T80" fmla="*/ 122 w 274"/>
              <a:gd name="T81" fmla="*/ 193 h 280"/>
              <a:gd name="T82" fmla="*/ 135 w 274"/>
              <a:gd name="T83" fmla="*/ 205 h 280"/>
              <a:gd name="T84" fmla="*/ 141 w 274"/>
              <a:gd name="T85" fmla="*/ 229 h 280"/>
              <a:gd name="T86" fmla="*/ 114 w 274"/>
              <a:gd name="T87" fmla="*/ 253 h 280"/>
              <a:gd name="T88" fmla="*/ 125 w 274"/>
              <a:gd name="T89" fmla="*/ 260 h 280"/>
              <a:gd name="T90" fmla="*/ 142 w 274"/>
              <a:gd name="T91" fmla="*/ 27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4" h="280">
                <a:moveTo>
                  <a:pt x="145" y="277"/>
                </a:moveTo>
                <a:cubicBezTo>
                  <a:pt x="150" y="274"/>
                  <a:pt x="149" y="272"/>
                  <a:pt x="151" y="269"/>
                </a:cubicBezTo>
                <a:cubicBezTo>
                  <a:pt x="153" y="265"/>
                  <a:pt x="151" y="263"/>
                  <a:pt x="154" y="260"/>
                </a:cubicBezTo>
                <a:cubicBezTo>
                  <a:pt x="158" y="257"/>
                  <a:pt x="154" y="255"/>
                  <a:pt x="158" y="253"/>
                </a:cubicBezTo>
                <a:cubicBezTo>
                  <a:pt x="162" y="251"/>
                  <a:pt x="162" y="255"/>
                  <a:pt x="158" y="259"/>
                </a:cubicBezTo>
                <a:cubicBezTo>
                  <a:pt x="155" y="264"/>
                  <a:pt x="154" y="265"/>
                  <a:pt x="159" y="262"/>
                </a:cubicBezTo>
                <a:cubicBezTo>
                  <a:pt x="163" y="258"/>
                  <a:pt x="165" y="253"/>
                  <a:pt x="167" y="248"/>
                </a:cubicBezTo>
                <a:cubicBezTo>
                  <a:pt x="170" y="243"/>
                  <a:pt x="172" y="241"/>
                  <a:pt x="174" y="241"/>
                </a:cubicBezTo>
                <a:cubicBezTo>
                  <a:pt x="177" y="240"/>
                  <a:pt x="177" y="235"/>
                  <a:pt x="176" y="231"/>
                </a:cubicBezTo>
                <a:cubicBezTo>
                  <a:pt x="176" y="227"/>
                  <a:pt x="175" y="223"/>
                  <a:pt x="176" y="221"/>
                </a:cubicBezTo>
                <a:cubicBezTo>
                  <a:pt x="178" y="218"/>
                  <a:pt x="176" y="216"/>
                  <a:pt x="179" y="216"/>
                </a:cubicBezTo>
                <a:cubicBezTo>
                  <a:pt x="181" y="216"/>
                  <a:pt x="184" y="212"/>
                  <a:pt x="187" y="209"/>
                </a:cubicBezTo>
                <a:cubicBezTo>
                  <a:pt x="191" y="206"/>
                  <a:pt x="193" y="205"/>
                  <a:pt x="196" y="205"/>
                </a:cubicBezTo>
                <a:cubicBezTo>
                  <a:pt x="200" y="205"/>
                  <a:pt x="198" y="203"/>
                  <a:pt x="200" y="203"/>
                </a:cubicBezTo>
                <a:cubicBezTo>
                  <a:pt x="202" y="202"/>
                  <a:pt x="204" y="200"/>
                  <a:pt x="205" y="199"/>
                </a:cubicBezTo>
                <a:cubicBezTo>
                  <a:pt x="207" y="197"/>
                  <a:pt x="213" y="199"/>
                  <a:pt x="217" y="199"/>
                </a:cubicBezTo>
                <a:cubicBezTo>
                  <a:pt x="221" y="199"/>
                  <a:pt x="223" y="199"/>
                  <a:pt x="223" y="197"/>
                </a:cubicBezTo>
                <a:cubicBezTo>
                  <a:pt x="223" y="195"/>
                  <a:pt x="225" y="193"/>
                  <a:pt x="227" y="193"/>
                </a:cubicBezTo>
                <a:cubicBezTo>
                  <a:pt x="229" y="193"/>
                  <a:pt x="230" y="192"/>
                  <a:pt x="230" y="189"/>
                </a:cubicBezTo>
                <a:cubicBezTo>
                  <a:pt x="230" y="186"/>
                  <a:pt x="231" y="184"/>
                  <a:pt x="233" y="183"/>
                </a:cubicBezTo>
                <a:cubicBezTo>
                  <a:pt x="234" y="181"/>
                  <a:pt x="235" y="178"/>
                  <a:pt x="235" y="176"/>
                </a:cubicBezTo>
                <a:cubicBezTo>
                  <a:pt x="236" y="174"/>
                  <a:pt x="238" y="176"/>
                  <a:pt x="238" y="173"/>
                </a:cubicBezTo>
                <a:cubicBezTo>
                  <a:pt x="238" y="170"/>
                  <a:pt x="239" y="167"/>
                  <a:pt x="239" y="164"/>
                </a:cubicBezTo>
                <a:cubicBezTo>
                  <a:pt x="239" y="162"/>
                  <a:pt x="241" y="162"/>
                  <a:pt x="243" y="161"/>
                </a:cubicBezTo>
                <a:cubicBezTo>
                  <a:pt x="244" y="159"/>
                  <a:pt x="242" y="157"/>
                  <a:pt x="243" y="152"/>
                </a:cubicBezTo>
                <a:cubicBezTo>
                  <a:pt x="245" y="147"/>
                  <a:pt x="243" y="143"/>
                  <a:pt x="243" y="139"/>
                </a:cubicBezTo>
                <a:cubicBezTo>
                  <a:pt x="243" y="134"/>
                  <a:pt x="243" y="130"/>
                  <a:pt x="245" y="129"/>
                </a:cubicBezTo>
                <a:cubicBezTo>
                  <a:pt x="246" y="127"/>
                  <a:pt x="246" y="127"/>
                  <a:pt x="244" y="126"/>
                </a:cubicBezTo>
                <a:cubicBezTo>
                  <a:pt x="243" y="125"/>
                  <a:pt x="245" y="124"/>
                  <a:pt x="246" y="124"/>
                </a:cubicBezTo>
                <a:cubicBezTo>
                  <a:pt x="247" y="124"/>
                  <a:pt x="248" y="127"/>
                  <a:pt x="250" y="125"/>
                </a:cubicBezTo>
                <a:cubicBezTo>
                  <a:pt x="252" y="124"/>
                  <a:pt x="254" y="119"/>
                  <a:pt x="255" y="115"/>
                </a:cubicBezTo>
                <a:cubicBezTo>
                  <a:pt x="257" y="110"/>
                  <a:pt x="260" y="110"/>
                  <a:pt x="262" y="110"/>
                </a:cubicBezTo>
                <a:cubicBezTo>
                  <a:pt x="264" y="109"/>
                  <a:pt x="269" y="103"/>
                  <a:pt x="272" y="96"/>
                </a:cubicBezTo>
                <a:cubicBezTo>
                  <a:pt x="274" y="89"/>
                  <a:pt x="271" y="81"/>
                  <a:pt x="270" y="76"/>
                </a:cubicBezTo>
                <a:cubicBezTo>
                  <a:pt x="269" y="71"/>
                  <a:pt x="267" y="72"/>
                  <a:pt x="264" y="72"/>
                </a:cubicBezTo>
                <a:cubicBezTo>
                  <a:pt x="261" y="72"/>
                  <a:pt x="255" y="71"/>
                  <a:pt x="248" y="63"/>
                </a:cubicBezTo>
                <a:cubicBezTo>
                  <a:pt x="240" y="55"/>
                  <a:pt x="233" y="56"/>
                  <a:pt x="228" y="57"/>
                </a:cubicBezTo>
                <a:cubicBezTo>
                  <a:pt x="223" y="58"/>
                  <a:pt x="217" y="54"/>
                  <a:pt x="214" y="54"/>
                </a:cubicBezTo>
                <a:cubicBezTo>
                  <a:pt x="211" y="53"/>
                  <a:pt x="207" y="57"/>
                  <a:pt x="205" y="58"/>
                </a:cubicBezTo>
                <a:cubicBezTo>
                  <a:pt x="203" y="59"/>
                  <a:pt x="206" y="54"/>
                  <a:pt x="206" y="52"/>
                </a:cubicBezTo>
                <a:cubicBezTo>
                  <a:pt x="207" y="49"/>
                  <a:pt x="197" y="45"/>
                  <a:pt x="190" y="42"/>
                </a:cubicBezTo>
                <a:cubicBezTo>
                  <a:pt x="183" y="39"/>
                  <a:pt x="180" y="40"/>
                  <a:pt x="180" y="45"/>
                </a:cubicBezTo>
                <a:cubicBezTo>
                  <a:pt x="180" y="49"/>
                  <a:pt x="177" y="43"/>
                  <a:pt x="175" y="48"/>
                </a:cubicBezTo>
                <a:cubicBezTo>
                  <a:pt x="173" y="53"/>
                  <a:pt x="169" y="50"/>
                  <a:pt x="172" y="48"/>
                </a:cubicBezTo>
                <a:cubicBezTo>
                  <a:pt x="174" y="47"/>
                  <a:pt x="177" y="43"/>
                  <a:pt x="178" y="40"/>
                </a:cubicBezTo>
                <a:cubicBezTo>
                  <a:pt x="179" y="38"/>
                  <a:pt x="168" y="35"/>
                  <a:pt x="164" y="37"/>
                </a:cubicBezTo>
                <a:cubicBezTo>
                  <a:pt x="160" y="38"/>
                  <a:pt x="162" y="44"/>
                  <a:pt x="159" y="42"/>
                </a:cubicBezTo>
                <a:cubicBezTo>
                  <a:pt x="156" y="40"/>
                  <a:pt x="159" y="36"/>
                  <a:pt x="161" y="36"/>
                </a:cubicBezTo>
                <a:cubicBezTo>
                  <a:pt x="164" y="37"/>
                  <a:pt x="166" y="32"/>
                  <a:pt x="168" y="28"/>
                </a:cubicBezTo>
                <a:cubicBezTo>
                  <a:pt x="170" y="24"/>
                  <a:pt x="165" y="24"/>
                  <a:pt x="162" y="21"/>
                </a:cubicBezTo>
                <a:cubicBezTo>
                  <a:pt x="160" y="18"/>
                  <a:pt x="160" y="9"/>
                  <a:pt x="157" y="7"/>
                </a:cubicBezTo>
                <a:cubicBezTo>
                  <a:pt x="154" y="10"/>
                  <a:pt x="150" y="15"/>
                  <a:pt x="149" y="18"/>
                </a:cubicBezTo>
                <a:cubicBezTo>
                  <a:pt x="148" y="23"/>
                  <a:pt x="146" y="20"/>
                  <a:pt x="142" y="21"/>
                </a:cubicBezTo>
                <a:cubicBezTo>
                  <a:pt x="138" y="23"/>
                  <a:pt x="136" y="21"/>
                  <a:pt x="135" y="19"/>
                </a:cubicBezTo>
                <a:cubicBezTo>
                  <a:pt x="134" y="18"/>
                  <a:pt x="130" y="19"/>
                  <a:pt x="128" y="19"/>
                </a:cubicBezTo>
                <a:cubicBezTo>
                  <a:pt x="125" y="19"/>
                  <a:pt x="127" y="22"/>
                  <a:pt x="125" y="23"/>
                </a:cubicBezTo>
                <a:cubicBezTo>
                  <a:pt x="123" y="25"/>
                  <a:pt x="118" y="21"/>
                  <a:pt x="116" y="23"/>
                </a:cubicBezTo>
                <a:cubicBezTo>
                  <a:pt x="115" y="25"/>
                  <a:pt x="114" y="23"/>
                  <a:pt x="113" y="25"/>
                </a:cubicBezTo>
                <a:cubicBezTo>
                  <a:pt x="112" y="27"/>
                  <a:pt x="109" y="26"/>
                  <a:pt x="108" y="27"/>
                </a:cubicBezTo>
                <a:cubicBezTo>
                  <a:pt x="108" y="28"/>
                  <a:pt x="105" y="28"/>
                  <a:pt x="101" y="24"/>
                </a:cubicBezTo>
                <a:cubicBezTo>
                  <a:pt x="97" y="20"/>
                  <a:pt x="98" y="13"/>
                  <a:pt x="100" y="12"/>
                </a:cubicBezTo>
                <a:cubicBezTo>
                  <a:pt x="101" y="11"/>
                  <a:pt x="101" y="7"/>
                  <a:pt x="99" y="6"/>
                </a:cubicBezTo>
                <a:cubicBezTo>
                  <a:pt x="97" y="5"/>
                  <a:pt x="99" y="1"/>
                  <a:pt x="96" y="0"/>
                </a:cubicBezTo>
                <a:cubicBezTo>
                  <a:pt x="93" y="0"/>
                  <a:pt x="94" y="4"/>
                  <a:pt x="92" y="4"/>
                </a:cubicBezTo>
                <a:cubicBezTo>
                  <a:pt x="90" y="5"/>
                  <a:pt x="85" y="8"/>
                  <a:pt x="83" y="8"/>
                </a:cubicBezTo>
                <a:cubicBezTo>
                  <a:pt x="81" y="7"/>
                  <a:pt x="78" y="8"/>
                  <a:pt x="78" y="10"/>
                </a:cubicBezTo>
                <a:cubicBezTo>
                  <a:pt x="78" y="13"/>
                  <a:pt x="76" y="12"/>
                  <a:pt x="76" y="10"/>
                </a:cubicBezTo>
                <a:cubicBezTo>
                  <a:pt x="75" y="8"/>
                  <a:pt x="71" y="9"/>
                  <a:pt x="70" y="8"/>
                </a:cubicBezTo>
                <a:cubicBezTo>
                  <a:pt x="69" y="7"/>
                  <a:pt x="63" y="7"/>
                  <a:pt x="65" y="9"/>
                </a:cubicBezTo>
                <a:cubicBezTo>
                  <a:pt x="68" y="10"/>
                  <a:pt x="68" y="12"/>
                  <a:pt x="68" y="14"/>
                </a:cubicBezTo>
                <a:cubicBezTo>
                  <a:pt x="68" y="16"/>
                  <a:pt x="70" y="16"/>
                  <a:pt x="70" y="18"/>
                </a:cubicBezTo>
                <a:cubicBezTo>
                  <a:pt x="70" y="21"/>
                  <a:pt x="72" y="19"/>
                  <a:pt x="73" y="19"/>
                </a:cubicBezTo>
                <a:cubicBezTo>
                  <a:pt x="75" y="19"/>
                  <a:pt x="75" y="22"/>
                  <a:pt x="72" y="22"/>
                </a:cubicBezTo>
                <a:cubicBezTo>
                  <a:pt x="70" y="22"/>
                  <a:pt x="69" y="24"/>
                  <a:pt x="69" y="26"/>
                </a:cubicBezTo>
                <a:cubicBezTo>
                  <a:pt x="68" y="28"/>
                  <a:pt x="66" y="26"/>
                  <a:pt x="64" y="28"/>
                </a:cubicBezTo>
                <a:cubicBezTo>
                  <a:pt x="62" y="30"/>
                  <a:pt x="60" y="31"/>
                  <a:pt x="59" y="31"/>
                </a:cubicBezTo>
                <a:cubicBezTo>
                  <a:pt x="58" y="30"/>
                  <a:pt x="57" y="30"/>
                  <a:pt x="55" y="31"/>
                </a:cubicBezTo>
                <a:cubicBezTo>
                  <a:pt x="54" y="32"/>
                  <a:pt x="53" y="31"/>
                  <a:pt x="51" y="29"/>
                </a:cubicBezTo>
                <a:cubicBezTo>
                  <a:pt x="50" y="28"/>
                  <a:pt x="49" y="25"/>
                  <a:pt x="46" y="23"/>
                </a:cubicBezTo>
                <a:cubicBezTo>
                  <a:pt x="44" y="23"/>
                  <a:pt x="41" y="25"/>
                  <a:pt x="39" y="25"/>
                </a:cubicBezTo>
                <a:cubicBezTo>
                  <a:pt x="37" y="25"/>
                  <a:pt x="29" y="24"/>
                  <a:pt x="29" y="25"/>
                </a:cubicBezTo>
                <a:cubicBezTo>
                  <a:pt x="29" y="27"/>
                  <a:pt x="29" y="29"/>
                  <a:pt x="31" y="29"/>
                </a:cubicBezTo>
                <a:cubicBezTo>
                  <a:pt x="32" y="29"/>
                  <a:pt x="35" y="30"/>
                  <a:pt x="32" y="32"/>
                </a:cubicBezTo>
                <a:cubicBezTo>
                  <a:pt x="30" y="34"/>
                  <a:pt x="27" y="31"/>
                  <a:pt x="27" y="36"/>
                </a:cubicBezTo>
                <a:cubicBezTo>
                  <a:pt x="27" y="40"/>
                  <a:pt x="33" y="43"/>
                  <a:pt x="32" y="47"/>
                </a:cubicBezTo>
                <a:cubicBezTo>
                  <a:pt x="31" y="49"/>
                  <a:pt x="30" y="54"/>
                  <a:pt x="30" y="56"/>
                </a:cubicBezTo>
                <a:cubicBezTo>
                  <a:pt x="30" y="58"/>
                  <a:pt x="30" y="65"/>
                  <a:pt x="28" y="66"/>
                </a:cubicBezTo>
                <a:cubicBezTo>
                  <a:pt x="26" y="66"/>
                  <a:pt x="24" y="64"/>
                  <a:pt x="22" y="66"/>
                </a:cubicBezTo>
                <a:cubicBezTo>
                  <a:pt x="19" y="68"/>
                  <a:pt x="16" y="67"/>
                  <a:pt x="14" y="69"/>
                </a:cubicBezTo>
                <a:cubicBezTo>
                  <a:pt x="11" y="71"/>
                  <a:pt x="8" y="70"/>
                  <a:pt x="7" y="73"/>
                </a:cubicBezTo>
                <a:cubicBezTo>
                  <a:pt x="7" y="76"/>
                  <a:pt x="5" y="77"/>
                  <a:pt x="5" y="80"/>
                </a:cubicBezTo>
                <a:cubicBezTo>
                  <a:pt x="6" y="82"/>
                  <a:pt x="4" y="81"/>
                  <a:pt x="2" y="83"/>
                </a:cubicBezTo>
                <a:cubicBezTo>
                  <a:pt x="0" y="85"/>
                  <a:pt x="2" y="86"/>
                  <a:pt x="1" y="88"/>
                </a:cubicBezTo>
                <a:cubicBezTo>
                  <a:pt x="0" y="89"/>
                  <a:pt x="2" y="91"/>
                  <a:pt x="3" y="94"/>
                </a:cubicBezTo>
                <a:cubicBezTo>
                  <a:pt x="4" y="96"/>
                  <a:pt x="6" y="97"/>
                  <a:pt x="6" y="99"/>
                </a:cubicBezTo>
                <a:cubicBezTo>
                  <a:pt x="6" y="102"/>
                  <a:pt x="7" y="102"/>
                  <a:pt x="9" y="102"/>
                </a:cubicBezTo>
                <a:cubicBezTo>
                  <a:pt x="11" y="102"/>
                  <a:pt x="10" y="106"/>
                  <a:pt x="13" y="106"/>
                </a:cubicBezTo>
                <a:cubicBezTo>
                  <a:pt x="16" y="106"/>
                  <a:pt x="19" y="107"/>
                  <a:pt x="20" y="105"/>
                </a:cubicBezTo>
                <a:cubicBezTo>
                  <a:pt x="21" y="103"/>
                  <a:pt x="23" y="102"/>
                  <a:pt x="23" y="104"/>
                </a:cubicBezTo>
                <a:cubicBezTo>
                  <a:pt x="23" y="107"/>
                  <a:pt x="23" y="114"/>
                  <a:pt x="25" y="113"/>
                </a:cubicBezTo>
                <a:cubicBezTo>
                  <a:pt x="27" y="113"/>
                  <a:pt x="32" y="113"/>
                  <a:pt x="34" y="114"/>
                </a:cubicBezTo>
                <a:cubicBezTo>
                  <a:pt x="36" y="114"/>
                  <a:pt x="38" y="114"/>
                  <a:pt x="40" y="112"/>
                </a:cubicBezTo>
                <a:cubicBezTo>
                  <a:pt x="41" y="111"/>
                  <a:pt x="43" y="111"/>
                  <a:pt x="46" y="109"/>
                </a:cubicBezTo>
                <a:cubicBezTo>
                  <a:pt x="49" y="107"/>
                  <a:pt x="51" y="105"/>
                  <a:pt x="54" y="105"/>
                </a:cubicBezTo>
                <a:cubicBezTo>
                  <a:pt x="56" y="105"/>
                  <a:pt x="61" y="104"/>
                  <a:pt x="60" y="106"/>
                </a:cubicBezTo>
                <a:cubicBezTo>
                  <a:pt x="60" y="108"/>
                  <a:pt x="59" y="115"/>
                  <a:pt x="63" y="119"/>
                </a:cubicBezTo>
                <a:cubicBezTo>
                  <a:pt x="66" y="123"/>
                  <a:pt x="68" y="125"/>
                  <a:pt x="71" y="124"/>
                </a:cubicBezTo>
                <a:cubicBezTo>
                  <a:pt x="74" y="124"/>
                  <a:pt x="73" y="125"/>
                  <a:pt x="76" y="125"/>
                </a:cubicBezTo>
                <a:cubicBezTo>
                  <a:pt x="78" y="125"/>
                  <a:pt x="76" y="128"/>
                  <a:pt x="78" y="128"/>
                </a:cubicBezTo>
                <a:cubicBezTo>
                  <a:pt x="81" y="128"/>
                  <a:pt x="84" y="128"/>
                  <a:pt x="84" y="130"/>
                </a:cubicBezTo>
                <a:cubicBezTo>
                  <a:pt x="84" y="132"/>
                  <a:pt x="90" y="131"/>
                  <a:pt x="92" y="132"/>
                </a:cubicBezTo>
                <a:cubicBezTo>
                  <a:pt x="93" y="133"/>
                  <a:pt x="95" y="134"/>
                  <a:pt x="94" y="137"/>
                </a:cubicBezTo>
                <a:cubicBezTo>
                  <a:pt x="94" y="139"/>
                  <a:pt x="97" y="141"/>
                  <a:pt x="95" y="142"/>
                </a:cubicBezTo>
                <a:cubicBezTo>
                  <a:pt x="93" y="143"/>
                  <a:pt x="96" y="145"/>
                  <a:pt x="96" y="148"/>
                </a:cubicBezTo>
                <a:cubicBezTo>
                  <a:pt x="96" y="150"/>
                  <a:pt x="99" y="151"/>
                  <a:pt x="104" y="151"/>
                </a:cubicBezTo>
                <a:cubicBezTo>
                  <a:pt x="108" y="151"/>
                  <a:pt x="109" y="151"/>
                  <a:pt x="109" y="154"/>
                </a:cubicBezTo>
                <a:cubicBezTo>
                  <a:pt x="109" y="158"/>
                  <a:pt x="112" y="158"/>
                  <a:pt x="114" y="161"/>
                </a:cubicBezTo>
                <a:cubicBezTo>
                  <a:pt x="115" y="164"/>
                  <a:pt x="112" y="168"/>
                  <a:pt x="113" y="170"/>
                </a:cubicBezTo>
                <a:cubicBezTo>
                  <a:pt x="113" y="172"/>
                  <a:pt x="112" y="174"/>
                  <a:pt x="111" y="175"/>
                </a:cubicBezTo>
                <a:cubicBezTo>
                  <a:pt x="112" y="177"/>
                  <a:pt x="112" y="178"/>
                  <a:pt x="111" y="179"/>
                </a:cubicBezTo>
                <a:cubicBezTo>
                  <a:pt x="109" y="180"/>
                  <a:pt x="113" y="182"/>
                  <a:pt x="112" y="187"/>
                </a:cubicBezTo>
                <a:cubicBezTo>
                  <a:pt x="111" y="192"/>
                  <a:pt x="111" y="192"/>
                  <a:pt x="116" y="193"/>
                </a:cubicBezTo>
                <a:cubicBezTo>
                  <a:pt x="120" y="193"/>
                  <a:pt x="120" y="194"/>
                  <a:pt x="122" y="193"/>
                </a:cubicBezTo>
                <a:cubicBezTo>
                  <a:pt x="123" y="192"/>
                  <a:pt x="126" y="197"/>
                  <a:pt x="126" y="199"/>
                </a:cubicBezTo>
                <a:cubicBezTo>
                  <a:pt x="127" y="201"/>
                  <a:pt x="129" y="207"/>
                  <a:pt x="130" y="207"/>
                </a:cubicBezTo>
                <a:cubicBezTo>
                  <a:pt x="131" y="207"/>
                  <a:pt x="133" y="204"/>
                  <a:pt x="135" y="205"/>
                </a:cubicBezTo>
                <a:cubicBezTo>
                  <a:pt x="138" y="207"/>
                  <a:pt x="135" y="214"/>
                  <a:pt x="135" y="218"/>
                </a:cubicBezTo>
                <a:cubicBezTo>
                  <a:pt x="137" y="218"/>
                  <a:pt x="139" y="218"/>
                  <a:pt x="139" y="218"/>
                </a:cubicBezTo>
                <a:cubicBezTo>
                  <a:pt x="141" y="219"/>
                  <a:pt x="141" y="227"/>
                  <a:pt x="141" y="229"/>
                </a:cubicBezTo>
                <a:cubicBezTo>
                  <a:pt x="140" y="230"/>
                  <a:pt x="135" y="231"/>
                  <a:pt x="132" y="233"/>
                </a:cubicBezTo>
                <a:cubicBezTo>
                  <a:pt x="130" y="235"/>
                  <a:pt x="123" y="241"/>
                  <a:pt x="120" y="246"/>
                </a:cubicBezTo>
                <a:cubicBezTo>
                  <a:pt x="119" y="249"/>
                  <a:pt x="116" y="251"/>
                  <a:pt x="114" y="253"/>
                </a:cubicBezTo>
                <a:cubicBezTo>
                  <a:pt x="115" y="253"/>
                  <a:pt x="116" y="253"/>
                  <a:pt x="116" y="253"/>
                </a:cubicBezTo>
                <a:cubicBezTo>
                  <a:pt x="118" y="252"/>
                  <a:pt x="120" y="252"/>
                  <a:pt x="122" y="255"/>
                </a:cubicBezTo>
                <a:cubicBezTo>
                  <a:pt x="124" y="258"/>
                  <a:pt x="124" y="260"/>
                  <a:pt x="125" y="260"/>
                </a:cubicBezTo>
                <a:cubicBezTo>
                  <a:pt x="126" y="260"/>
                  <a:pt x="127" y="256"/>
                  <a:pt x="129" y="259"/>
                </a:cubicBezTo>
                <a:cubicBezTo>
                  <a:pt x="131" y="261"/>
                  <a:pt x="136" y="263"/>
                  <a:pt x="137" y="265"/>
                </a:cubicBezTo>
                <a:cubicBezTo>
                  <a:pt x="138" y="266"/>
                  <a:pt x="142" y="267"/>
                  <a:pt x="142" y="270"/>
                </a:cubicBezTo>
                <a:cubicBezTo>
                  <a:pt x="142" y="272"/>
                  <a:pt x="140" y="277"/>
                  <a:pt x="142" y="280"/>
                </a:cubicBezTo>
                <a:cubicBezTo>
                  <a:pt x="143" y="279"/>
                  <a:pt x="144" y="278"/>
                  <a:pt x="145" y="27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5" name="Freeform 111"/>
          <p:cNvSpPr/>
          <p:nvPr/>
        </p:nvSpPr>
        <p:spPr bwMode="auto">
          <a:xfrm>
            <a:off x="3061767" y="3762823"/>
            <a:ext cx="96838" cy="107950"/>
          </a:xfrm>
          <a:custGeom>
            <a:avLst/>
            <a:gdLst>
              <a:gd name="T0" fmla="*/ 34 w 34"/>
              <a:gd name="T1" fmla="*/ 18 h 38"/>
              <a:gd name="T2" fmla="*/ 29 w 34"/>
              <a:gd name="T3" fmla="*/ 13 h 38"/>
              <a:gd name="T4" fmla="*/ 21 w 34"/>
              <a:gd name="T5" fmla="*/ 7 h 38"/>
              <a:gd name="T6" fmla="*/ 17 w 34"/>
              <a:gd name="T7" fmla="*/ 8 h 38"/>
              <a:gd name="T8" fmla="*/ 14 w 34"/>
              <a:gd name="T9" fmla="*/ 3 h 38"/>
              <a:gd name="T10" fmla="*/ 8 w 34"/>
              <a:gd name="T11" fmla="*/ 1 h 38"/>
              <a:gd name="T12" fmla="*/ 6 w 34"/>
              <a:gd name="T13" fmla="*/ 1 h 38"/>
              <a:gd name="T14" fmla="*/ 4 w 34"/>
              <a:gd name="T15" fmla="*/ 5 h 38"/>
              <a:gd name="T16" fmla="*/ 2 w 34"/>
              <a:gd name="T17" fmla="*/ 17 h 38"/>
              <a:gd name="T18" fmla="*/ 0 w 34"/>
              <a:gd name="T19" fmla="*/ 26 h 38"/>
              <a:gd name="T20" fmla="*/ 2 w 34"/>
              <a:gd name="T21" fmla="*/ 30 h 38"/>
              <a:gd name="T22" fmla="*/ 1 w 34"/>
              <a:gd name="T23" fmla="*/ 33 h 38"/>
              <a:gd name="T24" fmla="*/ 4 w 34"/>
              <a:gd name="T25" fmla="*/ 34 h 38"/>
              <a:gd name="T26" fmla="*/ 13 w 34"/>
              <a:gd name="T27" fmla="*/ 36 h 38"/>
              <a:gd name="T28" fmla="*/ 18 w 34"/>
              <a:gd name="T29" fmla="*/ 36 h 38"/>
              <a:gd name="T30" fmla="*/ 29 w 34"/>
              <a:gd name="T31" fmla="*/ 35 h 38"/>
              <a:gd name="T32" fmla="*/ 34 w 34"/>
              <a:gd name="T33" fmla="*/ 28 h 38"/>
              <a:gd name="T34" fmla="*/ 34 w 34"/>
              <a:gd name="T35"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38">
                <a:moveTo>
                  <a:pt x="34" y="18"/>
                </a:moveTo>
                <a:cubicBezTo>
                  <a:pt x="34" y="15"/>
                  <a:pt x="30" y="14"/>
                  <a:pt x="29" y="13"/>
                </a:cubicBezTo>
                <a:cubicBezTo>
                  <a:pt x="28" y="11"/>
                  <a:pt x="23" y="9"/>
                  <a:pt x="21" y="7"/>
                </a:cubicBezTo>
                <a:cubicBezTo>
                  <a:pt x="19" y="4"/>
                  <a:pt x="18" y="8"/>
                  <a:pt x="17" y="8"/>
                </a:cubicBezTo>
                <a:cubicBezTo>
                  <a:pt x="16" y="8"/>
                  <a:pt x="16" y="6"/>
                  <a:pt x="14" y="3"/>
                </a:cubicBezTo>
                <a:cubicBezTo>
                  <a:pt x="12" y="0"/>
                  <a:pt x="10" y="0"/>
                  <a:pt x="8" y="1"/>
                </a:cubicBezTo>
                <a:cubicBezTo>
                  <a:pt x="8" y="1"/>
                  <a:pt x="7" y="1"/>
                  <a:pt x="6" y="1"/>
                </a:cubicBezTo>
                <a:cubicBezTo>
                  <a:pt x="5" y="2"/>
                  <a:pt x="4" y="4"/>
                  <a:pt x="4" y="5"/>
                </a:cubicBezTo>
                <a:cubicBezTo>
                  <a:pt x="4" y="8"/>
                  <a:pt x="2" y="11"/>
                  <a:pt x="2" y="17"/>
                </a:cubicBezTo>
                <a:cubicBezTo>
                  <a:pt x="2" y="22"/>
                  <a:pt x="0" y="21"/>
                  <a:pt x="0" y="26"/>
                </a:cubicBezTo>
                <a:cubicBezTo>
                  <a:pt x="0" y="30"/>
                  <a:pt x="1" y="29"/>
                  <a:pt x="2" y="30"/>
                </a:cubicBezTo>
                <a:cubicBezTo>
                  <a:pt x="2" y="30"/>
                  <a:pt x="2" y="31"/>
                  <a:pt x="1" y="33"/>
                </a:cubicBezTo>
                <a:cubicBezTo>
                  <a:pt x="2" y="33"/>
                  <a:pt x="3" y="34"/>
                  <a:pt x="4" y="34"/>
                </a:cubicBezTo>
                <a:cubicBezTo>
                  <a:pt x="7" y="34"/>
                  <a:pt x="10" y="35"/>
                  <a:pt x="13" y="36"/>
                </a:cubicBezTo>
                <a:cubicBezTo>
                  <a:pt x="16" y="38"/>
                  <a:pt x="15" y="36"/>
                  <a:pt x="18" y="36"/>
                </a:cubicBezTo>
                <a:cubicBezTo>
                  <a:pt x="22" y="37"/>
                  <a:pt x="25" y="37"/>
                  <a:pt x="29" y="35"/>
                </a:cubicBezTo>
                <a:cubicBezTo>
                  <a:pt x="31" y="33"/>
                  <a:pt x="32" y="31"/>
                  <a:pt x="34" y="28"/>
                </a:cubicBezTo>
                <a:cubicBezTo>
                  <a:pt x="32" y="25"/>
                  <a:pt x="34" y="20"/>
                  <a:pt x="34" y="1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6" name="Freeform 112"/>
          <p:cNvSpPr>
            <a:spLocks noEditPoints="1"/>
          </p:cNvSpPr>
          <p:nvPr/>
        </p:nvSpPr>
        <p:spPr bwMode="auto">
          <a:xfrm>
            <a:off x="2760142" y="3583435"/>
            <a:ext cx="395288" cy="785813"/>
          </a:xfrm>
          <a:custGeom>
            <a:avLst/>
            <a:gdLst>
              <a:gd name="T0" fmla="*/ 39 w 139"/>
              <a:gd name="T1" fmla="*/ 261 h 276"/>
              <a:gd name="T2" fmla="*/ 36 w 139"/>
              <a:gd name="T3" fmla="*/ 255 h 276"/>
              <a:gd name="T4" fmla="*/ 34 w 139"/>
              <a:gd name="T5" fmla="*/ 274 h 276"/>
              <a:gd name="T6" fmla="*/ 49 w 139"/>
              <a:gd name="T7" fmla="*/ 275 h 276"/>
              <a:gd name="T8" fmla="*/ 53 w 139"/>
              <a:gd name="T9" fmla="*/ 270 h 276"/>
              <a:gd name="T10" fmla="*/ 133 w 139"/>
              <a:gd name="T11" fmla="*/ 29 h 276"/>
              <a:gd name="T12" fmla="*/ 129 w 139"/>
              <a:gd name="T13" fmla="*/ 40 h 276"/>
              <a:gd name="T14" fmla="*/ 118 w 139"/>
              <a:gd name="T15" fmla="*/ 43 h 276"/>
              <a:gd name="T16" fmla="*/ 105 w 139"/>
              <a:gd name="T17" fmla="*/ 41 h 276"/>
              <a:gd name="T18" fmla="*/ 113 w 139"/>
              <a:gd name="T19" fmla="*/ 28 h 276"/>
              <a:gd name="T20" fmla="*/ 92 w 139"/>
              <a:gd name="T21" fmla="*/ 17 h 276"/>
              <a:gd name="T22" fmla="*/ 75 w 139"/>
              <a:gd name="T23" fmla="*/ 3 h 276"/>
              <a:gd name="T24" fmla="*/ 64 w 139"/>
              <a:gd name="T25" fmla="*/ 7 h 276"/>
              <a:gd name="T26" fmla="*/ 50 w 139"/>
              <a:gd name="T27" fmla="*/ 4 h 276"/>
              <a:gd name="T28" fmla="*/ 44 w 139"/>
              <a:gd name="T29" fmla="*/ 16 h 276"/>
              <a:gd name="T30" fmla="*/ 35 w 139"/>
              <a:gd name="T31" fmla="*/ 27 h 276"/>
              <a:gd name="T32" fmla="*/ 36 w 139"/>
              <a:gd name="T33" fmla="*/ 39 h 276"/>
              <a:gd name="T34" fmla="*/ 30 w 139"/>
              <a:gd name="T35" fmla="*/ 48 h 276"/>
              <a:gd name="T36" fmla="*/ 25 w 139"/>
              <a:gd name="T37" fmla="*/ 58 h 276"/>
              <a:gd name="T38" fmla="*/ 22 w 139"/>
              <a:gd name="T39" fmla="*/ 71 h 276"/>
              <a:gd name="T40" fmla="*/ 24 w 139"/>
              <a:gd name="T41" fmla="*/ 85 h 276"/>
              <a:gd name="T42" fmla="*/ 24 w 139"/>
              <a:gd name="T43" fmla="*/ 97 h 276"/>
              <a:gd name="T44" fmla="*/ 22 w 139"/>
              <a:gd name="T45" fmla="*/ 110 h 276"/>
              <a:gd name="T46" fmla="*/ 17 w 139"/>
              <a:gd name="T47" fmla="*/ 126 h 276"/>
              <a:gd name="T48" fmla="*/ 15 w 139"/>
              <a:gd name="T49" fmla="*/ 133 h 276"/>
              <a:gd name="T50" fmla="*/ 13 w 139"/>
              <a:gd name="T51" fmla="*/ 142 h 276"/>
              <a:gd name="T52" fmla="*/ 12 w 139"/>
              <a:gd name="T53" fmla="*/ 152 h 276"/>
              <a:gd name="T54" fmla="*/ 11 w 139"/>
              <a:gd name="T55" fmla="*/ 166 h 276"/>
              <a:gd name="T56" fmla="*/ 12 w 139"/>
              <a:gd name="T57" fmla="*/ 174 h 276"/>
              <a:gd name="T58" fmla="*/ 15 w 139"/>
              <a:gd name="T59" fmla="*/ 181 h 276"/>
              <a:gd name="T60" fmla="*/ 14 w 139"/>
              <a:gd name="T61" fmla="*/ 187 h 276"/>
              <a:gd name="T62" fmla="*/ 13 w 139"/>
              <a:gd name="T63" fmla="*/ 198 h 276"/>
              <a:gd name="T64" fmla="*/ 8 w 139"/>
              <a:gd name="T65" fmla="*/ 207 h 276"/>
              <a:gd name="T66" fmla="*/ 5 w 139"/>
              <a:gd name="T67" fmla="*/ 217 h 276"/>
              <a:gd name="T68" fmla="*/ 1 w 139"/>
              <a:gd name="T69" fmla="*/ 228 h 276"/>
              <a:gd name="T70" fmla="*/ 9 w 139"/>
              <a:gd name="T71" fmla="*/ 235 h 276"/>
              <a:gd name="T72" fmla="*/ 13 w 139"/>
              <a:gd name="T73" fmla="*/ 246 h 276"/>
              <a:gd name="T74" fmla="*/ 29 w 139"/>
              <a:gd name="T75" fmla="*/ 248 h 276"/>
              <a:gd name="T76" fmla="*/ 32 w 139"/>
              <a:gd name="T77" fmla="*/ 242 h 276"/>
              <a:gd name="T78" fmla="*/ 32 w 139"/>
              <a:gd name="T79" fmla="*/ 230 h 276"/>
              <a:gd name="T80" fmla="*/ 40 w 139"/>
              <a:gd name="T81" fmla="*/ 223 h 276"/>
              <a:gd name="T82" fmla="*/ 53 w 139"/>
              <a:gd name="T83" fmla="*/ 208 h 276"/>
              <a:gd name="T84" fmla="*/ 47 w 139"/>
              <a:gd name="T85" fmla="*/ 200 h 276"/>
              <a:gd name="T86" fmla="*/ 54 w 139"/>
              <a:gd name="T87" fmla="*/ 183 h 276"/>
              <a:gd name="T88" fmla="*/ 57 w 139"/>
              <a:gd name="T89" fmla="*/ 174 h 276"/>
              <a:gd name="T90" fmla="*/ 62 w 139"/>
              <a:gd name="T91" fmla="*/ 165 h 276"/>
              <a:gd name="T92" fmla="*/ 66 w 139"/>
              <a:gd name="T93" fmla="*/ 165 h 276"/>
              <a:gd name="T94" fmla="*/ 64 w 139"/>
              <a:gd name="T95" fmla="*/ 161 h 276"/>
              <a:gd name="T96" fmla="*/ 59 w 139"/>
              <a:gd name="T97" fmla="*/ 154 h 276"/>
              <a:gd name="T98" fmla="*/ 70 w 139"/>
              <a:gd name="T99" fmla="*/ 150 h 276"/>
              <a:gd name="T100" fmla="*/ 79 w 139"/>
              <a:gd name="T101" fmla="*/ 140 h 276"/>
              <a:gd name="T102" fmla="*/ 81 w 139"/>
              <a:gd name="T103" fmla="*/ 132 h 276"/>
              <a:gd name="T104" fmla="*/ 112 w 139"/>
              <a:gd name="T105" fmla="*/ 124 h 276"/>
              <a:gd name="T106" fmla="*/ 115 w 139"/>
              <a:gd name="T107" fmla="*/ 111 h 276"/>
              <a:gd name="T108" fmla="*/ 110 w 139"/>
              <a:gd name="T109" fmla="*/ 101 h 276"/>
              <a:gd name="T110" fmla="*/ 107 w 139"/>
              <a:gd name="T111" fmla="*/ 96 h 276"/>
              <a:gd name="T112" fmla="*/ 106 w 139"/>
              <a:gd name="T113" fmla="*/ 89 h 276"/>
              <a:gd name="T114" fmla="*/ 110 w 139"/>
              <a:gd name="T115" fmla="*/ 68 h 276"/>
              <a:gd name="T116" fmla="*/ 130 w 139"/>
              <a:gd name="T117" fmla="*/ 44 h 276"/>
              <a:gd name="T118" fmla="*/ 137 w 139"/>
              <a:gd name="T119" fmla="*/ 2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9" h="276">
                <a:moveTo>
                  <a:pt x="53" y="270"/>
                </a:moveTo>
                <a:cubicBezTo>
                  <a:pt x="49" y="270"/>
                  <a:pt x="41" y="263"/>
                  <a:pt x="39" y="261"/>
                </a:cubicBezTo>
                <a:cubicBezTo>
                  <a:pt x="37" y="259"/>
                  <a:pt x="39" y="257"/>
                  <a:pt x="36" y="258"/>
                </a:cubicBezTo>
                <a:cubicBezTo>
                  <a:pt x="33" y="258"/>
                  <a:pt x="35" y="256"/>
                  <a:pt x="36" y="255"/>
                </a:cubicBezTo>
                <a:cubicBezTo>
                  <a:pt x="38" y="254"/>
                  <a:pt x="36" y="252"/>
                  <a:pt x="34" y="251"/>
                </a:cubicBezTo>
                <a:cubicBezTo>
                  <a:pt x="34" y="255"/>
                  <a:pt x="33" y="274"/>
                  <a:pt x="34" y="274"/>
                </a:cubicBezTo>
                <a:cubicBezTo>
                  <a:pt x="35" y="274"/>
                  <a:pt x="43" y="273"/>
                  <a:pt x="46" y="275"/>
                </a:cubicBezTo>
                <a:cubicBezTo>
                  <a:pt x="47" y="275"/>
                  <a:pt x="48" y="276"/>
                  <a:pt x="49" y="275"/>
                </a:cubicBezTo>
                <a:cubicBezTo>
                  <a:pt x="50" y="273"/>
                  <a:pt x="55" y="274"/>
                  <a:pt x="57" y="272"/>
                </a:cubicBezTo>
                <a:cubicBezTo>
                  <a:pt x="60" y="271"/>
                  <a:pt x="57" y="270"/>
                  <a:pt x="53" y="270"/>
                </a:cubicBezTo>
                <a:close/>
                <a:moveTo>
                  <a:pt x="137" y="29"/>
                </a:moveTo>
                <a:cubicBezTo>
                  <a:pt x="137" y="29"/>
                  <a:pt x="135" y="29"/>
                  <a:pt x="133" y="29"/>
                </a:cubicBezTo>
                <a:cubicBezTo>
                  <a:pt x="133" y="29"/>
                  <a:pt x="133" y="29"/>
                  <a:pt x="133" y="29"/>
                </a:cubicBezTo>
                <a:cubicBezTo>
                  <a:pt x="133" y="32"/>
                  <a:pt x="131" y="40"/>
                  <a:pt x="129" y="40"/>
                </a:cubicBezTo>
                <a:cubicBezTo>
                  <a:pt x="127" y="39"/>
                  <a:pt x="126" y="43"/>
                  <a:pt x="124" y="42"/>
                </a:cubicBezTo>
                <a:cubicBezTo>
                  <a:pt x="122" y="42"/>
                  <a:pt x="120" y="45"/>
                  <a:pt x="118" y="43"/>
                </a:cubicBezTo>
                <a:cubicBezTo>
                  <a:pt x="116" y="42"/>
                  <a:pt x="113" y="44"/>
                  <a:pt x="111" y="43"/>
                </a:cubicBezTo>
                <a:cubicBezTo>
                  <a:pt x="110" y="42"/>
                  <a:pt x="105" y="43"/>
                  <a:pt x="105" y="41"/>
                </a:cubicBezTo>
                <a:cubicBezTo>
                  <a:pt x="105" y="40"/>
                  <a:pt x="107" y="41"/>
                  <a:pt x="107" y="37"/>
                </a:cubicBezTo>
                <a:cubicBezTo>
                  <a:pt x="107" y="33"/>
                  <a:pt x="113" y="29"/>
                  <a:pt x="113" y="28"/>
                </a:cubicBezTo>
                <a:cubicBezTo>
                  <a:pt x="112" y="26"/>
                  <a:pt x="101" y="23"/>
                  <a:pt x="100" y="21"/>
                </a:cubicBezTo>
                <a:cubicBezTo>
                  <a:pt x="98" y="19"/>
                  <a:pt x="96" y="18"/>
                  <a:pt x="92" y="17"/>
                </a:cubicBezTo>
                <a:cubicBezTo>
                  <a:pt x="88" y="17"/>
                  <a:pt x="88" y="15"/>
                  <a:pt x="84" y="12"/>
                </a:cubicBezTo>
                <a:cubicBezTo>
                  <a:pt x="81" y="11"/>
                  <a:pt x="77" y="5"/>
                  <a:pt x="75" y="3"/>
                </a:cubicBezTo>
                <a:cubicBezTo>
                  <a:pt x="72" y="2"/>
                  <a:pt x="69" y="2"/>
                  <a:pt x="68" y="3"/>
                </a:cubicBezTo>
                <a:cubicBezTo>
                  <a:pt x="67" y="4"/>
                  <a:pt x="65" y="10"/>
                  <a:pt x="64" y="7"/>
                </a:cubicBezTo>
                <a:cubicBezTo>
                  <a:pt x="63" y="4"/>
                  <a:pt x="59" y="4"/>
                  <a:pt x="56" y="4"/>
                </a:cubicBezTo>
                <a:cubicBezTo>
                  <a:pt x="53" y="3"/>
                  <a:pt x="53" y="0"/>
                  <a:pt x="50" y="4"/>
                </a:cubicBezTo>
                <a:cubicBezTo>
                  <a:pt x="49" y="5"/>
                  <a:pt x="47" y="7"/>
                  <a:pt x="45" y="8"/>
                </a:cubicBezTo>
                <a:cubicBezTo>
                  <a:pt x="45" y="11"/>
                  <a:pt x="44" y="15"/>
                  <a:pt x="44" y="16"/>
                </a:cubicBezTo>
                <a:cubicBezTo>
                  <a:pt x="43" y="17"/>
                  <a:pt x="36" y="21"/>
                  <a:pt x="36" y="22"/>
                </a:cubicBezTo>
                <a:cubicBezTo>
                  <a:pt x="36" y="24"/>
                  <a:pt x="37" y="26"/>
                  <a:pt x="35" y="27"/>
                </a:cubicBezTo>
                <a:cubicBezTo>
                  <a:pt x="34" y="28"/>
                  <a:pt x="38" y="33"/>
                  <a:pt x="36" y="35"/>
                </a:cubicBezTo>
                <a:cubicBezTo>
                  <a:pt x="34" y="36"/>
                  <a:pt x="38" y="38"/>
                  <a:pt x="36" y="39"/>
                </a:cubicBezTo>
                <a:cubicBezTo>
                  <a:pt x="35" y="40"/>
                  <a:pt x="32" y="41"/>
                  <a:pt x="32" y="42"/>
                </a:cubicBezTo>
                <a:cubicBezTo>
                  <a:pt x="32" y="44"/>
                  <a:pt x="32" y="47"/>
                  <a:pt x="30" y="48"/>
                </a:cubicBezTo>
                <a:cubicBezTo>
                  <a:pt x="28" y="49"/>
                  <a:pt x="27" y="52"/>
                  <a:pt x="27" y="54"/>
                </a:cubicBezTo>
                <a:cubicBezTo>
                  <a:pt x="27" y="57"/>
                  <a:pt x="24" y="55"/>
                  <a:pt x="25" y="58"/>
                </a:cubicBezTo>
                <a:cubicBezTo>
                  <a:pt x="26" y="61"/>
                  <a:pt x="27" y="65"/>
                  <a:pt x="25" y="65"/>
                </a:cubicBezTo>
                <a:cubicBezTo>
                  <a:pt x="23" y="66"/>
                  <a:pt x="23" y="71"/>
                  <a:pt x="22" y="71"/>
                </a:cubicBezTo>
                <a:cubicBezTo>
                  <a:pt x="21" y="71"/>
                  <a:pt x="20" y="75"/>
                  <a:pt x="22" y="78"/>
                </a:cubicBezTo>
                <a:cubicBezTo>
                  <a:pt x="24" y="80"/>
                  <a:pt x="24" y="83"/>
                  <a:pt x="24" y="85"/>
                </a:cubicBezTo>
                <a:cubicBezTo>
                  <a:pt x="24" y="87"/>
                  <a:pt x="27" y="88"/>
                  <a:pt x="26" y="91"/>
                </a:cubicBezTo>
                <a:cubicBezTo>
                  <a:pt x="25" y="93"/>
                  <a:pt x="26" y="96"/>
                  <a:pt x="24" y="97"/>
                </a:cubicBezTo>
                <a:cubicBezTo>
                  <a:pt x="23" y="98"/>
                  <a:pt x="24" y="101"/>
                  <a:pt x="22" y="102"/>
                </a:cubicBezTo>
                <a:cubicBezTo>
                  <a:pt x="20" y="102"/>
                  <a:pt x="24" y="109"/>
                  <a:pt x="22" y="110"/>
                </a:cubicBezTo>
                <a:cubicBezTo>
                  <a:pt x="21" y="111"/>
                  <a:pt x="17" y="112"/>
                  <a:pt x="17" y="117"/>
                </a:cubicBezTo>
                <a:cubicBezTo>
                  <a:pt x="17" y="122"/>
                  <a:pt x="18" y="124"/>
                  <a:pt x="17" y="126"/>
                </a:cubicBezTo>
                <a:cubicBezTo>
                  <a:pt x="17" y="128"/>
                  <a:pt x="19" y="127"/>
                  <a:pt x="19" y="130"/>
                </a:cubicBezTo>
                <a:cubicBezTo>
                  <a:pt x="18" y="133"/>
                  <a:pt x="15" y="131"/>
                  <a:pt x="15" y="133"/>
                </a:cubicBezTo>
                <a:cubicBezTo>
                  <a:pt x="15" y="134"/>
                  <a:pt x="16" y="138"/>
                  <a:pt x="14" y="138"/>
                </a:cubicBezTo>
                <a:cubicBezTo>
                  <a:pt x="13" y="138"/>
                  <a:pt x="13" y="139"/>
                  <a:pt x="13" y="142"/>
                </a:cubicBezTo>
                <a:cubicBezTo>
                  <a:pt x="13" y="145"/>
                  <a:pt x="11" y="146"/>
                  <a:pt x="11" y="147"/>
                </a:cubicBezTo>
                <a:cubicBezTo>
                  <a:pt x="10" y="148"/>
                  <a:pt x="12" y="150"/>
                  <a:pt x="12" y="152"/>
                </a:cubicBezTo>
                <a:cubicBezTo>
                  <a:pt x="12" y="153"/>
                  <a:pt x="13" y="159"/>
                  <a:pt x="12" y="159"/>
                </a:cubicBezTo>
                <a:cubicBezTo>
                  <a:pt x="10" y="159"/>
                  <a:pt x="9" y="166"/>
                  <a:pt x="11" y="166"/>
                </a:cubicBezTo>
                <a:cubicBezTo>
                  <a:pt x="12" y="167"/>
                  <a:pt x="12" y="169"/>
                  <a:pt x="11" y="170"/>
                </a:cubicBezTo>
                <a:cubicBezTo>
                  <a:pt x="11" y="171"/>
                  <a:pt x="14" y="173"/>
                  <a:pt x="12" y="174"/>
                </a:cubicBezTo>
                <a:cubicBezTo>
                  <a:pt x="10" y="176"/>
                  <a:pt x="12" y="179"/>
                  <a:pt x="14" y="178"/>
                </a:cubicBezTo>
                <a:cubicBezTo>
                  <a:pt x="16" y="177"/>
                  <a:pt x="18" y="181"/>
                  <a:pt x="15" y="181"/>
                </a:cubicBezTo>
                <a:cubicBezTo>
                  <a:pt x="13" y="181"/>
                  <a:pt x="11" y="181"/>
                  <a:pt x="13" y="183"/>
                </a:cubicBezTo>
                <a:cubicBezTo>
                  <a:pt x="15" y="184"/>
                  <a:pt x="16" y="186"/>
                  <a:pt x="14" y="187"/>
                </a:cubicBezTo>
                <a:cubicBezTo>
                  <a:pt x="11" y="188"/>
                  <a:pt x="13" y="190"/>
                  <a:pt x="13" y="192"/>
                </a:cubicBezTo>
                <a:cubicBezTo>
                  <a:pt x="12" y="195"/>
                  <a:pt x="15" y="197"/>
                  <a:pt x="13" y="198"/>
                </a:cubicBezTo>
                <a:cubicBezTo>
                  <a:pt x="10" y="198"/>
                  <a:pt x="13" y="202"/>
                  <a:pt x="10" y="203"/>
                </a:cubicBezTo>
                <a:cubicBezTo>
                  <a:pt x="8" y="203"/>
                  <a:pt x="9" y="206"/>
                  <a:pt x="8" y="207"/>
                </a:cubicBezTo>
                <a:cubicBezTo>
                  <a:pt x="6" y="209"/>
                  <a:pt x="10" y="211"/>
                  <a:pt x="8" y="213"/>
                </a:cubicBezTo>
                <a:cubicBezTo>
                  <a:pt x="6" y="214"/>
                  <a:pt x="7" y="217"/>
                  <a:pt x="5" y="217"/>
                </a:cubicBezTo>
                <a:cubicBezTo>
                  <a:pt x="3" y="217"/>
                  <a:pt x="1" y="220"/>
                  <a:pt x="1" y="222"/>
                </a:cubicBezTo>
                <a:cubicBezTo>
                  <a:pt x="1" y="223"/>
                  <a:pt x="0" y="226"/>
                  <a:pt x="1" y="228"/>
                </a:cubicBezTo>
                <a:cubicBezTo>
                  <a:pt x="3" y="230"/>
                  <a:pt x="1" y="232"/>
                  <a:pt x="3" y="233"/>
                </a:cubicBezTo>
                <a:cubicBezTo>
                  <a:pt x="4" y="234"/>
                  <a:pt x="10" y="232"/>
                  <a:pt x="9" y="235"/>
                </a:cubicBezTo>
                <a:cubicBezTo>
                  <a:pt x="8" y="237"/>
                  <a:pt x="8" y="243"/>
                  <a:pt x="9" y="243"/>
                </a:cubicBezTo>
                <a:cubicBezTo>
                  <a:pt x="10" y="243"/>
                  <a:pt x="11" y="246"/>
                  <a:pt x="13" y="246"/>
                </a:cubicBezTo>
                <a:cubicBezTo>
                  <a:pt x="14" y="245"/>
                  <a:pt x="22" y="245"/>
                  <a:pt x="25" y="245"/>
                </a:cubicBezTo>
                <a:cubicBezTo>
                  <a:pt x="26" y="246"/>
                  <a:pt x="28" y="247"/>
                  <a:pt x="29" y="248"/>
                </a:cubicBezTo>
                <a:cubicBezTo>
                  <a:pt x="30" y="247"/>
                  <a:pt x="34" y="249"/>
                  <a:pt x="35" y="248"/>
                </a:cubicBezTo>
                <a:cubicBezTo>
                  <a:pt x="36" y="247"/>
                  <a:pt x="31" y="243"/>
                  <a:pt x="32" y="242"/>
                </a:cubicBezTo>
                <a:cubicBezTo>
                  <a:pt x="32" y="241"/>
                  <a:pt x="31" y="238"/>
                  <a:pt x="31" y="237"/>
                </a:cubicBezTo>
                <a:cubicBezTo>
                  <a:pt x="31" y="235"/>
                  <a:pt x="30" y="232"/>
                  <a:pt x="32" y="230"/>
                </a:cubicBezTo>
                <a:cubicBezTo>
                  <a:pt x="34" y="229"/>
                  <a:pt x="34" y="227"/>
                  <a:pt x="36" y="228"/>
                </a:cubicBezTo>
                <a:cubicBezTo>
                  <a:pt x="37" y="228"/>
                  <a:pt x="40" y="226"/>
                  <a:pt x="40" y="223"/>
                </a:cubicBezTo>
                <a:cubicBezTo>
                  <a:pt x="40" y="219"/>
                  <a:pt x="42" y="218"/>
                  <a:pt x="45" y="215"/>
                </a:cubicBezTo>
                <a:cubicBezTo>
                  <a:pt x="48" y="212"/>
                  <a:pt x="54" y="210"/>
                  <a:pt x="53" y="208"/>
                </a:cubicBezTo>
                <a:cubicBezTo>
                  <a:pt x="52" y="207"/>
                  <a:pt x="54" y="203"/>
                  <a:pt x="54" y="202"/>
                </a:cubicBezTo>
                <a:cubicBezTo>
                  <a:pt x="54" y="200"/>
                  <a:pt x="49" y="200"/>
                  <a:pt x="47" y="200"/>
                </a:cubicBezTo>
                <a:cubicBezTo>
                  <a:pt x="46" y="199"/>
                  <a:pt x="40" y="195"/>
                  <a:pt x="43" y="189"/>
                </a:cubicBezTo>
                <a:cubicBezTo>
                  <a:pt x="46" y="184"/>
                  <a:pt x="52" y="183"/>
                  <a:pt x="54" y="183"/>
                </a:cubicBezTo>
                <a:cubicBezTo>
                  <a:pt x="56" y="183"/>
                  <a:pt x="54" y="180"/>
                  <a:pt x="56" y="179"/>
                </a:cubicBezTo>
                <a:cubicBezTo>
                  <a:pt x="57" y="178"/>
                  <a:pt x="57" y="177"/>
                  <a:pt x="57" y="174"/>
                </a:cubicBezTo>
                <a:cubicBezTo>
                  <a:pt x="57" y="172"/>
                  <a:pt x="57" y="168"/>
                  <a:pt x="60" y="167"/>
                </a:cubicBezTo>
                <a:cubicBezTo>
                  <a:pt x="63" y="167"/>
                  <a:pt x="64" y="166"/>
                  <a:pt x="62" y="165"/>
                </a:cubicBezTo>
                <a:cubicBezTo>
                  <a:pt x="60" y="165"/>
                  <a:pt x="60" y="163"/>
                  <a:pt x="62" y="162"/>
                </a:cubicBezTo>
                <a:cubicBezTo>
                  <a:pt x="65" y="162"/>
                  <a:pt x="64" y="165"/>
                  <a:pt x="66" y="165"/>
                </a:cubicBezTo>
                <a:cubicBezTo>
                  <a:pt x="68" y="165"/>
                  <a:pt x="72" y="161"/>
                  <a:pt x="69" y="159"/>
                </a:cubicBezTo>
                <a:cubicBezTo>
                  <a:pt x="66" y="157"/>
                  <a:pt x="66" y="160"/>
                  <a:pt x="64" y="161"/>
                </a:cubicBezTo>
                <a:cubicBezTo>
                  <a:pt x="63" y="161"/>
                  <a:pt x="62" y="159"/>
                  <a:pt x="60" y="159"/>
                </a:cubicBezTo>
                <a:cubicBezTo>
                  <a:pt x="59" y="159"/>
                  <a:pt x="60" y="155"/>
                  <a:pt x="59" y="154"/>
                </a:cubicBezTo>
                <a:cubicBezTo>
                  <a:pt x="59" y="152"/>
                  <a:pt x="58" y="149"/>
                  <a:pt x="59" y="147"/>
                </a:cubicBezTo>
                <a:cubicBezTo>
                  <a:pt x="60" y="145"/>
                  <a:pt x="65" y="150"/>
                  <a:pt x="70" y="150"/>
                </a:cubicBezTo>
                <a:cubicBezTo>
                  <a:pt x="75" y="150"/>
                  <a:pt x="78" y="148"/>
                  <a:pt x="78" y="146"/>
                </a:cubicBezTo>
                <a:cubicBezTo>
                  <a:pt x="78" y="144"/>
                  <a:pt x="76" y="141"/>
                  <a:pt x="79" y="140"/>
                </a:cubicBezTo>
                <a:cubicBezTo>
                  <a:pt x="81" y="138"/>
                  <a:pt x="79" y="137"/>
                  <a:pt x="78" y="135"/>
                </a:cubicBezTo>
                <a:cubicBezTo>
                  <a:pt x="77" y="132"/>
                  <a:pt x="79" y="131"/>
                  <a:pt x="81" y="132"/>
                </a:cubicBezTo>
                <a:cubicBezTo>
                  <a:pt x="82" y="133"/>
                  <a:pt x="91" y="132"/>
                  <a:pt x="98" y="131"/>
                </a:cubicBezTo>
                <a:cubicBezTo>
                  <a:pt x="106" y="129"/>
                  <a:pt x="111" y="127"/>
                  <a:pt x="112" y="124"/>
                </a:cubicBezTo>
                <a:cubicBezTo>
                  <a:pt x="112" y="122"/>
                  <a:pt x="117" y="117"/>
                  <a:pt x="118" y="115"/>
                </a:cubicBezTo>
                <a:cubicBezTo>
                  <a:pt x="119" y="114"/>
                  <a:pt x="118" y="111"/>
                  <a:pt x="115" y="111"/>
                </a:cubicBezTo>
                <a:cubicBezTo>
                  <a:pt x="112" y="110"/>
                  <a:pt x="112" y="107"/>
                  <a:pt x="114" y="105"/>
                </a:cubicBezTo>
                <a:cubicBezTo>
                  <a:pt x="115" y="103"/>
                  <a:pt x="113" y="101"/>
                  <a:pt x="110" y="101"/>
                </a:cubicBezTo>
                <a:cubicBezTo>
                  <a:pt x="107" y="100"/>
                  <a:pt x="102" y="98"/>
                  <a:pt x="105" y="96"/>
                </a:cubicBezTo>
                <a:cubicBezTo>
                  <a:pt x="106" y="95"/>
                  <a:pt x="107" y="95"/>
                  <a:pt x="107" y="96"/>
                </a:cubicBezTo>
                <a:cubicBezTo>
                  <a:pt x="108" y="94"/>
                  <a:pt x="108" y="93"/>
                  <a:pt x="108" y="93"/>
                </a:cubicBezTo>
                <a:cubicBezTo>
                  <a:pt x="107" y="92"/>
                  <a:pt x="106" y="93"/>
                  <a:pt x="106" y="89"/>
                </a:cubicBezTo>
                <a:cubicBezTo>
                  <a:pt x="106" y="84"/>
                  <a:pt x="108" y="85"/>
                  <a:pt x="108" y="80"/>
                </a:cubicBezTo>
                <a:cubicBezTo>
                  <a:pt x="108" y="74"/>
                  <a:pt x="110" y="71"/>
                  <a:pt x="110" y="68"/>
                </a:cubicBezTo>
                <a:cubicBezTo>
                  <a:pt x="110" y="65"/>
                  <a:pt x="115" y="61"/>
                  <a:pt x="118" y="57"/>
                </a:cubicBezTo>
                <a:cubicBezTo>
                  <a:pt x="121" y="52"/>
                  <a:pt x="128" y="46"/>
                  <a:pt x="130" y="44"/>
                </a:cubicBezTo>
                <a:cubicBezTo>
                  <a:pt x="133" y="42"/>
                  <a:pt x="138" y="41"/>
                  <a:pt x="139" y="40"/>
                </a:cubicBezTo>
                <a:cubicBezTo>
                  <a:pt x="139" y="38"/>
                  <a:pt x="139" y="30"/>
                  <a:pt x="137" y="29"/>
                </a:cubicBezTo>
                <a:close/>
              </a:path>
            </a:pathLst>
          </a:custGeom>
          <a:solidFill>
            <a:srgbClr val="B3647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7" name="Freeform 113"/>
          <p:cNvSpPr/>
          <p:nvPr/>
        </p:nvSpPr>
        <p:spPr bwMode="auto">
          <a:xfrm>
            <a:off x="2717280" y="3497710"/>
            <a:ext cx="174625" cy="885825"/>
          </a:xfrm>
          <a:custGeom>
            <a:avLst/>
            <a:gdLst>
              <a:gd name="T0" fmla="*/ 24 w 61"/>
              <a:gd name="T1" fmla="*/ 265 h 311"/>
              <a:gd name="T2" fmla="*/ 16 w 61"/>
              <a:gd name="T3" fmla="*/ 252 h 311"/>
              <a:gd name="T4" fmla="*/ 23 w 61"/>
              <a:gd name="T5" fmla="*/ 237 h 311"/>
              <a:gd name="T6" fmla="*/ 28 w 61"/>
              <a:gd name="T7" fmla="*/ 222 h 311"/>
              <a:gd name="T8" fmla="*/ 30 w 61"/>
              <a:gd name="T9" fmla="*/ 211 h 311"/>
              <a:gd name="T10" fmla="*/ 26 w 61"/>
              <a:gd name="T11" fmla="*/ 200 h 311"/>
              <a:gd name="T12" fmla="*/ 27 w 61"/>
              <a:gd name="T13" fmla="*/ 182 h 311"/>
              <a:gd name="T14" fmla="*/ 29 w 61"/>
              <a:gd name="T15" fmla="*/ 168 h 311"/>
              <a:gd name="T16" fmla="*/ 32 w 61"/>
              <a:gd name="T17" fmla="*/ 156 h 311"/>
              <a:gd name="T18" fmla="*/ 37 w 61"/>
              <a:gd name="T19" fmla="*/ 132 h 311"/>
              <a:gd name="T20" fmla="*/ 39 w 61"/>
              <a:gd name="T21" fmla="*/ 115 h 311"/>
              <a:gd name="T22" fmla="*/ 40 w 61"/>
              <a:gd name="T23" fmla="*/ 95 h 311"/>
              <a:gd name="T24" fmla="*/ 45 w 61"/>
              <a:gd name="T25" fmla="*/ 78 h 311"/>
              <a:gd name="T26" fmla="*/ 51 w 61"/>
              <a:gd name="T27" fmla="*/ 65 h 311"/>
              <a:gd name="T28" fmla="*/ 59 w 61"/>
              <a:gd name="T29" fmla="*/ 46 h 311"/>
              <a:gd name="T30" fmla="*/ 54 w 61"/>
              <a:gd name="T31" fmla="*/ 32 h 311"/>
              <a:gd name="T32" fmla="*/ 51 w 61"/>
              <a:gd name="T33" fmla="*/ 15 h 311"/>
              <a:gd name="T34" fmla="*/ 43 w 61"/>
              <a:gd name="T35" fmla="*/ 1 h 311"/>
              <a:gd name="T36" fmla="*/ 39 w 61"/>
              <a:gd name="T37" fmla="*/ 13 h 311"/>
              <a:gd name="T38" fmla="*/ 37 w 61"/>
              <a:gd name="T39" fmla="*/ 45 h 311"/>
              <a:gd name="T40" fmla="*/ 32 w 61"/>
              <a:gd name="T41" fmla="*/ 77 h 311"/>
              <a:gd name="T42" fmla="*/ 29 w 61"/>
              <a:gd name="T43" fmla="*/ 99 h 311"/>
              <a:gd name="T44" fmla="*/ 25 w 61"/>
              <a:gd name="T45" fmla="*/ 128 h 311"/>
              <a:gd name="T46" fmla="*/ 15 w 61"/>
              <a:gd name="T47" fmla="*/ 153 h 311"/>
              <a:gd name="T48" fmla="*/ 14 w 61"/>
              <a:gd name="T49" fmla="*/ 174 h 311"/>
              <a:gd name="T50" fmla="*/ 10 w 61"/>
              <a:gd name="T51" fmla="*/ 194 h 311"/>
              <a:gd name="T52" fmla="*/ 19 w 61"/>
              <a:gd name="T53" fmla="*/ 184 h 311"/>
              <a:gd name="T54" fmla="*/ 20 w 61"/>
              <a:gd name="T55" fmla="*/ 195 h 311"/>
              <a:gd name="T56" fmla="*/ 18 w 61"/>
              <a:gd name="T57" fmla="*/ 208 h 311"/>
              <a:gd name="T58" fmla="*/ 14 w 61"/>
              <a:gd name="T59" fmla="*/ 217 h 311"/>
              <a:gd name="T60" fmla="*/ 14 w 61"/>
              <a:gd name="T61" fmla="*/ 215 h 311"/>
              <a:gd name="T62" fmla="*/ 9 w 61"/>
              <a:gd name="T63" fmla="*/ 218 h 311"/>
              <a:gd name="T64" fmla="*/ 1 w 61"/>
              <a:gd name="T65" fmla="*/ 228 h 311"/>
              <a:gd name="T66" fmla="*/ 10 w 61"/>
              <a:gd name="T67" fmla="*/ 229 h 311"/>
              <a:gd name="T68" fmla="*/ 14 w 61"/>
              <a:gd name="T69" fmla="*/ 237 h 311"/>
              <a:gd name="T70" fmla="*/ 6 w 61"/>
              <a:gd name="T71" fmla="*/ 239 h 311"/>
              <a:gd name="T72" fmla="*/ 7 w 61"/>
              <a:gd name="T73" fmla="*/ 244 h 311"/>
              <a:gd name="T74" fmla="*/ 3 w 61"/>
              <a:gd name="T75" fmla="*/ 251 h 311"/>
              <a:gd name="T76" fmla="*/ 8 w 61"/>
              <a:gd name="T77" fmla="*/ 253 h 311"/>
              <a:gd name="T78" fmla="*/ 9 w 61"/>
              <a:gd name="T79" fmla="*/ 260 h 311"/>
              <a:gd name="T80" fmla="*/ 5 w 61"/>
              <a:gd name="T81" fmla="*/ 269 h 311"/>
              <a:gd name="T82" fmla="*/ 14 w 61"/>
              <a:gd name="T83" fmla="*/ 270 h 311"/>
              <a:gd name="T84" fmla="*/ 17 w 61"/>
              <a:gd name="T85" fmla="*/ 273 h 311"/>
              <a:gd name="T86" fmla="*/ 13 w 61"/>
              <a:gd name="T87" fmla="*/ 281 h 311"/>
              <a:gd name="T88" fmla="*/ 24 w 61"/>
              <a:gd name="T89" fmla="*/ 282 h 311"/>
              <a:gd name="T90" fmla="*/ 16 w 61"/>
              <a:gd name="T91" fmla="*/ 288 h 311"/>
              <a:gd name="T92" fmla="*/ 25 w 61"/>
              <a:gd name="T93" fmla="*/ 286 h 311"/>
              <a:gd name="T94" fmla="*/ 15 w 61"/>
              <a:gd name="T95" fmla="*/ 293 h 311"/>
              <a:gd name="T96" fmla="*/ 24 w 61"/>
              <a:gd name="T97" fmla="*/ 294 h 311"/>
              <a:gd name="T98" fmla="*/ 39 w 61"/>
              <a:gd name="T99" fmla="*/ 281 h 311"/>
              <a:gd name="T100" fmla="*/ 43 w 61"/>
              <a:gd name="T101" fmla="*/ 288 h 311"/>
              <a:gd name="T102" fmla="*/ 36 w 61"/>
              <a:gd name="T103" fmla="*/ 291 h 311"/>
              <a:gd name="T104" fmla="*/ 30 w 61"/>
              <a:gd name="T105" fmla="*/ 296 h 311"/>
              <a:gd name="T106" fmla="*/ 35 w 61"/>
              <a:gd name="T107" fmla="*/ 306 h 311"/>
              <a:gd name="T108" fmla="*/ 45 w 61"/>
              <a:gd name="T109" fmla="*/ 305 h 311"/>
              <a:gd name="T110" fmla="*/ 55 w 61"/>
              <a:gd name="T111" fmla="*/ 306 h 311"/>
              <a:gd name="T112" fmla="*/ 49 w 61"/>
              <a:gd name="T113" fmla="*/ 304 h 311"/>
              <a:gd name="T114" fmla="*/ 43 w 61"/>
              <a:gd name="T115" fmla="*/ 279 h 311"/>
              <a:gd name="T116" fmla="*/ 28 w 61"/>
              <a:gd name="T117" fmla="*/ 276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 h="311">
                <a:moveTo>
                  <a:pt x="28" y="276"/>
                </a:moveTo>
                <a:cubicBezTo>
                  <a:pt x="26" y="276"/>
                  <a:pt x="25" y="273"/>
                  <a:pt x="24" y="273"/>
                </a:cubicBezTo>
                <a:cubicBezTo>
                  <a:pt x="23" y="273"/>
                  <a:pt x="23" y="267"/>
                  <a:pt x="24" y="265"/>
                </a:cubicBezTo>
                <a:cubicBezTo>
                  <a:pt x="25" y="262"/>
                  <a:pt x="19" y="264"/>
                  <a:pt x="18" y="263"/>
                </a:cubicBezTo>
                <a:cubicBezTo>
                  <a:pt x="16" y="262"/>
                  <a:pt x="18" y="260"/>
                  <a:pt x="16" y="258"/>
                </a:cubicBezTo>
                <a:cubicBezTo>
                  <a:pt x="15" y="256"/>
                  <a:pt x="16" y="253"/>
                  <a:pt x="16" y="252"/>
                </a:cubicBezTo>
                <a:cubicBezTo>
                  <a:pt x="16" y="250"/>
                  <a:pt x="18" y="247"/>
                  <a:pt x="20" y="247"/>
                </a:cubicBezTo>
                <a:cubicBezTo>
                  <a:pt x="22" y="247"/>
                  <a:pt x="21" y="244"/>
                  <a:pt x="23" y="243"/>
                </a:cubicBezTo>
                <a:cubicBezTo>
                  <a:pt x="25" y="241"/>
                  <a:pt x="21" y="239"/>
                  <a:pt x="23" y="237"/>
                </a:cubicBezTo>
                <a:cubicBezTo>
                  <a:pt x="24" y="236"/>
                  <a:pt x="23" y="233"/>
                  <a:pt x="25" y="233"/>
                </a:cubicBezTo>
                <a:cubicBezTo>
                  <a:pt x="28" y="232"/>
                  <a:pt x="25" y="228"/>
                  <a:pt x="28" y="228"/>
                </a:cubicBezTo>
                <a:cubicBezTo>
                  <a:pt x="30" y="227"/>
                  <a:pt x="27" y="225"/>
                  <a:pt x="28" y="222"/>
                </a:cubicBezTo>
                <a:cubicBezTo>
                  <a:pt x="28" y="220"/>
                  <a:pt x="26" y="218"/>
                  <a:pt x="29" y="217"/>
                </a:cubicBezTo>
                <a:cubicBezTo>
                  <a:pt x="31" y="216"/>
                  <a:pt x="30" y="214"/>
                  <a:pt x="28" y="213"/>
                </a:cubicBezTo>
                <a:cubicBezTo>
                  <a:pt x="26" y="211"/>
                  <a:pt x="28" y="211"/>
                  <a:pt x="30" y="211"/>
                </a:cubicBezTo>
                <a:cubicBezTo>
                  <a:pt x="33" y="211"/>
                  <a:pt x="31" y="207"/>
                  <a:pt x="29" y="208"/>
                </a:cubicBezTo>
                <a:cubicBezTo>
                  <a:pt x="27" y="209"/>
                  <a:pt x="25" y="206"/>
                  <a:pt x="27" y="204"/>
                </a:cubicBezTo>
                <a:cubicBezTo>
                  <a:pt x="29" y="203"/>
                  <a:pt x="26" y="201"/>
                  <a:pt x="26" y="200"/>
                </a:cubicBezTo>
                <a:cubicBezTo>
                  <a:pt x="27" y="199"/>
                  <a:pt x="27" y="197"/>
                  <a:pt x="26" y="196"/>
                </a:cubicBezTo>
                <a:cubicBezTo>
                  <a:pt x="24" y="196"/>
                  <a:pt x="25" y="189"/>
                  <a:pt x="27" y="189"/>
                </a:cubicBezTo>
                <a:cubicBezTo>
                  <a:pt x="28" y="189"/>
                  <a:pt x="27" y="183"/>
                  <a:pt x="27" y="182"/>
                </a:cubicBezTo>
                <a:cubicBezTo>
                  <a:pt x="27" y="180"/>
                  <a:pt x="25" y="178"/>
                  <a:pt x="26" y="177"/>
                </a:cubicBezTo>
                <a:cubicBezTo>
                  <a:pt x="26" y="176"/>
                  <a:pt x="28" y="175"/>
                  <a:pt x="28" y="172"/>
                </a:cubicBezTo>
                <a:cubicBezTo>
                  <a:pt x="28" y="169"/>
                  <a:pt x="28" y="168"/>
                  <a:pt x="29" y="168"/>
                </a:cubicBezTo>
                <a:cubicBezTo>
                  <a:pt x="31" y="168"/>
                  <a:pt x="30" y="164"/>
                  <a:pt x="30" y="163"/>
                </a:cubicBezTo>
                <a:cubicBezTo>
                  <a:pt x="30" y="161"/>
                  <a:pt x="33" y="163"/>
                  <a:pt x="34" y="160"/>
                </a:cubicBezTo>
                <a:cubicBezTo>
                  <a:pt x="34" y="157"/>
                  <a:pt x="32" y="158"/>
                  <a:pt x="32" y="156"/>
                </a:cubicBezTo>
                <a:cubicBezTo>
                  <a:pt x="33" y="154"/>
                  <a:pt x="32" y="152"/>
                  <a:pt x="32" y="147"/>
                </a:cubicBezTo>
                <a:cubicBezTo>
                  <a:pt x="32" y="142"/>
                  <a:pt x="36" y="141"/>
                  <a:pt x="37" y="140"/>
                </a:cubicBezTo>
                <a:cubicBezTo>
                  <a:pt x="39" y="139"/>
                  <a:pt x="35" y="132"/>
                  <a:pt x="37" y="132"/>
                </a:cubicBezTo>
                <a:cubicBezTo>
                  <a:pt x="39" y="131"/>
                  <a:pt x="38" y="128"/>
                  <a:pt x="39" y="127"/>
                </a:cubicBezTo>
                <a:cubicBezTo>
                  <a:pt x="41" y="126"/>
                  <a:pt x="40" y="123"/>
                  <a:pt x="41" y="121"/>
                </a:cubicBezTo>
                <a:cubicBezTo>
                  <a:pt x="42" y="118"/>
                  <a:pt x="39" y="117"/>
                  <a:pt x="39" y="115"/>
                </a:cubicBezTo>
                <a:cubicBezTo>
                  <a:pt x="39" y="113"/>
                  <a:pt x="39" y="110"/>
                  <a:pt x="37" y="108"/>
                </a:cubicBezTo>
                <a:cubicBezTo>
                  <a:pt x="35" y="105"/>
                  <a:pt x="36" y="101"/>
                  <a:pt x="37" y="101"/>
                </a:cubicBezTo>
                <a:cubicBezTo>
                  <a:pt x="38" y="101"/>
                  <a:pt x="38" y="96"/>
                  <a:pt x="40" y="95"/>
                </a:cubicBezTo>
                <a:cubicBezTo>
                  <a:pt x="42" y="95"/>
                  <a:pt x="41" y="91"/>
                  <a:pt x="40" y="88"/>
                </a:cubicBezTo>
                <a:cubicBezTo>
                  <a:pt x="39" y="85"/>
                  <a:pt x="42" y="87"/>
                  <a:pt x="42" y="84"/>
                </a:cubicBezTo>
                <a:cubicBezTo>
                  <a:pt x="42" y="82"/>
                  <a:pt x="43" y="79"/>
                  <a:pt x="45" y="78"/>
                </a:cubicBezTo>
                <a:cubicBezTo>
                  <a:pt x="47" y="77"/>
                  <a:pt x="47" y="74"/>
                  <a:pt x="47" y="72"/>
                </a:cubicBezTo>
                <a:cubicBezTo>
                  <a:pt x="47" y="71"/>
                  <a:pt x="50" y="70"/>
                  <a:pt x="51" y="69"/>
                </a:cubicBezTo>
                <a:cubicBezTo>
                  <a:pt x="53" y="68"/>
                  <a:pt x="49" y="66"/>
                  <a:pt x="51" y="65"/>
                </a:cubicBezTo>
                <a:cubicBezTo>
                  <a:pt x="53" y="63"/>
                  <a:pt x="49" y="58"/>
                  <a:pt x="50" y="57"/>
                </a:cubicBezTo>
                <a:cubicBezTo>
                  <a:pt x="52" y="56"/>
                  <a:pt x="51" y="54"/>
                  <a:pt x="51" y="52"/>
                </a:cubicBezTo>
                <a:cubicBezTo>
                  <a:pt x="51" y="51"/>
                  <a:pt x="58" y="47"/>
                  <a:pt x="59" y="46"/>
                </a:cubicBezTo>
                <a:cubicBezTo>
                  <a:pt x="59" y="45"/>
                  <a:pt x="60" y="41"/>
                  <a:pt x="60" y="38"/>
                </a:cubicBezTo>
                <a:cubicBezTo>
                  <a:pt x="58" y="39"/>
                  <a:pt x="56" y="40"/>
                  <a:pt x="56" y="39"/>
                </a:cubicBezTo>
                <a:cubicBezTo>
                  <a:pt x="55" y="38"/>
                  <a:pt x="56" y="34"/>
                  <a:pt x="54" y="32"/>
                </a:cubicBezTo>
                <a:cubicBezTo>
                  <a:pt x="52" y="30"/>
                  <a:pt x="53" y="26"/>
                  <a:pt x="52" y="25"/>
                </a:cubicBezTo>
                <a:cubicBezTo>
                  <a:pt x="50" y="25"/>
                  <a:pt x="48" y="21"/>
                  <a:pt x="49" y="20"/>
                </a:cubicBezTo>
                <a:cubicBezTo>
                  <a:pt x="51" y="18"/>
                  <a:pt x="49" y="16"/>
                  <a:pt x="51" y="15"/>
                </a:cubicBezTo>
                <a:cubicBezTo>
                  <a:pt x="52" y="14"/>
                  <a:pt x="50" y="13"/>
                  <a:pt x="48" y="11"/>
                </a:cubicBezTo>
                <a:cubicBezTo>
                  <a:pt x="46" y="8"/>
                  <a:pt x="49" y="5"/>
                  <a:pt x="46" y="4"/>
                </a:cubicBezTo>
                <a:cubicBezTo>
                  <a:pt x="44" y="2"/>
                  <a:pt x="44" y="0"/>
                  <a:pt x="43" y="1"/>
                </a:cubicBezTo>
                <a:cubicBezTo>
                  <a:pt x="42" y="2"/>
                  <a:pt x="42" y="5"/>
                  <a:pt x="40" y="6"/>
                </a:cubicBezTo>
                <a:cubicBezTo>
                  <a:pt x="40" y="6"/>
                  <a:pt x="39" y="7"/>
                  <a:pt x="39" y="7"/>
                </a:cubicBezTo>
                <a:cubicBezTo>
                  <a:pt x="39" y="9"/>
                  <a:pt x="38" y="12"/>
                  <a:pt x="39" y="13"/>
                </a:cubicBezTo>
                <a:cubicBezTo>
                  <a:pt x="40" y="16"/>
                  <a:pt x="40" y="27"/>
                  <a:pt x="39" y="31"/>
                </a:cubicBezTo>
                <a:cubicBezTo>
                  <a:pt x="38" y="35"/>
                  <a:pt x="37" y="39"/>
                  <a:pt x="36" y="41"/>
                </a:cubicBezTo>
                <a:cubicBezTo>
                  <a:pt x="36" y="44"/>
                  <a:pt x="39" y="44"/>
                  <a:pt x="37" y="45"/>
                </a:cubicBezTo>
                <a:cubicBezTo>
                  <a:pt x="36" y="47"/>
                  <a:pt x="37" y="50"/>
                  <a:pt x="37" y="55"/>
                </a:cubicBezTo>
                <a:cubicBezTo>
                  <a:pt x="37" y="59"/>
                  <a:pt x="34" y="68"/>
                  <a:pt x="34" y="70"/>
                </a:cubicBezTo>
                <a:cubicBezTo>
                  <a:pt x="33" y="73"/>
                  <a:pt x="31" y="75"/>
                  <a:pt x="32" y="77"/>
                </a:cubicBezTo>
                <a:cubicBezTo>
                  <a:pt x="32" y="80"/>
                  <a:pt x="30" y="82"/>
                  <a:pt x="29" y="83"/>
                </a:cubicBezTo>
                <a:cubicBezTo>
                  <a:pt x="27" y="85"/>
                  <a:pt x="31" y="89"/>
                  <a:pt x="31" y="92"/>
                </a:cubicBezTo>
                <a:cubicBezTo>
                  <a:pt x="31" y="94"/>
                  <a:pt x="28" y="95"/>
                  <a:pt x="29" y="99"/>
                </a:cubicBezTo>
                <a:cubicBezTo>
                  <a:pt x="30" y="104"/>
                  <a:pt x="29" y="113"/>
                  <a:pt x="29" y="114"/>
                </a:cubicBezTo>
                <a:cubicBezTo>
                  <a:pt x="29" y="116"/>
                  <a:pt x="27" y="116"/>
                  <a:pt x="27" y="119"/>
                </a:cubicBezTo>
                <a:cubicBezTo>
                  <a:pt x="28" y="122"/>
                  <a:pt x="25" y="123"/>
                  <a:pt x="25" y="128"/>
                </a:cubicBezTo>
                <a:cubicBezTo>
                  <a:pt x="24" y="132"/>
                  <a:pt x="21" y="139"/>
                  <a:pt x="19" y="142"/>
                </a:cubicBezTo>
                <a:cubicBezTo>
                  <a:pt x="18" y="146"/>
                  <a:pt x="18" y="148"/>
                  <a:pt x="16" y="148"/>
                </a:cubicBezTo>
                <a:cubicBezTo>
                  <a:pt x="14" y="148"/>
                  <a:pt x="14" y="150"/>
                  <a:pt x="15" y="153"/>
                </a:cubicBezTo>
                <a:cubicBezTo>
                  <a:pt x="17" y="156"/>
                  <a:pt x="14" y="158"/>
                  <a:pt x="16" y="161"/>
                </a:cubicBezTo>
                <a:cubicBezTo>
                  <a:pt x="18" y="164"/>
                  <a:pt x="17" y="166"/>
                  <a:pt x="16" y="168"/>
                </a:cubicBezTo>
                <a:cubicBezTo>
                  <a:pt x="16" y="171"/>
                  <a:pt x="14" y="172"/>
                  <a:pt x="14" y="174"/>
                </a:cubicBezTo>
                <a:cubicBezTo>
                  <a:pt x="14" y="177"/>
                  <a:pt x="12" y="179"/>
                  <a:pt x="13" y="182"/>
                </a:cubicBezTo>
                <a:cubicBezTo>
                  <a:pt x="15" y="185"/>
                  <a:pt x="14" y="186"/>
                  <a:pt x="13" y="186"/>
                </a:cubicBezTo>
                <a:cubicBezTo>
                  <a:pt x="11" y="186"/>
                  <a:pt x="10" y="189"/>
                  <a:pt x="10" y="194"/>
                </a:cubicBezTo>
                <a:cubicBezTo>
                  <a:pt x="9" y="199"/>
                  <a:pt x="9" y="199"/>
                  <a:pt x="13" y="199"/>
                </a:cubicBezTo>
                <a:cubicBezTo>
                  <a:pt x="17" y="198"/>
                  <a:pt x="14" y="186"/>
                  <a:pt x="16" y="186"/>
                </a:cubicBezTo>
                <a:cubicBezTo>
                  <a:pt x="18" y="186"/>
                  <a:pt x="16" y="184"/>
                  <a:pt x="19" y="184"/>
                </a:cubicBezTo>
                <a:cubicBezTo>
                  <a:pt x="21" y="183"/>
                  <a:pt x="19" y="186"/>
                  <a:pt x="21" y="186"/>
                </a:cubicBezTo>
                <a:cubicBezTo>
                  <a:pt x="22" y="187"/>
                  <a:pt x="23" y="188"/>
                  <a:pt x="21" y="189"/>
                </a:cubicBezTo>
                <a:cubicBezTo>
                  <a:pt x="19" y="191"/>
                  <a:pt x="21" y="193"/>
                  <a:pt x="20" y="195"/>
                </a:cubicBezTo>
                <a:cubicBezTo>
                  <a:pt x="19" y="197"/>
                  <a:pt x="18" y="199"/>
                  <a:pt x="19" y="201"/>
                </a:cubicBezTo>
                <a:cubicBezTo>
                  <a:pt x="20" y="203"/>
                  <a:pt x="18" y="202"/>
                  <a:pt x="18" y="205"/>
                </a:cubicBezTo>
                <a:cubicBezTo>
                  <a:pt x="17" y="208"/>
                  <a:pt x="19" y="208"/>
                  <a:pt x="18" y="208"/>
                </a:cubicBezTo>
                <a:cubicBezTo>
                  <a:pt x="17" y="209"/>
                  <a:pt x="19" y="211"/>
                  <a:pt x="18" y="211"/>
                </a:cubicBezTo>
                <a:cubicBezTo>
                  <a:pt x="16" y="212"/>
                  <a:pt x="17" y="213"/>
                  <a:pt x="18" y="215"/>
                </a:cubicBezTo>
                <a:cubicBezTo>
                  <a:pt x="19" y="217"/>
                  <a:pt x="16" y="216"/>
                  <a:pt x="14" y="217"/>
                </a:cubicBezTo>
                <a:cubicBezTo>
                  <a:pt x="13" y="219"/>
                  <a:pt x="16" y="220"/>
                  <a:pt x="15" y="222"/>
                </a:cubicBezTo>
                <a:cubicBezTo>
                  <a:pt x="14" y="224"/>
                  <a:pt x="12" y="221"/>
                  <a:pt x="11" y="220"/>
                </a:cubicBezTo>
                <a:cubicBezTo>
                  <a:pt x="10" y="219"/>
                  <a:pt x="12" y="217"/>
                  <a:pt x="14" y="215"/>
                </a:cubicBezTo>
                <a:cubicBezTo>
                  <a:pt x="15" y="214"/>
                  <a:pt x="12" y="210"/>
                  <a:pt x="10" y="210"/>
                </a:cubicBezTo>
                <a:cubicBezTo>
                  <a:pt x="8" y="211"/>
                  <a:pt x="12" y="214"/>
                  <a:pt x="12" y="216"/>
                </a:cubicBezTo>
                <a:cubicBezTo>
                  <a:pt x="12" y="218"/>
                  <a:pt x="9" y="215"/>
                  <a:pt x="9" y="218"/>
                </a:cubicBezTo>
                <a:cubicBezTo>
                  <a:pt x="9" y="220"/>
                  <a:pt x="6" y="219"/>
                  <a:pt x="5" y="221"/>
                </a:cubicBezTo>
                <a:cubicBezTo>
                  <a:pt x="3" y="222"/>
                  <a:pt x="7" y="223"/>
                  <a:pt x="5" y="224"/>
                </a:cubicBezTo>
                <a:cubicBezTo>
                  <a:pt x="3" y="224"/>
                  <a:pt x="1" y="226"/>
                  <a:pt x="1" y="228"/>
                </a:cubicBezTo>
                <a:cubicBezTo>
                  <a:pt x="1" y="230"/>
                  <a:pt x="2" y="230"/>
                  <a:pt x="2" y="228"/>
                </a:cubicBezTo>
                <a:cubicBezTo>
                  <a:pt x="2" y="227"/>
                  <a:pt x="5" y="226"/>
                  <a:pt x="6" y="228"/>
                </a:cubicBezTo>
                <a:cubicBezTo>
                  <a:pt x="6" y="230"/>
                  <a:pt x="7" y="228"/>
                  <a:pt x="10" y="229"/>
                </a:cubicBezTo>
                <a:cubicBezTo>
                  <a:pt x="12" y="229"/>
                  <a:pt x="11" y="232"/>
                  <a:pt x="10" y="232"/>
                </a:cubicBezTo>
                <a:cubicBezTo>
                  <a:pt x="9" y="232"/>
                  <a:pt x="8" y="234"/>
                  <a:pt x="8" y="237"/>
                </a:cubicBezTo>
                <a:cubicBezTo>
                  <a:pt x="8" y="239"/>
                  <a:pt x="13" y="237"/>
                  <a:pt x="14" y="237"/>
                </a:cubicBezTo>
                <a:cubicBezTo>
                  <a:pt x="16" y="238"/>
                  <a:pt x="16" y="241"/>
                  <a:pt x="15" y="240"/>
                </a:cubicBezTo>
                <a:cubicBezTo>
                  <a:pt x="14" y="239"/>
                  <a:pt x="11" y="237"/>
                  <a:pt x="10" y="239"/>
                </a:cubicBezTo>
                <a:cubicBezTo>
                  <a:pt x="9" y="241"/>
                  <a:pt x="7" y="240"/>
                  <a:pt x="6" y="239"/>
                </a:cubicBezTo>
                <a:cubicBezTo>
                  <a:pt x="5" y="239"/>
                  <a:pt x="0" y="242"/>
                  <a:pt x="1" y="243"/>
                </a:cubicBezTo>
                <a:cubicBezTo>
                  <a:pt x="3" y="244"/>
                  <a:pt x="3" y="246"/>
                  <a:pt x="4" y="246"/>
                </a:cubicBezTo>
                <a:cubicBezTo>
                  <a:pt x="5" y="246"/>
                  <a:pt x="7" y="245"/>
                  <a:pt x="7" y="244"/>
                </a:cubicBezTo>
                <a:cubicBezTo>
                  <a:pt x="8" y="243"/>
                  <a:pt x="10" y="241"/>
                  <a:pt x="10" y="244"/>
                </a:cubicBezTo>
                <a:cubicBezTo>
                  <a:pt x="10" y="247"/>
                  <a:pt x="7" y="246"/>
                  <a:pt x="7" y="247"/>
                </a:cubicBezTo>
                <a:cubicBezTo>
                  <a:pt x="6" y="249"/>
                  <a:pt x="5" y="250"/>
                  <a:pt x="3" y="251"/>
                </a:cubicBezTo>
                <a:cubicBezTo>
                  <a:pt x="1" y="253"/>
                  <a:pt x="3" y="255"/>
                  <a:pt x="5" y="254"/>
                </a:cubicBezTo>
                <a:cubicBezTo>
                  <a:pt x="6" y="253"/>
                  <a:pt x="4" y="256"/>
                  <a:pt x="6" y="256"/>
                </a:cubicBezTo>
                <a:cubicBezTo>
                  <a:pt x="8" y="257"/>
                  <a:pt x="9" y="255"/>
                  <a:pt x="8" y="253"/>
                </a:cubicBezTo>
                <a:cubicBezTo>
                  <a:pt x="8" y="252"/>
                  <a:pt x="9" y="249"/>
                  <a:pt x="11" y="250"/>
                </a:cubicBezTo>
                <a:cubicBezTo>
                  <a:pt x="13" y="252"/>
                  <a:pt x="10" y="254"/>
                  <a:pt x="10" y="255"/>
                </a:cubicBezTo>
                <a:cubicBezTo>
                  <a:pt x="10" y="257"/>
                  <a:pt x="9" y="259"/>
                  <a:pt x="9" y="260"/>
                </a:cubicBezTo>
                <a:cubicBezTo>
                  <a:pt x="9" y="262"/>
                  <a:pt x="7" y="261"/>
                  <a:pt x="7" y="263"/>
                </a:cubicBezTo>
                <a:cubicBezTo>
                  <a:pt x="8" y="265"/>
                  <a:pt x="3" y="264"/>
                  <a:pt x="5" y="265"/>
                </a:cubicBezTo>
                <a:cubicBezTo>
                  <a:pt x="7" y="266"/>
                  <a:pt x="4" y="268"/>
                  <a:pt x="5" y="269"/>
                </a:cubicBezTo>
                <a:cubicBezTo>
                  <a:pt x="6" y="270"/>
                  <a:pt x="7" y="267"/>
                  <a:pt x="9" y="268"/>
                </a:cubicBezTo>
                <a:cubicBezTo>
                  <a:pt x="10" y="268"/>
                  <a:pt x="10" y="269"/>
                  <a:pt x="12" y="268"/>
                </a:cubicBezTo>
                <a:cubicBezTo>
                  <a:pt x="14" y="267"/>
                  <a:pt x="16" y="270"/>
                  <a:pt x="14" y="270"/>
                </a:cubicBezTo>
                <a:cubicBezTo>
                  <a:pt x="12" y="271"/>
                  <a:pt x="9" y="273"/>
                  <a:pt x="10" y="274"/>
                </a:cubicBezTo>
                <a:cubicBezTo>
                  <a:pt x="11" y="274"/>
                  <a:pt x="14" y="272"/>
                  <a:pt x="14" y="274"/>
                </a:cubicBezTo>
                <a:cubicBezTo>
                  <a:pt x="15" y="276"/>
                  <a:pt x="17" y="275"/>
                  <a:pt x="17" y="273"/>
                </a:cubicBezTo>
                <a:cubicBezTo>
                  <a:pt x="17" y="271"/>
                  <a:pt x="21" y="273"/>
                  <a:pt x="21" y="275"/>
                </a:cubicBezTo>
                <a:cubicBezTo>
                  <a:pt x="22" y="277"/>
                  <a:pt x="17" y="278"/>
                  <a:pt x="15" y="277"/>
                </a:cubicBezTo>
                <a:cubicBezTo>
                  <a:pt x="13" y="277"/>
                  <a:pt x="12" y="279"/>
                  <a:pt x="13" y="281"/>
                </a:cubicBezTo>
                <a:cubicBezTo>
                  <a:pt x="15" y="283"/>
                  <a:pt x="16" y="281"/>
                  <a:pt x="18" y="280"/>
                </a:cubicBezTo>
                <a:cubicBezTo>
                  <a:pt x="20" y="278"/>
                  <a:pt x="28" y="278"/>
                  <a:pt x="29" y="280"/>
                </a:cubicBezTo>
                <a:cubicBezTo>
                  <a:pt x="29" y="282"/>
                  <a:pt x="25" y="281"/>
                  <a:pt x="24" y="282"/>
                </a:cubicBezTo>
                <a:cubicBezTo>
                  <a:pt x="24" y="283"/>
                  <a:pt x="21" y="284"/>
                  <a:pt x="20" y="282"/>
                </a:cubicBezTo>
                <a:cubicBezTo>
                  <a:pt x="20" y="281"/>
                  <a:pt x="16" y="283"/>
                  <a:pt x="16" y="285"/>
                </a:cubicBezTo>
                <a:cubicBezTo>
                  <a:pt x="16" y="287"/>
                  <a:pt x="14" y="287"/>
                  <a:pt x="16" y="288"/>
                </a:cubicBezTo>
                <a:cubicBezTo>
                  <a:pt x="19" y="288"/>
                  <a:pt x="18" y="285"/>
                  <a:pt x="23" y="285"/>
                </a:cubicBezTo>
                <a:cubicBezTo>
                  <a:pt x="27" y="285"/>
                  <a:pt x="29" y="281"/>
                  <a:pt x="31" y="283"/>
                </a:cubicBezTo>
                <a:cubicBezTo>
                  <a:pt x="32" y="286"/>
                  <a:pt x="27" y="288"/>
                  <a:pt x="25" y="286"/>
                </a:cubicBezTo>
                <a:cubicBezTo>
                  <a:pt x="24" y="285"/>
                  <a:pt x="22" y="287"/>
                  <a:pt x="22" y="290"/>
                </a:cubicBezTo>
                <a:cubicBezTo>
                  <a:pt x="22" y="292"/>
                  <a:pt x="17" y="289"/>
                  <a:pt x="14" y="289"/>
                </a:cubicBezTo>
                <a:cubicBezTo>
                  <a:pt x="12" y="288"/>
                  <a:pt x="13" y="291"/>
                  <a:pt x="15" y="293"/>
                </a:cubicBezTo>
                <a:cubicBezTo>
                  <a:pt x="17" y="296"/>
                  <a:pt x="19" y="293"/>
                  <a:pt x="21" y="295"/>
                </a:cubicBezTo>
                <a:cubicBezTo>
                  <a:pt x="24" y="296"/>
                  <a:pt x="24" y="298"/>
                  <a:pt x="26" y="297"/>
                </a:cubicBezTo>
                <a:cubicBezTo>
                  <a:pt x="27" y="295"/>
                  <a:pt x="26" y="295"/>
                  <a:pt x="24" y="294"/>
                </a:cubicBezTo>
                <a:cubicBezTo>
                  <a:pt x="23" y="294"/>
                  <a:pt x="24" y="291"/>
                  <a:pt x="27" y="292"/>
                </a:cubicBezTo>
                <a:cubicBezTo>
                  <a:pt x="30" y="294"/>
                  <a:pt x="33" y="291"/>
                  <a:pt x="32" y="287"/>
                </a:cubicBezTo>
                <a:cubicBezTo>
                  <a:pt x="32" y="284"/>
                  <a:pt x="35" y="282"/>
                  <a:pt x="39" y="281"/>
                </a:cubicBezTo>
                <a:cubicBezTo>
                  <a:pt x="42" y="280"/>
                  <a:pt x="40" y="283"/>
                  <a:pt x="38" y="284"/>
                </a:cubicBezTo>
                <a:cubicBezTo>
                  <a:pt x="35" y="285"/>
                  <a:pt x="35" y="286"/>
                  <a:pt x="37" y="288"/>
                </a:cubicBezTo>
                <a:cubicBezTo>
                  <a:pt x="39" y="290"/>
                  <a:pt x="41" y="287"/>
                  <a:pt x="43" y="288"/>
                </a:cubicBezTo>
                <a:cubicBezTo>
                  <a:pt x="45" y="290"/>
                  <a:pt x="40" y="290"/>
                  <a:pt x="39" y="292"/>
                </a:cubicBezTo>
                <a:cubicBezTo>
                  <a:pt x="38" y="293"/>
                  <a:pt x="42" y="295"/>
                  <a:pt x="39" y="296"/>
                </a:cubicBezTo>
                <a:cubicBezTo>
                  <a:pt x="37" y="298"/>
                  <a:pt x="38" y="291"/>
                  <a:pt x="36" y="291"/>
                </a:cubicBezTo>
                <a:cubicBezTo>
                  <a:pt x="35" y="290"/>
                  <a:pt x="34" y="292"/>
                  <a:pt x="35" y="295"/>
                </a:cubicBezTo>
                <a:cubicBezTo>
                  <a:pt x="37" y="299"/>
                  <a:pt x="33" y="295"/>
                  <a:pt x="32" y="294"/>
                </a:cubicBezTo>
                <a:cubicBezTo>
                  <a:pt x="30" y="292"/>
                  <a:pt x="28" y="295"/>
                  <a:pt x="30" y="296"/>
                </a:cubicBezTo>
                <a:cubicBezTo>
                  <a:pt x="32" y="298"/>
                  <a:pt x="26" y="296"/>
                  <a:pt x="26" y="299"/>
                </a:cubicBezTo>
                <a:cubicBezTo>
                  <a:pt x="26" y="302"/>
                  <a:pt x="29" y="300"/>
                  <a:pt x="31" y="300"/>
                </a:cubicBezTo>
                <a:cubicBezTo>
                  <a:pt x="34" y="301"/>
                  <a:pt x="33" y="305"/>
                  <a:pt x="35" y="306"/>
                </a:cubicBezTo>
                <a:cubicBezTo>
                  <a:pt x="37" y="308"/>
                  <a:pt x="35" y="301"/>
                  <a:pt x="37" y="301"/>
                </a:cubicBezTo>
                <a:cubicBezTo>
                  <a:pt x="40" y="301"/>
                  <a:pt x="38" y="306"/>
                  <a:pt x="42" y="307"/>
                </a:cubicBezTo>
                <a:cubicBezTo>
                  <a:pt x="47" y="309"/>
                  <a:pt x="43" y="306"/>
                  <a:pt x="45" y="305"/>
                </a:cubicBezTo>
                <a:cubicBezTo>
                  <a:pt x="47" y="303"/>
                  <a:pt x="50" y="310"/>
                  <a:pt x="52" y="310"/>
                </a:cubicBezTo>
                <a:cubicBezTo>
                  <a:pt x="54" y="311"/>
                  <a:pt x="53" y="307"/>
                  <a:pt x="51" y="306"/>
                </a:cubicBezTo>
                <a:cubicBezTo>
                  <a:pt x="49" y="304"/>
                  <a:pt x="53" y="305"/>
                  <a:pt x="55" y="306"/>
                </a:cubicBezTo>
                <a:cubicBezTo>
                  <a:pt x="57" y="306"/>
                  <a:pt x="59" y="307"/>
                  <a:pt x="60" y="305"/>
                </a:cubicBezTo>
                <a:cubicBezTo>
                  <a:pt x="60" y="304"/>
                  <a:pt x="60" y="304"/>
                  <a:pt x="61" y="305"/>
                </a:cubicBezTo>
                <a:cubicBezTo>
                  <a:pt x="58" y="303"/>
                  <a:pt x="50" y="304"/>
                  <a:pt x="49" y="304"/>
                </a:cubicBezTo>
                <a:cubicBezTo>
                  <a:pt x="48" y="304"/>
                  <a:pt x="49" y="285"/>
                  <a:pt x="49" y="281"/>
                </a:cubicBezTo>
                <a:cubicBezTo>
                  <a:pt x="49" y="281"/>
                  <a:pt x="49" y="281"/>
                  <a:pt x="49" y="281"/>
                </a:cubicBezTo>
                <a:cubicBezTo>
                  <a:pt x="47" y="281"/>
                  <a:pt x="42" y="282"/>
                  <a:pt x="43" y="279"/>
                </a:cubicBezTo>
                <a:cubicBezTo>
                  <a:pt x="43" y="278"/>
                  <a:pt x="43" y="278"/>
                  <a:pt x="44" y="278"/>
                </a:cubicBezTo>
                <a:cubicBezTo>
                  <a:pt x="43" y="277"/>
                  <a:pt x="41" y="276"/>
                  <a:pt x="40" y="275"/>
                </a:cubicBezTo>
                <a:cubicBezTo>
                  <a:pt x="37" y="275"/>
                  <a:pt x="29" y="275"/>
                  <a:pt x="28" y="276"/>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08" name="Freeform 114"/>
          <p:cNvSpPr/>
          <p:nvPr/>
        </p:nvSpPr>
        <p:spPr bwMode="auto">
          <a:xfrm>
            <a:off x="2974455" y="3534223"/>
            <a:ext cx="173038" cy="176213"/>
          </a:xfrm>
          <a:custGeom>
            <a:avLst/>
            <a:gdLst>
              <a:gd name="T0" fmla="*/ 58 w 61"/>
              <a:gd name="T1" fmla="*/ 33 h 62"/>
              <a:gd name="T2" fmla="*/ 53 w 61"/>
              <a:gd name="T3" fmla="*/ 35 h 62"/>
              <a:gd name="T4" fmla="*/ 49 w 61"/>
              <a:gd name="T5" fmla="*/ 27 h 62"/>
              <a:gd name="T6" fmla="*/ 45 w 61"/>
              <a:gd name="T7" fmla="*/ 21 h 62"/>
              <a:gd name="T8" fmla="*/ 39 w 61"/>
              <a:gd name="T9" fmla="*/ 21 h 62"/>
              <a:gd name="T10" fmla="*/ 35 w 61"/>
              <a:gd name="T11" fmla="*/ 15 h 62"/>
              <a:gd name="T12" fmla="*/ 34 w 61"/>
              <a:gd name="T13" fmla="*/ 7 h 62"/>
              <a:gd name="T14" fmla="*/ 34 w 61"/>
              <a:gd name="T15" fmla="*/ 3 h 62"/>
              <a:gd name="T16" fmla="*/ 32 w 61"/>
              <a:gd name="T17" fmla="*/ 3 h 62"/>
              <a:gd name="T18" fmla="*/ 26 w 61"/>
              <a:gd name="T19" fmla="*/ 0 h 62"/>
              <a:gd name="T20" fmla="*/ 18 w 61"/>
              <a:gd name="T21" fmla="*/ 1 h 62"/>
              <a:gd name="T22" fmla="*/ 10 w 61"/>
              <a:gd name="T23" fmla="*/ 3 h 62"/>
              <a:gd name="T24" fmla="*/ 4 w 61"/>
              <a:gd name="T25" fmla="*/ 9 h 62"/>
              <a:gd name="T26" fmla="*/ 2 w 61"/>
              <a:gd name="T27" fmla="*/ 20 h 62"/>
              <a:gd name="T28" fmla="*/ 0 w 61"/>
              <a:gd name="T29" fmla="*/ 20 h 62"/>
              <a:gd name="T30" fmla="*/ 9 w 61"/>
              <a:gd name="T31" fmla="*/ 29 h 62"/>
              <a:gd name="T32" fmla="*/ 17 w 61"/>
              <a:gd name="T33" fmla="*/ 34 h 62"/>
              <a:gd name="T34" fmla="*/ 25 w 61"/>
              <a:gd name="T35" fmla="*/ 38 h 62"/>
              <a:gd name="T36" fmla="*/ 38 w 61"/>
              <a:gd name="T37" fmla="*/ 45 h 62"/>
              <a:gd name="T38" fmla="*/ 32 w 61"/>
              <a:gd name="T39" fmla="*/ 54 h 62"/>
              <a:gd name="T40" fmla="*/ 30 w 61"/>
              <a:gd name="T41" fmla="*/ 58 h 62"/>
              <a:gd name="T42" fmla="*/ 36 w 61"/>
              <a:gd name="T43" fmla="*/ 60 h 62"/>
              <a:gd name="T44" fmla="*/ 43 w 61"/>
              <a:gd name="T45" fmla="*/ 60 h 62"/>
              <a:gd name="T46" fmla="*/ 49 w 61"/>
              <a:gd name="T47" fmla="*/ 59 h 62"/>
              <a:gd name="T48" fmla="*/ 54 w 61"/>
              <a:gd name="T49" fmla="*/ 57 h 62"/>
              <a:gd name="T50" fmla="*/ 58 w 61"/>
              <a:gd name="T51" fmla="*/ 46 h 62"/>
              <a:gd name="T52" fmla="*/ 58 w 61"/>
              <a:gd name="T53" fmla="*/ 3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62">
                <a:moveTo>
                  <a:pt x="58" y="33"/>
                </a:moveTo>
                <a:cubicBezTo>
                  <a:pt x="56" y="32"/>
                  <a:pt x="54" y="35"/>
                  <a:pt x="53" y="35"/>
                </a:cubicBezTo>
                <a:cubicBezTo>
                  <a:pt x="52" y="35"/>
                  <a:pt x="50" y="29"/>
                  <a:pt x="49" y="27"/>
                </a:cubicBezTo>
                <a:cubicBezTo>
                  <a:pt x="49" y="25"/>
                  <a:pt x="46" y="20"/>
                  <a:pt x="45" y="21"/>
                </a:cubicBezTo>
                <a:cubicBezTo>
                  <a:pt x="43" y="22"/>
                  <a:pt x="43" y="21"/>
                  <a:pt x="39" y="21"/>
                </a:cubicBezTo>
                <a:cubicBezTo>
                  <a:pt x="34" y="20"/>
                  <a:pt x="34" y="20"/>
                  <a:pt x="35" y="15"/>
                </a:cubicBezTo>
                <a:cubicBezTo>
                  <a:pt x="36" y="10"/>
                  <a:pt x="32" y="8"/>
                  <a:pt x="34" y="7"/>
                </a:cubicBezTo>
                <a:cubicBezTo>
                  <a:pt x="35" y="6"/>
                  <a:pt x="35" y="5"/>
                  <a:pt x="34" y="3"/>
                </a:cubicBezTo>
                <a:cubicBezTo>
                  <a:pt x="33" y="3"/>
                  <a:pt x="33" y="3"/>
                  <a:pt x="32" y="3"/>
                </a:cubicBezTo>
                <a:cubicBezTo>
                  <a:pt x="31" y="3"/>
                  <a:pt x="29" y="0"/>
                  <a:pt x="26" y="0"/>
                </a:cubicBezTo>
                <a:cubicBezTo>
                  <a:pt x="23" y="0"/>
                  <a:pt x="20" y="0"/>
                  <a:pt x="18" y="1"/>
                </a:cubicBezTo>
                <a:cubicBezTo>
                  <a:pt x="16" y="2"/>
                  <a:pt x="12" y="1"/>
                  <a:pt x="10" y="3"/>
                </a:cubicBezTo>
                <a:cubicBezTo>
                  <a:pt x="7" y="4"/>
                  <a:pt x="4" y="8"/>
                  <a:pt x="4" y="9"/>
                </a:cubicBezTo>
                <a:cubicBezTo>
                  <a:pt x="5" y="11"/>
                  <a:pt x="4" y="19"/>
                  <a:pt x="2" y="20"/>
                </a:cubicBezTo>
                <a:cubicBezTo>
                  <a:pt x="2" y="20"/>
                  <a:pt x="1" y="20"/>
                  <a:pt x="0" y="20"/>
                </a:cubicBezTo>
                <a:cubicBezTo>
                  <a:pt x="2" y="22"/>
                  <a:pt x="6" y="28"/>
                  <a:pt x="9" y="29"/>
                </a:cubicBezTo>
                <a:cubicBezTo>
                  <a:pt x="13" y="32"/>
                  <a:pt x="13" y="34"/>
                  <a:pt x="17" y="34"/>
                </a:cubicBezTo>
                <a:cubicBezTo>
                  <a:pt x="21" y="35"/>
                  <a:pt x="23" y="36"/>
                  <a:pt x="25" y="38"/>
                </a:cubicBezTo>
                <a:cubicBezTo>
                  <a:pt x="26" y="40"/>
                  <a:pt x="37" y="43"/>
                  <a:pt x="38" y="45"/>
                </a:cubicBezTo>
                <a:cubicBezTo>
                  <a:pt x="38" y="46"/>
                  <a:pt x="32" y="50"/>
                  <a:pt x="32" y="54"/>
                </a:cubicBezTo>
                <a:cubicBezTo>
                  <a:pt x="32" y="58"/>
                  <a:pt x="30" y="57"/>
                  <a:pt x="30" y="58"/>
                </a:cubicBezTo>
                <a:cubicBezTo>
                  <a:pt x="30" y="60"/>
                  <a:pt x="35" y="59"/>
                  <a:pt x="36" y="60"/>
                </a:cubicBezTo>
                <a:cubicBezTo>
                  <a:pt x="38" y="61"/>
                  <a:pt x="41" y="59"/>
                  <a:pt x="43" y="60"/>
                </a:cubicBezTo>
                <a:cubicBezTo>
                  <a:pt x="45" y="62"/>
                  <a:pt x="47" y="59"/>
                  <a:pt x="49" y="59"/>
                </a:cubicBezTo>
                <a:cubicBezTo>
                  <a:pt x="51" y="60"/>
                  <a:pt x="52" y="56"/>
                  <a:pt x="54" y="57"/>
                </a:cubicBezTo>
                <a:cubicBezTo>
                  <a:pt x="56" y="57"/>
                  <a:pt x="58" y="49"/>
                  <a:pt x="58" y="46"/>
                </a:cubicBezTo>
                <a:cubicBezTo>
                  <a:pt x="57" y="44"/>
                  <a:pt x="61" y="35"/>
                  <a:pt x="58" y="3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9" name="Freeform 115"/>
          <p:cNvSpPr/>
          <p:nvPr/>
        </p:nvSpPr>
        <p:spPr bwMode="auto">
          <a:xfrm>
            <a:off x="2518842" y="2927798"/>
            <a:ext cx="65088" cy="53975"/>
          </a:xfrm>
          <a:custGeom>
            <a:avLst/>
            <a:gdLst>
              <a:gd name="T0" fmla="*/ 22 w 23"/>
              <a:gd name="T1" fmla="*/ 15 h 19"/>
              <a:gd name="T2" fmla="*/ 23 w 23"/>
              <a:gd name="T3" fmla="*/ 11 h 19"/>
              <a:gd name="T4" fmla="*/ 16 w 23"/>
              <a:gd name="T5" fmla="*/ 2 h 19"/>
              <a:gd name="T6" fmla="*/ 13 w 23"/>
              <a:gd name="T7" fmla="*/ 2 h 19"/>
              <a:gd name="T8" fmla="*/ 6 w 23"/>
              <a:gd name="T9" fmla="*/ 1 h 19"/>
              <a:gd name="T10" fmla="*/ 2 w 23"/>
              <a:gd name="T11" fmla="*/ 0 h 19"/>
              <a:gd name="T12" fmla="*/ 1 w 23"/>
              <a:gd name="T13" fmla="*/ 3 h 19"/>
              <a:gd name="T14" fmla="*/ 3 w 23"/>
              <a:gd name="T15" fmla="*/ 9 h 19"/>
              <a:gd name="T16" fmla="*/ 7 w 23"/>
              <a:gd name="T17" fmla="*/ 8 h 19"/>
              <a:gd name="T18" fmla="*/ 10 w 23"/>
              <a:gd name="T19" fmla="*/ 11 h 19"/>
              <a:gd name="T20" fmla="*/ 15 w 23"/>
              <a:gd name="T21" fmla="*/ 15 h 19"/>
              <a:gd name="T22" fmla="*/ 19 w 23"/>
              <a:gd name="T23" fmla="*/ 19 h 19"/>
              <a:gd name="T24" fmla="*/ 21 w 23"/>
              <a:gd name="T25" fmla="*/ 19 h 19"/>
              <a:gd name="T26" fmla="*/ 22 w 23"/>
              <a:gd name="T27"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19">
                <a:moveTo>
                  <a:pt x="22" y="15"/>
                </a:moveTo>
                <a:cubicBezTo>
                  <a:pt x="21" y="14"/>
                  <a:pt x="22" y="12"/>
                  <a:pt x="23" y="11"/>
                </a:cubicBezTo>
                <a:cubicBezTo>
                  <a:pt x="20" y="8"/>
                  <a:pt x="17" y="4"/>
                  <a:pt x="16" y="2"/>
                </a:cubicBezTo>
                <a:cubicBezTo>
                  <a:pt x="15" y="2"/>
                  <a:pt x="13" y="2"/>
                  <a:pt x="13" y="2"/>
                </a:cubicBezTo>
                <a:cubicBezTo>
                  <a:pt x="11" y="1"/>
                  <a:pt x="7" y="1"/>
                  <a:pt x="6" y="1"/>
                </a:cubicBezTo>
                <a:cubicBezTo>
                  <a:pt x="5" y="0"/>
                  <a:pt x="3" y="0"/>
                  <a:pt x="2" y="0"/>
                </a:cubicBezTo>
                <a:cubicBezTo>
                  <a:pt x="2" y="2"/>
                  <a:pt x="2" y="3"/>
                  <a:pt x="1" y="3"/>
                </a:cubicBezTo>
                <a:cubicBezTo>
                  <a:pt x="0" y="4"/>
                  <a:pt x="0" y="8"/>
                  <a:pt x="3" y="9"/>
                </a:cubicBezTo>
                <a:cubicBezTo>
                  <a:pt x="7" y="10"/>
                  <a:pt x="6" y="8"/>
                  <a:pt x="7" y="8"/>
                </a:cubicBezTo>
                <a:cubicBezTo>
                  <a:pt x="9" y="8"/>
                  <a:pt x="9" y="11"/>
                  <a:pt x="10" y="11"/>
                </a:cubicBezTo>
                <a:cubicBezTo>
                  <a:pt x="12" y="11"/>
                  <a:pt x="15" y="13"/>
                  <a:pt x="15" y="15"/>
                </a:cubicBezTo>
                <a:cubicBezTo>
                  <a:pt x="15" y="18"/>
                  <a:pt x="16" y="19"/>
                  <a:pt x="19" y="19"/>
                </a:cubicBezTo>
                <a:cubicBezTo>
                  <a:pt x="20" y="19"/>
                  <a:pt x="20" y="19"/>
                  <a:pt x="21" y="19"/>
                </a:cubicBezTo>
                <a:cubicBezTo>
                  <a:pt x="21" y="17"/>
                  <a:pt x="22" y="16"/>
                  <a:pt x="22" y="1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0" name="Freeform 116"/>
          <p:cNvSpPr/>
          <p:nvPr/>
        </p:nvSpPr>
        <p:spPr bwMode="auto">
          <a:xfrm>
            <a:off x="2577580" y="2953198"/>
            <a:ext cx="114300" cy="57150"/>
          </a:xfrm>
          <a:custGeom>
            <a:avLst/>
            <a:gdLst>
              <a:gd name="T0" fmla="*/ 36 w 40"/>
              <a:gd name="T1" fmla="*/ 6 h 20"/>
              <a:gd name="T2" fmla="*/ 26 w 40"/>
              <a:gd name="T3" fmla="*/ 1 h 20"/>
              <a:gd name="T4" fmla="*/ 16 w 40"/>
              <a:gd name="T5" fmla="*/ 5 h 20"/>
              <a:gd name="T6" fmla="*/ 5 w 40"/>
              <a:gd name="T7" fmla="*/ 5 h 20"/>
              <a:gd name="T8" fmla="*/ 2 w 40"/>
              <a:gd name="T9" fmla="*/ 2 h 20"/>
              <a:gd name="T10" fmla="*/ 1 w 40"/>
              <a:gd name="T11" fmla="*/ 6 h 20"/>
              <a:gd name="T12" fmla="*/ 0 w 40"/>
              <a:gd name="T13" fmla="*/ 10 h 20"/>
              <a:gd name="T14" fmla="*/ 9 w 40"/>
              <a:gd name="T15" fmla="*/ 14 h 20"/>
              <a:gd name="T16" fmla="*/ 14 w 40"/>
              <a:gd name="T17" fmla="*/ 17 h 20"/>
              <a:gd name="T18" fmla="*/ 19 w 40"/>
              <a:gd name="T19" fmla="*/ 16 h 20"/>
              <a:gd name="T20" fmla="*/ 17 w 40"/>
              <a:gd name="T21" fmla="*/ 12 h 20"/>
              <a:gd name="T22" fmla="*/ 21 w 40"/>
              <a:gd name="T23" fmla="*/ 9 h 20"/>
              <a:gd name="T24" fmla="*/ 28 w 40"/>
              <a:gd name="T25" fmla="*/ 6 h 20"/>
              <a:gd name="T26" fmla="*/ 30 w 40"/>
              <a:gd name="T27" fmla="*/ 11 h 20"/>
              <a:gd name="T28" fmla="*/ 34 w 40"/>
              <a:gd name="T29" fmla="*/ 18 h 20"/>
              <a:gd name="T30" fmla="*/ 39 w 40"/>
              <a:gd name="T31" fmla="*/ 14 h 20"/>
              <a:gd name="T32" fmla="*/ 40 w 40"/>
              <a:gd name="T33" fmla="*/ 11 h 20"/>
              <a:gd name="T34" fmla="*/ 36 w 40"/>
              <a:gd name="T35"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20">
                <a:moveTo>
                  <a:pt x="36" y="6"/>
                </a:moveTo>
                <a:cubicBezTo>
                  <a:pt x="33" y="2"/>
                  <a:pt x="29" y="3"/>
                  <a:pt x="26" y="1"/>
                </a:cubicBezTo>
                <a:cubicBezTo>
                  <a:pt x="23" y="0"/>
                  <a:pt x="20" y="2"/>
                  <a:pt x="16" y="5"/>
                </a:cubicBezTo>
                <a:cubicBezTo>
                  <a:pt x="13" y="8"/>
                  <a:pt x="8" y="6"/>
                  <a:pt x="5" y="5"/>
                </a:cubicBezTo>
                <a:cubicBezTo>
                  <a:pt x="4" y="4"/>
                  <a:pt x="3" y="3"/>
                  <a:pt x="2" y="2"/>
                </a:cubicBezTo>
                <a:cubicBezTo>
                  <a:pt x="1" y="3"/>
                  <a:pt x="0" y="5"/>
                  <a:pt x="1" y="6"/>
                </a:cubicBezTo>
                <a:cubicBezTo>
                  <a:pt x="1" y="7"/>
                  <a:pt x="0" y="8"/>
                  <a:pt x="0" y="10"/>
                </a:cubicBezTo>
                <a:cubicBezTo>
                  <a:pt x="3" y="10"/>
                  <a:pt x="7" y="11"/>
                  <a:pt x="9" y="14"/>
                </a:cubicBezTo>
                <a:cubicBezTo>
                  <a:pt x="11" y="17"/>
                  <a:pt x="12" y="15"/>
                  <a:pt x="14" y="17"/>
                </a:cubicBezTo>
                <a:cubicBezTo>
                  <a:pt x="15" y="20"/>
                  <a:pt x="18" y="17"/>
                  <a:pt x="19" y="16"/>
                </a:cubicBezTo>
                <a:cubicBezTo>
                  <a:pt x="20" y="14"/>
                  <a:pt x="17" y="14"/>
                  <a:pt x="17" y="12"/>
                </a:cubicBezTo>
                <a:cubicBezTo>
                  <a:pt x="17" y="10"/>
                  <a:pt x="20" y="11"/>
                  <a:pt x="21" y="9"/>
                </a:cubicBezTo>
                <a:cubicBezTo>
                  <a:pt x="21" y="6"/>
                  <a:pt x="26" y="5"/>
                  <a:pt x="28" y="6"/>
                </a:cubicBezTo>
                <a:cubicBezTo>
                  <a:pt x="30" y="7"/>
                  <a:pt x="32" y="9"/>
                  <a:pt x="30" y="11"/>
                </a:cubicBezTo>
                <a:cubicBezTo>
                  <a:pt x="29" y="13"/>
                  <a:pt x="32" y="16"/>
                  <a:pt x="34" y="18"/>
                </a:cubicBezTo>
                <a:cubicBezTo>
                  <a:pt x="36" y="16"/>
                  <a:pt x="38" y="14"/>
                  <a:pt x="39" y="14"/>
                </a:cubicBezTo>
                <a:cubicBezTo>
                  <a:pt x="39" y="13"/>
                  <a:pt x="40" y="12"/>
                  <a:pt x="40" y="11"/>
                </a:cubicBezTo>
                <a:cubicBezTo>
                  <a:pt x="39" y="11"/>
                  <a:pt x="37" y="9"/>
                  <a:pt x="36"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1" name="Freeform 117"/>
          <p:cNvSpPr/>
          <p:nvPr/>
        </p:nvSpPr>
        <p:spPr bwMode="auto">
          <a:xfrm>
            <a:off x="2655367" y="2896048"/>
            <a:ext cx="236538" cy="336550"/>
          </a:xfrm>
          <a:custGeom>
            <a:avLst/>
            <a:gdLst>
              <a:gd name="T0" fmla="*/ 13 w 83"/>
              <a:gd name="T1" fmla="*/ 86 h 118"/>
              <a:gd name="T2" fmla="*/ 18 w 83"/>
              <a:gd name="T3" fmla="*/ 86 h 118"/>
              <a:gd name="T4" fmla="*/ 23 w 83"/>
              <a:gd name="T5" fmla="*/ 90 h 118"/>
              <a:gd name="T6" fmla="*/ 23 w 83"/>
              <a:gd name="T7" fmla="*/ 90 h 118"/>
              <a:gd name="T8" fmla="*/ 29 w 83"/>
              <a:gd name="T9" fmla="*/ 90 h 118"/>
              <a:gd name="T10" fmla="*/ 33 w 83"/>
              <a:gd name="T11" fmla="*/ 96 h 118"/>
              <a:gd name="T12" fmla="*/ 38 w 83"/>
              <a:gd name="T13" fmla="*/ 100 h 118"/>
              <a:gd name="T14" fmla="*/ 40 w 83"/>
              <a:gd name="T15" fmla="*/ 104 h 118"/>
              <a:gd name="T16" fmla="*/ 48 w 83"/>
              <a:gd name="T17" fmla="*/ 105 h 118"/>
              <a:gd name="T18" fmla="*/ 52 w 83"/>
              <a:gd name="T19" fmla="*/ 105 h 118"/>
              <a:gd name="T20" fmla="*/ 57 w 83"/>
              <a:gd name="T21" fmla="*/ 104 h 118"/>
              <a:gd name="T22" fmla="*/ 62 w 83"/>
              <a:gd name="T23" fmla="*/ 109 h 118"/>
              <a:gd name="T24" fmla="*/ 58 w 83"/>
              <a:gd name="T25" fmla="*/ 114 h 118"/>
              <a:gd name="T26" fmla="*/ 62 w 83"/>
              <a:gd name="T27" fmla="*/ 118 h 118"/>
              <a:gd name="T28" fmla="*/ 63 w 83"/>
              <a:gd name="T29" fmla="*/ 118 h 118"/>
              <a:gd name="T30" fmla="*/ 65 w 83"/>
              <a:gd name="T31" fmla="*/ 108 h 118"/>
              <a:gd name="T32" fmla="*/ 67 w 83"/>
              <a:gd name="T33" fmla="*/ 99 h 118"/>
              <a:gd name="T34" fmla="*/ 62 w 83"/>
              <a:gd name="T35" fmla="*/ 88 h 118"/>
              <a:gd name="T36" fmla="*/ 67 w 83"/>
              <a:gd name="T37" fmla="*/ 84 h 118"/>
              <a:gd name="T38" fmla="*/ 66 w 83"/>
              <a:gd name="T39" fmla="*/ 81 h 118"/>
              <a:gd name="T40" fmla="*/ 64 w 83"/>
              <a:gd name="T41" fmla="*/ 77 h 118"/>
              <a:gd name="T42" fmla="*/ 74 w 83"/>
              <a:gd name="T43" fmla="*/ 77 h 118"/>
              <a:gd name="T44" fmla="*/ 82 w 83"/>
              <a:gd name="T45" fmla="*/ 74 h 118"/>
              <a:gd name="T46" fmla="*/ 81 w 83"/>
              <a:gd name="T47" fmla="*/ 70 h 118"/>
              <a:gd name="T48" fmla="*/ 81 w 83"/>
              <a:gd name="T49" fmla="*/ 65 h 118"/>
              <a:gd name="T50" fmla="*/ 78 w 83"/>
              <a:gd name="T51" fmla="*/ 60 h 118"/>
              <a:gd name="T52" fmla="*/ 80 w 83"/>
              <a:gd name="T53" fmla="*/ 47 h 118"/>
              <a:gd name="T54" fmla="*/ 72 w 83"/>
              <a:gd name="T55" fmla="*/ 45 h 118"/>
              <a:gd name="T56" fmla="*/ 62 w 83"/>
              <a:gd name="T57" fmla="*/ 41 h 118"/>
              <a:gd name="T58" fmla="*/ 51 w 83"/>
              <a:gd name="T59" fmla="*/ 40 h 118"/>
              <a:gd name="T60" fmla="*/ 46 w 83"/>
              <a:gd name="T61" fmla="*/ 31 h 118"/>
              <a:gd name="T62" fmla="*/ 43 w 83"/>
              <a:gd name="T63" fmla="*/ 26 h 118"/>
              <a:gd name="T64" fmla="*/ 40 w 83"/>
              <a:gd name="T65" fmla="*/ 25 h 118"/>
              <a:gd name="T66" fmla="*/ 41 w 83"/>
              <a:gd name="T67" fmla="*/ 22 h 118"/>
              <a:gd name="T68" fmla="*/ 42 w 83"/>
              <a:gd name="T69" fmla="*/ 17 h 118"/>
              <a:gd name="T70" fmla="*/ 48 w 83"/>
              <a:gd name="T71" fmla="*/ 9 h 118"/>
              <a:gd name="T72" fmla="*/ 50 w 83"/>
              <a:gd name="T73" fmla="*/ 8 h 118"/>
              <a:gd name="T74" fmla="*/ 52 w 83"/>
              <a:gd name="T75" fmla="*/ 6 h 118"/>
              <a:gd name="T76" fmla="*/ 53 w 83"/>
              <a:gd name="T77" fmla="*/ 2 h 118"/>
              <a:gd name="T78" fmla="*/ 46 w 83"/>
              <a:gd name="T79" fmla="*/ 6 h 118"/>
              <a:gd name="T80" fmla="*/ 40 w 83"/>
              <a:gd name="T81" fmla="*/ 9 h 118"/>
              <a:gd name="T82" fmla="*/ 33 w 83"/>
              <a:gd name="T83" fmla="*/ 11 h 118"/>
              <a:gd name="T84" fmla="*/ 30 w 83"/>
              <a:gd name="T85" fmla="*/ 11 h 118"/>
              <a:gd name="T86" fmla="*/ 24 w 83"/>
              <a:gd name="T87" fmla="*/ 17 h 118"/>
              <a:gd name="T88" fmla="*/ 21 w 83"/>
              <a:gd name="T89" fmla="*/ 23 h 118"/>
              <a:gd name="T90" fmla="*/ 14 w 83"/>
              <a:gd name="T91" fmla="*/ 31 h 118"/>
              <a:gd name="T92" fmla="*/ 13 w 83"/>
              <a:gd name="T93" fmla="*/ 31 h 118"/>
              <a:gd name="T94" fmla="*/ 12 w 83"/>
              <a:gd name="T95" fmla="*/ 34 h 118"/>
              <a:gd name="T96" fmla="*/ 7 w 83"/>
              <a:gd name="T97" fmla="*/ 38 h 118"/>
              <a:gd name="T98" fmla="*/ 10 w 83"/>
              <a:gd name="T99" fmla="*/ 40 h 118"/>
              <a:gd name="T100" fmla="*/ 11 w 83"/>
              <a:gd name="T101" fmla="*/ 46 h 118"/>
              <a:gd name="T102" fmla="*/ 11 w 83"/>
              <a:gd name="T103" fmla="*/ 49 h 118"/>
              <a:gd name="T104" fmla="*/ 12 w 83"/>
              <a:gd name="T105" fmla="*/ 60 h 118"/>
              <a:gd name="T106" fmla="*/ 11 w 83"/>
              <a:gd name="T107" fmla="*/ 66 h 118"/>
              <a:gd name="T108" fmla="*/ 5 w 83"/>
              <a:gd name="T109" fmla="*/ 71 h 118"/>
              <a:gd name="T110" fmla="*/ 2 w 83"/>
              <a:gd name="T111" fmla="*/ 75 h 118"/>
              <a:gd name="T112" fmla="*/ 0 w 83"/>
              <a:gd name="T113" fmla="*/ 78 h 118"/>
              <a:gd name="T114" fmla="*/ 9 w 83"/>
              <a:gd name="T115" fmla="*/ 83 h 118"/>
              <a:gd name="T116" fmla="*/ 13 w 83"/>
              <a:gd name="T117" fmla="*/ 8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3" h="118">
                <a:moveTo>
                  <a:pt x="13" y="86"/>
                </a:moveTo>
                <a:cubicBezTo>
                  <a:pt x="15" y="87"/>
                  <a:pt x="18" y="87"/>
                  <a:pt x="18" y="86"/>
                </a:cubicBezTo>
                <a:cubicBezTo>
                  <a:pt x="19" y="85"/>
                  <a:pt x="21" y="87"/>
                  <a:pt x="23" y="90"/>
                </a:cubicBezTo>
                <a:cubicBezTo>
                  <a:pt x="23" y="90"/>
                  <a:pt x="23" y="90"/>
                  <a:pt x="23" y="90"/>
                </a:cubicBezTo>
                <a:cubicBezTo>
                  <a:pt x="26" y="90"/>
                  <a:pt x="28" y="89"/>
                  <a:pt x="29" y="90"/>
                </a:cubicBezTo>
                <a:cubicBezTo>
                  <a:pt x="31" y="91"/>
                  <a:pt x="31" y="95"/>
                  <a:pt x="33" y="96"/>
                </a:cubicBezTo>
                <a:cubicBezTo>
                  <a:pt x="36" y="96"/>
                  <a:pt x="38" y="98"/>
                  <a:pt x="38" y="100"/>
                </a:cubicBezTo>
                <a:cubicBezTo>
                  <a:pt x="37" y="101"/>
                  <a:pt x="41" y="102"/>
                  <a:pt x="40" y="104"/>
                </a:cubicBezTo>
                <a:cubicBezTo>
                  <a:pt x="40" y="106"/>
                  <a:pt x="47" y="106"/>
                  <a:pt x="48" y="105"/>
                </a:cubicBezTo>
                <a:cubicBezTo>
                  <a:pt x="49" y="104"/>
                  <a:pt x="51" y="104"/>
                  <a:pt x="52" y="105"/>
                </a:cubicBezTo>
                <a:cubicBezTo>
                  <a:pt x="54" y="105"/>
                  <a:pt x="56" y="104"/>
                  <a:pt x="57" y="104"/>
                </a:cubicBezTo>
                <a:cubicBezTo>
                  <a:pt x="58" y="105"/>
                  <a:pt x="63" y="107"/>
                  <a:pt x="62" y="109"/>
                </a:cubicBezTo>
                <a:cubicBezTo>
                  <a:pt x="61" y="110"/>
                  <a:pt x="58" y="113"/>
                  <a:pt x="58" y="114"/>
                </a:cubicBezTo>
                <a:cubicBezTo>
                  <a:pt x="59" y="115"/>
                  <a:pt x="61" y="116"/>
                  <a:pt x="62" y="118"/>
                </a:cubicBezTo>
                <a:cubicBezTo>
                  <a:pt x="63" y="118"/>
                  <a:pt x="63" y="118"/>
                  <a:pt x="63" y="118"/>
                </a:cubicBezTo>
                <a:cubicBezTo>
                  <a:pt x="65" y="117"/>
                  <a:pt x="65" y="110"/>
                  <a:pt x="65" y="108"/>
                </a:cubicBezTo>
                <a:cubicBezTo>
                  <a:pt x="65" y="106"/>
                  <a:pt x="66" y="101"/>
                  <a:pt x="67" y="99"/>
                </a:cubicBezTo>
                <a:cubicBezTo>
                  <a:pt x="68" y="95"/>
                  <a:pt x="62" y="92"/>
                  <a:pt x="62" y="88"/>
                </a:cubicBezTo>
                <a:cubicBezTo>
                  <a:pt x="62" y="83"/>
                  <a:pt x="65" y="86"/>
                  <a:pt x="67" y="84"/>
                </a:cubicBezTo>
                <a:cubicBezTo>
                  <a:pt x="70" y="82"/>
                  <a:pt x="67" y="81"/>
                  <a:pt x="66" y="81"/>
                </a:cubicBezTo>
                <a:cubicBezTo>
                  <a:pt x="64" y="81"/>
                  <a:pt x="64" y="79"/>
                  <a:pt x="64" y="77"/>
                </a:cubicBezTo>
                <a:cubicBezTo>
                  <a:pt x="64" y="76"/>
                  <a:pt x="72" y="77"/>
                  <a:pt x="74" y="77"/>
                </a:cubicBezTo>
                <a:cubicBezTo>
                  <a:pt x="77" y="77"/>
                  <a:pt x="82" y="74"/>
                  <a:pt x="82" y="74"/>
                </a:cubicBezTo>
                <a:cubicBezTo>
                  <a:pt x="82" y="74"/>
                  <a:pt x="83" y="72"/>
                  <a:pt x="81" y="70"/>
                </a:cubicBezTo>
                <a:cubicBezTo>
                  <a:pt x="79" y="69"/>
                  <a:pt x="80" y="67"/>
                  <a:pt x="81" y="65"/>
                </a:cubicBezTo>
                <a:cubicBezTo>
                  <a:pt x="83" y="64"/>
                  <a:pt x="80" y="62"/>
                  <a:pt x="78" y="60"/>
                </a:cubicBezTo>
                <a:cubicBezTo>
                  <a:pt x="77" y="58"/>
                  <a:pt x="78" y="51"/>
                  <a:pt x="80" y="47"/>
                </a:cubicBezTo>
                <a:cubicBezTo>
                  <a:pt x="82" y="44"/>
                  <a:pt x="76" y="45"/>
                  <a:pt x="72" y="45"/>
                </a:cubicBezTo>
                <a:cubicBezTo>
                  <a:pt x="68" y="46"/>
                  <a:pt x="65" y="44"/>
                  <a:pt x="62" y="41"/>
                </a:cubicBezTo>
                <a:cubicBezTo>
                  <a:pt x="60" y="38"/>
                  <a:pt x="57" y="40"/>
                  <a:pt x="51" y="40"/>
                </a:cubicBezTo>
                <a:cubicBezTo>
                  <a:pt x="45" y="40"/>
                  <a:pt x="46" y="33"/>
                  <a:pt x="46" y="31"/>
                </a:cubicBezTo>
                <a:cubicBezTo>
                  <a:pt x="46" y="28"/>
                  <a:pt x="43" y="28"/>
                  <a:pt x="43" y="26"/>
                </a:cubicBezTo>
                <a:cubicBezTo>
                  <a:pt x="43" y="25"/>
                  <a:pt x="41" y="25"/>
                  <a:pt x="40" y="25"/>
                </a:cubicBezTo>
                <a:cubicBezTo>
                  <a:pt x="38" y="25"/>
                  <a:pt x="40" y="23"/>
                  <a:pt x="41" y="22"/>
                </a:cubicBezTo>
                <a:cubicBezTo>
                  <a:pt x="42" y="20"/>
                  <a:pt x="42" y="19"/>
                  <a:pt x="42" y="17"/>
                </a:cubicBezTo>
                <a:cubicBezTo>
                  <a:pt x="42" y="14"/>
                  <a:pt x="46" y="12"/>
                  <a:pt x="48" y="9"/>
                </a:cubicBezTo>
                <a:cubicBezTo>
                  <a:pt x="48" y="8"/>
                  <a:pt x="49" y="8"/>
                  <a:pt x="50" y="8"/>
                </a:cubicBezTo>
                <a:cubicBezTo>
                  <a:pt x="50" y="7"/>
                  <a:pt x="51" y="6"/>
                  <a:pt x="52" y="6"/>
                </a:cubicBezTo>
                <a:cubicBezTo>
                  <a:pt x="55" y="6"/>
                  <a:pt x="56" y="4"/>
                  <a:pt x="53" y="2"/>
                </a:cubicBezTo>
                <a:cubicBezTo>
                  <a:pt x="51" y="0"/>
                  <a:pt x="49" y="5"/>
                  <a:pt x="46" y="6"/>
                </a:cubicBezTo>
                <a:cubicBezTo>
                  <a:pt x="42" y="6"/>
                  <a:pt x="42" y="8"/>
                  <a:pt x="40" y="9"/>
                </a:cubicBezTo>
                <a:cubicBezTo>
                  <a:pt x="38" y="10"/>
                  <a:pt x="34" y="9"/>
                  <a:pt x="33" y="11"/>
                </a:cubicBezTo>
                <a:cubicBezTo>
                  <a:pt x="33" y="13"/>
                  <a:pt x="32" y="11"/>
                  <a:pt x="30" y="11"/>
                </a:cubicBezTo>
                <a:cubicBezTo>
                  <a:pt x="28" y="10"/>
                  <a:pt x="24" y="14"/>
                  <a:pt x="24" y="17"/>
                </a:cubicBezTo>
                <a:cubicBezTo>
                  <a:pt x="24" y="19"/>
                  <a:pt x="25" y="21"/>
                  <a:pt x="21" y="23"/>
                </a:cubicBezTo>
                <a:cubicBezTo>
                  <a:pt x="18" y="25"/>
                  <a:pt x="16" y="29"/>
                  <a:pt x="14" y="31"/>
                </a:cubicBezTo>
                <a:cubicBezTo>
                  <a:pt x="14" y="32"/>
                  <a:pt x="14" y="32"/>
                  <a:pt x="13" y="31"/>
                </a:cubicBezTo>
                <a:cubicBezTo>
                  <a:pt x="13" y="32"/>
                  <a:pt x="12" y="33"/>
                  <a:pt x="12" y="34"/>
                </a:cubicBezTo>
                <a:cubicBezTo>
                  <a:pt x="11" y="34"/>
                  <a:pt x="9" y="36"/>
                  <a:pt x="7" y="38"/>
                </a:cubicBezTo>
                <a:cubicBezTo>
                  <a:pt x="8" y="39"/>
                  <a:pt x="9" y="40"/>
                  <a:pt x="10" y="40"/>
                </a:cubicBezTo>
                <a:cubicBezTo>
                  <a:pt x="12" y="42"/>
                  <a:pt x="10" y="44"/>
                  <a:pt x="11" y="46"/>
                </a:cubicBezTo>
                <a:cubicBezTo>
                  <a:pt x="12" y="47"/>
                  <a:pt x="12" y="49"/>
                  <a:pt x="11" y="49"/>
                </a:cubicBezTo>
                <a:cubicBezTo>
                  <a:pt x="10" y="50"/>
                  <a:pt x="11" y="59"/>
                  <a:pt x="12" y="60"/>
                </a:cubicBezTo>
                <a:cubicBezTo>
                  <a:pt x="14" y="62"/>
                  <a:pt x="12" y="63"/>
                  <a:pt x="11" y="66"/>
                </a:cubicBezTo>
                <a:cubicBezTo>
                  <a:pt x="9" y="69"/>
                  <a:pt x="8" y="70"/>
                  <a:pt x="5" y="71"/>
                </a:cubicBezTo>
                <a:cubicBezTo>
                  <a:pt x="2" y="71"/>
                  <a:pt x="2" y="75"/>
                  <a:pt x="2" y="75"/>
                </a:cubicBezTo>
                <a:cubicBezTo>
                  <a:pt x="1" y="75"/>
                  <a:pt x="0" y="77"/>
                  <a:pt x="0" y="78"/>
                </a:cubicBezTo>
                <a:cubicBezTo>
                  <a:pt x="3" y="80"/>
                  <a:pt x="7" y="83"/>
                  <a:pt x="9" y="83"/>
                </a:cubicBezTo>
                <a:cubicBezTo>
                  <a:pt x="10" y="83"/>
                  <a:pt x="11" y="85"/>
                  <a:pt x="13" y="8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2" name="Freeform 118"/>
          <p:cNvSpPr/>
          <p:nvPr/>
        </p:nvSpPr>
        <p:spPr bwMode="auto">
          <a:xfrm>
            <a:off x="2839517" y="3340548"/>
            <a:ext cx="242888" cy="273050"/>
          </a:xfrm>
          <a:custGeom>
            <a:avLst/>
            <a:gdLst>
              <a:gd name="T0" fmla="*/ 84 w 85"/>
              <a:gd name="T1" fmla="*/ 57 h 96"/>
              <a:gd name="T2" fmla="*/ 79 w 85"/>
              <a:gd name="T3" fmla="*/ 50 h 96"/>
              <a:gd name="T4" fmla="*/ 74 w 85"/>
              <a:gd name="T5" fmla="*/ 47 h 96"/>
              <a:gd name="T6" fmla="*/ 66 w 85"/>
              <a:gd name="T7" fmla="*/ 44 h 96"/>
              <a:gd name="T8" fmla="*/ 65 w 85"/>
              <a:gd name="T9" fmla="*/ 38 h 96"/>
              <a:gd name="T10" fmla="*/ 64 w 85"/>
              <a:gd name="T11" fmla="*/ 33 h 96"/>
              <a:gd name="T12" fmla="*/ 62 w 85"/>
              <a:gd name="T13" fmla="*/ 28 h 96"/>
              <a:gd name="T14" fmla="*/ 54 w 85"/>
              <a:gd name="T15" fmla="*/ 26 h 96"/>
              <a:gd name="T16" fmla="*/ 48 w 85"/>
              <a:gd name="T17" fmla="*/ 24 h 96"/>
              <a:gd name="T18" fmla="*/ 46 w 85"/>
              <a:gd name="T19" fmla="*/ 21 h 96"/>
              <a:gd name="T20" fmla="*/ 41 w 85"/>
              <a:gd name="T21" fmla="*/ 20 h 96"/>
              <a:gd name="T22" fmla="*/ 33 w 85"/>
              <a:gd name="T23" fmla="*/ 15 h 96"/>
              <a:gd name="T24" fmla="*/ 30 w 85"/>
              <a:gd name="T25" fmla="*/ 2 h 96"/>
              <a:gd name="T26" fmla="*/ 24 w 85"/>
              <a:gd name="T27" fmla="*/ 1 h 96"/>
              <a:gd name="T28" fmla="*/ 16 w 85"/>
              <a:gd name="T29" fmla="*/ 5 h 96"/>
              <a:gd name="T30" fmla="*/ 10 w 85"/>
              <a:gd name="T31" fmla="*/ 8 h 96"/>
              <a:gd name="T32" fmla="*/ 4 w 85"/>
              <a:gd name="T33" fmla="*/ 10 h 96"/>
              <a:gd name="T34" fmla="*/ 2 w 85"/>
              <a:gd name="T35" fmla="*/ 9 h 96"/>
              <a:gd name="T36" fmla="*/ 6 w 85"/>
              <a:gd name="T37" fmla="*/ 19 h 96"/>
              <a:gd name="T38" fmla="*/ 5 w 85"/>
              <a:gd name="T39" fmla="*/ 22 h 96"/>
              <a:gd name="T40" fmla="*/ 5 w 85"/>
              <a:gd name="T41" fmla="*/ 32 h 96"/>
              <a:gd name="T42" fmla="*/ 3 w 85"/>
              <a:gd name="T43" fmla="*/ 38 h 96"/>
              <a:gd name="T44" fmla="*/ 2 w 85"/>
              <a:gd name="T45" fmla="*/ 44 h 96"/>
              <a:gd name="T46" fmla="*/ 5 w 85"/>
              <a:gd name="T47" fmla="*/ 47 h 96"/>
              <a:gd name="T48" fmla="*/ 1 w 85"/>
              <a:gd name="T49" fmla="*/ 53 h 96"/>
              <a:gd name="T50" fmla="*/ 0 w 85"/>
              <a:gd name="T51" fmla="*/ 55 h 96"/>
              <a:gd name="T52" fmla="*/ 3 w 85"/>
              <a:gd name="T53" fmla="*/ 59 h 96"/>
              <a:gd name="T54" fmla="*/ 5 w 85"/>
              <a:gd name="T55" fmla="*/ 66 h 96"/>
              <a:gd name="T56" fmla="*/ 8 w 85"/>
              <a:gd name="T57" fmla="*/ 70 h 96"/>
              <a:gd name="T58" fmla="*/ 6 w 85"/>
              <a:gd name="T59" fmla="*/ 75 h 96"/>
              <a:gd name="T60" fmla="*/ 9 w 85"/>
              <a:gd name="T61" fmla="*/ 80 h 96"/>
              <a:gd name="T62" fmla="*/ 11 w 85"/>
              <a:gd name="T63" fmla="*/ 87 h 96"/>
              <a:gd name="T64" fmla="*/ 13 w 85"/>
              <a:gd name="T65" fmla="*/ 94 h 96"/>
              <a:gd name="T66" fmla="*/ 22 w 85"/>
              <a:gd name="T67" fmla="*/ 89 h 96"/>
              <a:gd name="T68" fmla="*/ 28 w 85"/>
              <a:gd name="T69" fmla="*/ 89 h 96"/>
              <a:gd name="T70" fmla="*/ 36 w 85"/>
              <a:gd name="T71" fmla="*/ 92 h 96"/>
              <a:gd name="T72" fmla="*/ 40 w 85"/>
              <a:gd name="T73" fmla="*/ 88 h 96"/>
              <a:gd name="T74" fmla="*/ 49 w 85"/>
              <a:gd name="T75" fmla="*/ 88 h 96"/>
              <a:gd name="T76" fmla="*/ 51 w 85"/>
              <a:gd name="T77" fmla="*/ 77 h 96"/>
              <a:gd name="T78" fmla="*/ 57 w 85"/>
              <a:gd name="T79" fmla="*/ 71 h 96"/>
              <a:gd name="T80" fmla="*/ 65 w 85"/>
              <a:gd name="T81" fmla="*/ 69 h 96"/>
              <a:gd name="T82" fmla="*/ 73 w 85"/>
              <a:gd name="T83" fmla="*/ 68 h 96"/>
              <a:gd name="T84" fmla="*/ 79 w 85"/>
              <a:gd name="T85" fmla="*/ 71 h 96"/>
              <a:gd name="T86" fmla="*/ 83 w 85"/>
              <a:gd name="T87" fmla="*/ 66 h 96"/>
              <a:gd name="T88" fmla="*/ 84 w 85"/>
              <a:gd name="T89" fmla="*/ 5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5" h="96">
                <a:moveTo>
                  <a:pt x="84" y="57"/>
                </a:moveTo>
                <a:cubicBezTo>
                  <a:pt x="82" y="54"/>
                  <a:pt x="79" y="54"/>
                  <a:pt x="79" y="50"/>
                </a:cubicBezTo>
                <a:cubicBezTo>
                  <a:pt x="79" y="47"/>
                  <a:pt x="78" y="47"/>
                  <a:pt x="74" y="47"/>
                </a:cubicBezTo>
                <a:cubicBezTo>
                  <a:pt x="69" y="47"/>
                  <a:pt x="66" y="46"/>
                  <a:pt x="66" y="44"/>
                </a:cubicBezTo>
                <a:cubicBezTo>
                  <a:pt x="66" y="41"/>
                  <a:pt x="63" y="39"/>
                  <a:pt x="65" y="38"/>
                </a:cubicBezTo>
                <a:cubicBezTo>
                  <a:pt x="67" y="37"/>
                  <a:pt x="64" y="35"/>
                  <a:pt x="64" y="33"/>
                </a:cubicBezTo>
                <a:cubicBezTo>
                  <a:pt x="65" y="30"/>
                  <a:pt x="63" y="29"/>
                  <a:pt x="62" y="28"/>
                </a:cubicBezTo>
                <a:cubicBezTo>
                  <a:pt x="60" y="27"/>
                  <a:pt x="54" y="28"/>
                  <a:pt x="54" y="26"/>
                </a:cubicBezTo>
                <a:cubicBezTo>
                  <a:pt x="54" y="24"/>
                  <a:pt x="51" y="24"/>
                  <a:pt x="48" y="24"/>
                </a:cubicBezTo>
                <a:cubicBezTo>
                  <a:pt x="46" y="24"/>
                  <a:pt x="48" y="21"/>
                  <a:pt x="46" y="21"/>
                </a:cubicBezTo>
                <a:cubicBezTo>
                  <a:pt x="43" y="21"/>
                  <a:pt x="44" y="20"/>
                  <a:pt x="41" y="20"/>
                </a:cubicBezTo>
                <a:cubicBezTo>
                  <a:pt x="38" y="21"/>
                  <a:pt x="36" y="19"/>
                  <a:pt x="33" y="15"/>
                </a:cubicBezTo>
                <a:cubicBezTo>
                  <a:pt x="29" y="11"/>
                  <a:pt x="30" y="4"/>
                  <a:pt x="30" y="2"/>
                </a:cubicBezTo>
                <a:cubicBezTo>
                  <a:pt x="31" y="0"/>
                  <a:pt x="26" y="1"/>
                  <a:pt x="24" y="1"/>
                </a:cubicBezTo>
                <a:cubicBezTo>
                  <a:pt x="21" y="1"/>
                  <a:pt x="19" y="3"/>
                  <a:pt x="16" y="5"/>
                </a:cubicBezTo>
                <a:cubicBezTo>
                  <a:pt x="13" y="7"/>
                  <a:pt x="11" y="7"/>
                  <a:pt x="10" y="8"/>
                </a:cubicBezTo>
                <a:cubicBezTo>
                  <a:pt x="8" y="10"/>
                  <a:pt x="6" y="10"/>
                  <a:pt x="4" y="10"/>
                </a:cubicBezTo>
                <a:cubicBezTo>
                  <a:pt x="3" y="9"/>
                  <a:pt x="2" y="9"/>
                  <a:pt x="2" y="9"/>
                </a:cubicBezTo>
                <a:cubicBezTo>
                  <a:pt x="3" y="12"/>
                  <a:pt x="6" y="17"/>
                  <a:pt x="6" y="19"/>
                </a:cubicBezTo>
                <a:cubicBezTo>
                  <a:pt x="7" y="21"/>
                  <a:pt x="5" y="22"/>
                  <a:pt x="5" y="22"/>
                </a:cubicBezTo>
                <a:cubicBezTo>
                  <a:pt x="4" y="23"/>
                  <a:pt x="5" y="31"/>
                  <a:pt x="5" y="32"/>
                </a:cubicBezTo>
                <a:cubicBezTo>
                  <a:pt x="5" y="34"/>
                  <a:pt x="2" y="37"/>
                  <a:pt x="3" y="38"/>
                </a:cubicBezTo>
                <a:cubicBezTo>
                  <a:pt x="5" y="39"/>
                  <a:pt x="2" y="42"/>
                  <a:pt x="2" y="44"/>
                </a:cubicBezTo>
                <a:cubicBezTo>
                  <a:pt x="2" y="46"/>
                  <a:pt x="5" y="46"/>
                  <a:pt x="5" y="47"/>
                </a:cubicBezTo>
                <a:cubicBezTo>
                  <a:pt x="5" y="48"/>
                  <a:pt x="2" y="52"/>
                  <a:pt x="1" y="53"/>
                </a:cubicBezTo>
                <a:cubicBezTo>
                  <a:pt x="0" y="53"/>
                  <a:pt x="0" y="54"/>
                  <a:pt x="0" y="55"/>
                </a:cubicBezTo>
                <a:cubicBezTo>
                  <a:pt x="1" y="55"/>
                  <a:pt x="1" y="57"/>
                  <a:pt x="3" y="59"/>
                </a:cubicBezTo>
                <a:cubicBezTo>
                  <a:pt x="6" y="60"/>
                  <a:pt x="3" y="63"/>
                  <a:pt x="5" y="66"/>
                </a:cubicBezTo>
                <a:cubicBezTo>
                  <a:pt x="7" y="68"/>
                  <a:pt x="9" y="69"/>
                  <a:pt x="8" y="70"/>
                </a:cubicBezTo>
                <a:cubicBezTo>
                  <a:pt x="6" y="71"/>
                  <a:pt x="8" y="73"/>
                  <a:pt x="6" y="75"/>
                </a:cubicBezTo>
                <a:cubicBezTo>
                  <a:pt x="5" y="76"/>
                  <a:pt x="7" y="80"/>
                  <a:pt x="9" y="80"/>
                </a:cubicBezTo>
                <a:cubicBezTo>
                  <a:pt x="10" y="81"/>
                  <a:pt x="9" y="85"/>
                  <a:pt x="11" y="87"/>
                </a:cubicBezTo>
                <a:cubicBezTo>
                  <a:pt x="13" y="89"/>
                  <a:pt x="12" y="93"/>
                  <a:pt x="13" y="94"/>
                </a:cubicBezTo>
                <a:cubicBezTo>
                  <a:pt x="13" y="96"/>
                  <a:pt x="19" y="92"/>
                  <a:pt x="22" y="89"/>
                </a:cubicBezTo>
                <a:cubicBezTo>
                  <a:pt x="25" y="85"/>
                  <a:pt x="25" y="88"/>
                  <a:pt x="28" y="89"/>
                </a:cubicBezTo>
                <a:cubicBezTo>
                  <a:pt x="31" y="89"/>
                  <a:pt x="35" y="89"/>
                  <a:pt x="36" y="92"/>
                </a:cubicBezTo>
                <a:cubicBezTo>
                  <a:pt x="37" y="95"/>
                  <a:pt x="39" y="89"/>
                  <a:pt x="40" y="88"/>
                </a:cubicBezTo>
                <a:cubicBezTo>
                  <a:pt x="41" y="87"/>
                  <a:pt x="48" y="88"/>
                  <a:pt x="49" y="88"/>
                </a:cubicBezTo>
                <a:cubicBezTo>
                  <a:pt x="51" y="87"/>
                  <a:pt x="52" y="79"/>
                  <a:pt x="51" y="77"/>
                </a:cubicBezTo>
                <a:cubicBezTo>
                  <a:pt x="51" y="76"/>
                  <a:pt x="54" y="72"/>
                  <a:pt x="57" y="71"/>
                </a:cubicBezTo>
                <a:cubicBezTo>
                  <a:pt x="59" y="69"/>
                  <a:pt x="63" y="70"/>
                  <a:pt x="65" y="69"/>
                </a:cubicBezTo>
                <a:cubicBezTo>
                  <a:pt x="67" y="68"/>
                  <a:pt x="70" y="68"/>
                  <a:pt x="73" y="68"/>
                </a:cubicBezTo>
                <a:cubicBezTo>
                  <a:pt x="76" y="68"/>
                  <a:pt x="78" y="71"/>
                  <a:pt x="79" y="71"/>
                </a:cubicBezTo>
                <a:cubicBezTo>
                  <a:pt x="81" y="71"/>
                  <a:pt x="83" y="69"/>
                  <a:pt x="83" y="66"/>
                </a:cubicBezTo>
                <a:cubicBezTo>
                  <a:pt x="82" y="64"/>
                  <a:pt x="85" y="60"/>
                  <a:pt x="84" y="5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3" name="Freeform 119"/>
          <p:cNvSpPr/>
          <p:nvPr/>
        </p:nvSpPr>
        <p:spPr bwMode="auto">
          <a:xfrm>
            <a:off x="2606155" y="3150048"/>
            <a:ext cx="254000" cy="366713"/>
          </a:xfrm>
          <a:custGeom>
            <a:avLst/>
            <a:gdLst>
              <a:gd name="T0" fmla="*/ 82 w 89"/>
              <a:gd name="T1" fmla="*/ 123 h 129"/>
              <a:gd name="T2" fmla="*/ 82 w 89"/>
              <a:gd name="T3" fmla="*/ 122 h 129"/>
              <a:gd name="T4" fmla="*/ 83 w 89"/>
              <a:gd name="T5" fmla="*/ 120 h 129"/>
              <a:gd name="T6" fmla="*/ 87 w 89"/>
              <a:gd name="T7" fmla="*/ 114 h 129"/>
              <a:gd name="T8" fmla="*/ 84 w 89"/>
              <a:gd name="T9" fmla="*/ 111 h 129"/>
              <a:gd name="T10" fmla="*/ 85 w 89"/>
              <a:gd name="T11" fmla="*/ 105 h 129"/>
              <a:gd name="T12" fmla="*/ 87 w 89"/>
              <a:gd name="T13" fmla="*/ 99 h 129"/>
              <a:gd name="T14" fmla="*/ 87 w 89"/>
              <a:gd name="T15" fmla="*/ 89 h 129"/>
              <a:gd name="T16" fmla="*/ 88 w 89"/>
              <a:gd name="T17" fmla="*/ 86 h 129"/>
              <a:gd name="T18" fmla="*/ 84 w 89"/>
              <a:gd name="T19" fmla="*/ 76 h 129"/>
              <a:gd name="T20" fmla="*/ 77 w 89"/>
              <a:gd name="T21" fmla="*/ 76 h 129"/>
              <a:gd name="T22" fmla="*/ 75 w 89"/>
              <a:gd name="T23" fmla="*/ 67 h 129"/>
              <a:gd name="T24" fmla="*/ 72 w 89"/>
              <a:gd name="T25" fmla="*/ 68 h 129"/>
              <a:gd name="T26" fmla="*/ 65 w 89"/>
              <a:gd name="T27" fmla="*/ 69 h 129"/>
              <a:gd name="T28" fmla="*/ 61 w 89"/>
              <a:gd name="T29" fmla="*/ 65 h 129"/>
              <a:gd name="T30" fmla="*/ 58 w 89"/>
              <a:gd name="T31" fmla="*/ 62 h 129"/>
              <a:gd name="T32" fmla="*/ 55 w 89"/>
              <a:gd name="T33" fmla="*/ 57 h 129"/>
              <a:gd name="T34" fmla="*/ 53 w 89"/>
              <a:gd name="T35" fmla="*/ 51 h 129"/>
              <a:gd name="T36" fmla="*/ 54 w 89"/>
              <a:gd name="T37" fmla="*/ 46 h 129"/>
              <a:gd name="T38" fmla="*/ 57 w 89"/>
              <a:gd name="T39" fmla="*/ 43 h 129"/>
              <a:gd name="T40" fmla="*/ 59 w 89"/>
              <a:gd name="T41" fmla="*/ 36 h 129"/>
              <a:gd name="T42" fmla="*/ 66 w 89"/>
              <a:gd name="T43" fmla="*/ 32 h 129"/>
              <a:gd name="T44" fmla="*/ 74 w 89"/>
              <a:gd name="T45" fmla="*/ 29 h 129"/>
              <a:gd name="T46" fmla="*/ 79 w 89"/>
              <a:gd name="T47" fmla="*/ 29 h 129"/>
              <a:gd name="T48" fmla="*/ 75 w 89"/>
              <a:gd name="T49" fmla="*/ 25 h 129"/>
              <a:gd name="T50" fmla="*/ 79 w 89"/>
              <a:gd name="T51" fmla="*/ 20 h 129"/>
              <a:gd name="T52" fmla="*/ 74 w 89"/>
              <a:gd name="T53" fmla="*/ 15 h 129"/>
              <a:gd name="T54" fmla="*/ 69 w 89"/>
              <a:gd name="T55" fmla="*/ 16 h 129"/>
              <a:gd name="T56" fmla="*/ 65 w 89"/>
              <a:gd name="T57" fmla="*/ 16 h 129"/>
              <a:gd name="T58" fmla="*/ 57 w 89"/>
              <a:gd name="T59" fmla="*/ 15 h 129"/>
              <a:gd name="T60" fmla="*/ 55 w 89"/>
              <a:gd name="T61" fmla="*/ 11 h 129"/>
              <a:gd name="T62" fmla="*/ 50 w 89"/>
              <a:gd name="T63" fmla="*/ 7 h 129"/>
              <a:gd name="T64" fmla="*/ 46 w 89"/>
              <a:gd name="T65" fmla="*/ 1 h 129"/>
              <a:gd name="T66" fmla="*/ 40 w 89"/>
              <a:gd name="T67" fmla="*/ 1 h 129"/>
              <a:gd name="T68" fmla="*/ 42 w 89"/>
              <a:gd name="T69" fmla="*/ 6 h 129"/>
              <a:gd name="T70" fmla="*/ 38 w 89"/>
              <a:gd name="T71" fmla="*/ 13 h 129"/>
              <a:gd name="T72" fmla="*/ 25 w 89"/>
              <a:gd name="T73" fmla="*/ 20 h 129"/>
              <a:gd name="T74" fmla="*/ 18 w 89"/>
              <a:gd name="T75" fmla="*/ 31 h 129"/>
              <a:gd name="T76" fmla="*/ 14 w 89"/>
              <a:gd name="T77" fmla="*/ 32 h 129"/>
              <a:gd name="T78" fmla="*/ 8 w 89"/>
              <a:gd name="T79" fmla="*/ 30 h 129"/>
              <a:gd name="T80" fmla="*/ 8 w 89"/>
              <a:gd name="T81" fmla="*/ 27 h 129"/>
              <a:gd name="T82" fmla="*/ 7 w 89"/>
              <a:gd name="T83" fmla="*/ 23 h 129"/>
              <a:gd name="T84" fmla="*/ 1 w 89"/>
              <a:gd name="T85" fmla="*/ 29 h 129"/>
              <a:gd name="T86" fmla="*/ 4 w 89"/>
              <a:gd name="T87" fmla="*/ 39 h 129"/>
              <a:gd name="T88" fmla="*/ 2 w 89"/>
              <a:gd name="T89" fmla="*/ 40 h 129"/>
              <a:gd name="T90" fmla="*/ 9 w 89"/>
              <a:gd name="T91" fmla="*/ 46 h 129"/>
              <a:gd name="T92" fmla="*/ 16 w 89"/>
              <a:gd name="T93" fmla="*/ 56 h 129"/>
              <a:gd name="T94" fmla="*/ 21 w 89"/>
              <a:gd name="T95" fmla="*/ 66 h 129"/>
              <a:gd name="T96" fmla="*/ 32 w 89"/>
              <a:gd name="T97" fmla="*/ 87 h 129"/>
              <a:gd name="T98" fmla="*/ 36 w 89"/>
              <a:gd name="T99" fmla="*/ 95 h 129"/>
              <a:gd name="T100" fmla="*/ 38 w 89"/>
              <a:gd name="T101" fmla="*/ 102 h 129"/>
              <a:gd name="T102" fmla="*/ 49 w 89"/>
              <a:gd name="T103" fmla="*/ 109 h 129"/>
              <a:gd name="T104" fmla="*/ 69 w 89"/>
              <a:gd name="T105" fmla="*/ 122 h 129"/>
              <a:gd name="T106" fmla="*/ 77 w 89"/>
              <a:gd name="T107" fmla="*/ 128 h 129"/>
              <a:gd name="T108" fmla="*/ 78 w 89"/>
              <a:gd name="T109" fmla="*/ 129 h 129"/>
              <a:gd name="T110" fmla="*/ 79 w 89"/>
              <a:gd name="T111" fmla="*/ 128 h 129"/>
              <a:gd name="T112" fmla="*/ 82 w 89"/>
              <a:gd name="T113" fmla="*/ 1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129">
                <a:moveTo>
                  <a:pt x="82" y="123"/>
                </a:moveTo>
                <a:cubicBezTo>
                  <a:pt x="82" y="122"/>
                  <a:pt x="82" y="122"/>
                  <a:pt x="82" y="122"/>
                </a:cubicBezTo>
                <a:cubicBezTo>
                  <a:pt x="82" y="121"/>
                  <a:pt x="82" y="120"/>
                  <a:pt x="83" y="120"/>
                </a:cubicBezTo>
                <a:cubicBezTo>
                  <a:pt x="84" y="119"/>
                  <a:pt x="87" y="115"/>
                  <a:pt x="87" y="114"/>
                </a:cubicBezTo>
                <a:cubicBezTo>
                  <a:pt x="87" y="113"/>
                  <a:pt x="84" y="113"/>
                  <a:pt x="84" y="111"/>
                </a:cubicBezTo>
                <a:cubicBezTo>
                  <a:pt x="84" y="109"/>
                  <a:pt x="87" y="106"/>
                  <a:pt x="85" y="105"/>
                </a:cubicBezTo>
                <a:cubicBezTo>
                  <a:pt x="84" y="104"/>
                  <a:pt x="87" y="101"/>
                  <a:pt x="87" y="99"/>
                </a:cubicBezTo>
                <a:cubicBezTo>
                  <a:pt x="87" y="98"/>
                  <a:pt x="86" y="90"/>
                  <a:pt x="87" y="89"/>
                </a:cubicBezTo>
                <a:cubicBezTo>
                  <a:pt x="87" y="89"/>
                  <a:pt x="89" y="88"/>
                  <a:pt x="88" y="86"/>
                </a:cubicBezTo>
                <a:cubicBezTo>
                  <a:pt x="88" y="84"/>
                  <a:pt x="85" y="79"/>
                  <a:pt x="84" y="76"/>
                </a:cubicBezTo>
                <a:cubicBezTo>
                  <a:pt x="81" y="76"/>
                  <a:pt x="79" y="76"/>
                  <a:pt x="77" y="76"/>
                </a:cubicBezTo>
                <a:cubicBezTo>
                  <a:pt x="75" y="77"/>
                  <a:pt x="75" y="70"/>
                  <a:pt x="75" y="67"/>
                </a:cubicBezTo>
                <a:cubicBezTo>
                  <a:pt x="75" y="65"/>
                  <a:pt x="73" y="66"/>
                  <a:pt x="72" y="68"/>
                </a:cubicBezTo>
                <a:cubicBezTo>
                  <a:pt x="71" y="70"/>
                  <a:pt x="68" y="69"/>
                  <a:pt x="65" y="69"/>
                </a:cubicBezTo>
                <a:cubicBezTo>
                  <a:pt x="62" y="69"/>
                  <a:pt x="63" y="65"/>
                  <a:pt x="61" y="65"/>
                </a:cubicBezTo>
                <a:cubicBezTo>
                  <a:pt x="59" y="65"/>
                  <a:pt x="58" y="65"/>
                  <a:pt x="58" y="62"/>
                </a:cubicBezTo>
                <a:cubicBezTo>
                  <a:pt x="58" y="60"/>
                  <a:pt x="56" y="59"/>
                  <a:pt x="55" y="57"/>
                </a:cubicBezTo>
                <a:cubicBezTo>
                  <a:pt x="54" y="54"/>
                  <a:pt x="52" y="52"/>
                  <a:pt x="53" y="51"/>
                </a:cubicBezTo>
                <a:cubicBezTo>
                  <a:pt x="54" y="49"/>
                  <a:pt x="52" y="48"/>
                  <a:pt x="54" y="46"/>
                </a:cubicBezTo>
                <a:cubicBezTo>
                  <a:pt x="56" y="44"/>
                  <a:pt x="58" y="45"/>
                  <a:pt x="57" y="43"/>
                </a:cubicBezTo>
                <a:cubicBezTo>
                  <a:pt x="57" y="40"/>
                  <a:pt x="59" y="39"/>
                  <a:pt x="59" y="36"/>
                </a:cubicBezTo>
                <a:cubicBezTo>
                  <a:pt x="60" y="33"/>
                  <a:pt x="63" y="34"/>
                  <a:pt x="66" y="32"/>
                </a:cubicBezTo>
                <a:cubicBezTo>
                  <a:pt x="68" y="30"/>
                  <a:pt x="71" y="31"/>
                  <a:pt x="74" y="29"/>
                </a:cubicBezTo>
                <a:cubicBezTo>
                  <a:pt x="76" y="27"/>
                  <a:pt x="78" y="29"/>
                  <a:pt x="79" y="29"/>
                </a:cubicBezTo>
                <a:cubicBezTo>
                  <a:pt x="78" y="27"/>
                  <a:pt x="76" y="26"/>
                  <a:pt x="75" y="25"/>
                </a:cubicBezTo>
                <a:cubicBezTo>
                  <a:pt x="75" y="24"/>
                  <a:pt x="78" y="21"/>
                  <a:pt x="79" y="20"/>
                </a:cubicBezTo>
                <a:cubicBezTo>
                  <a:pt x="80" y="18"/>
                  <a:pt x="75" y="16"/>
                  <a:pt x="74" y="15"/>
                </a:cubicBezTo>
                <a:cubicBezTo>
                  <a:pt x="73" y="15"/>
                  <a:pt x="71" y="16"/>
                  <a:pt x="69" y="16"/>
                </a:cubicBezTo>
                <a:cubicBezTo>
                  <a:pt x="68" y="15"/>
                  <a:pt x="66" y="15"/>
                  <a:pt x="65" y="16"/>
                </a:cubicBezTo>
                <a:cubicBezTo>
                  <a:pt x="64" y="17"/>
                  <a:pt x="57" y="17"/>
                  <a:pt x="57" y="15"/>
                </a:cubicBezTo>
                <a:cubicBezTo>
                  <a:pt x="58" y="13"/>
                  <a:pt x="54" y="12"/>
                  <a:pt x="55" y="11"/>
                </a:cubicBezTo>
                <a:cubicBezTo>
                  <a:pt x="55" y="9"/>
                  <a:pt x="53" y="7"/>
                  <a:pt x="50" y="7"/>
                </a:cubicBezTo>
                <a:cubicBezTo>
                  <a:pt x="48" y="6"/>
                  <a:pt x="48" y="2"/>
                  <a:pt x="46" y="1"/>
                </a:cubicBezTo>
                <a:cubicBezTo>
                  <a:pt x="45" y="0"/>
                  <a:pt x="43" y="1"/>
                  <a:pt x="40" y="1"/>
                </a:cubicBezTo>
                <a:cubicBezTo>
                  <a:pt x="43" y="4"/>
                  <a:pt x="44" y="5"/>
                  <a:pt x="42" y="6"/>
                </a:cubicBezTo>
                <a:cubicBezTo>
                  <a:pt x="40" y="8"/>
                  <a:pt x="42" y="8"/>
                  <a:pt x="38" y="13"/>
                </a:cubicBezTo>
                <a:cubicBezTo>
                  <a:pt x="34" y="18"/>
                  <a:pt x="28" y="19"/>
                  <a:pt x="25" y="20"/>
                </a:cubicBezTo>
                <a:cubicBezTo>
                  <a:pt x="21" y="21"/>
                  <a:pt x="20" y="27"/>
                  <a:pt x="18" y="31"/>
                </a:cubicBezTo>
                <a:cubicBezTo>
                  <a:pt x="17" y="35"/>
                  <a:pt x="15" y="34"/>
                  <a:pt x="14" y="32"/>
                </a:cubicBezTo>
                <a:cubicBezTo>
                  <a:pt x="12" y="29"/>
                  <a:pt x="10" y="32"/>
                  <a:pt x="8" y="30"/>
                </a:cubicBezTo>
                <a:cubicBezTo>
                  <a:pt x="6" y="28"/>
                  <a:pt x="7" y="28"/>
                  <a:pt x="8" y="27"/>
                </a:cubicBezTo>
                <a:cubicBezTo>
                  <a:pt x="9" y="26"/>
                  <a:pt x="8" y="24"/>
                  <a:pt x="7" y="23"/>
                </a:cubicBezTo>
                <a:cubicBezTo>
                  <a:pt x="5" y="24"/>
                  <a:pt x="2" y="27"/>
                  <a:pt x="1" y="29"/>
                </a:cubicBezTo>
                <a:cubicBezTo>
                  <a:pt x="0" y="32"/>
                  <a:pt x="3" y="37"/>
                  <a:pt x="4" y="39"/>
                </a:cubicBezTo>
                <a:cubicBezTo>
                  <a:pt x="4" y="40"/>
                  <a:pt x="2" y="39"/>
                  <a:pt x="2" y="40"/>
                </a:cubicBezTo>
                <a:cubicBezTo>
                  <a:pt x="1" y="42"/>
                  <a:pt x="7" y="44"/>
                  <a:pt x="9" y="46"/>
                </a:cubicBezTo>
                <a:cubicBezTo>
                  <a:pt x="12" y="48"/>
                  <a:pt x="14" y="53"/>
                  <a:pt x="16" y="56"/>
                </a:cubicBezTo>
                <a:cubicBezTo>
                  <a:pt x="18" y="58"/>
                  <a:pt x="19" y="60"/>
                  <a:pt x="21" y="66"/>
                </a:cubicBezTo>
                <a:cubicBezTo>
                  <a:pt x="23" y="72"/>
                  <a:pt x="28" y="82"/>
                  <a:pt x="32" y="87"/>
                </a:cubicBezTo>
                <a:cubicBezTo>
                  <a:pt x="35" y="91"/>
                  <a:pt x="37" y="94"/>
                  <a:pt x="36" y="95"/>
                </a:cubicBezTo>
                <a:cubicBezTo>
                  <a:pt x="35" y="97"/>
                  <a:pt x="36" y="100"/>
                  <a:pt x="38" y="102"/>
                </a:cubicBezTo>
                <a:cubicBezTo>
                  <a:pt x="41" y="103"/>
                  <a:pt x="43" y="106"/>
                  <a:pt x="49" y="109"/>
                </a:cubicBezTo>
                <a:cubicBezTo>
                  <a:pt x="56" y="113"/>
                  <a:pt x="67" y="119"/>
                  <a:pt x="69" y="122"/>
                </a:cubicBezTo>
                <a:cubicBezTo>
                  <a:pt x="71" y="124"/>
                  <a:pt x="76" y="127"/>
                  <a:pt x="77" y="128"/>
                </a:cubicBezTo>
                <a:cubicBezTo>
                  <a:pt x="78" y="128"/>
                  <a:pt x="78" y="128"/>
                  <a:pt x="78" y="129"/>
                </a:cubicBezTo>
                <a:cubicBezTo>
                  <a:pt x="78" y="129"/>
                  <a:pt x="79" y="128"/>
                  <a:pt x="79" y="128"/>
                </a:cubicBezTo>
                <a:cubicBezTo>
                  <a:pt x="81" y="127"/>
                  <a:pt x="81" y="124"/>
                  <a:pt x="82" y="12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4" name="Freeform 120"/>
          <p:cNvSpPr/>
          <p:nvPr/>
        </p:nvSpPr>
        <p:spPr bwMode="auto">
          <a:xfrm>
            <a:off x="2763317" y="2908748"/>
            <a:ext cx="273050" cy="227013"/>
          </a:xfrm>
          <a:custGeom>
            <a:avLst/>
            <a:gdLst>
              <a:gd name="T0" fmla="*/ 10 w 96"/>
              <a:gd name="T1" fmla="*/ 5 h 80"/>
              <a:gd name="T2" fmla="*/ 4 w 96"/>
              <a:gd name="T3" fmla="*/ 13 h 80"/>
              <a:gd name="T4" fmla="*/ 3 w 96"/>
              <a:gd name="T5" fmla="*/ 18 h 80"/>
              <a:gd name="T6" fmla="*/ 2 w 96"/>
              <a:gd name="T7" fmla="*/ 21 h 80"/>
              <a:gd name="T8" fmla="*/ 5 w 96"/>
              <a:gd name="T9" fmla="*/ 22 h 80"/>
              <a:gd name="T10" fmla="*/ 8 w 96"/>
              <a:gd name="T11" fmla="*/ 27 h 80"/>
              <a:gd name="T12" fmla="*/ 13 w 96"/>
              <a:gd name="T13" fmla="*/ 36 h 80"/>
              <a:gd name="T14" fmla="*/ 24 w 96"/>
              <a:gd name="T15" fmla="*/ 37 h 80"/>
              <a:gd name="T16" fmla="*/ 34 w 96"/>
              <a:gd name="T17" fmla="*/ 41 h 80"/>
              <a:gd name="T18" fmla="*/ 42 w 96"/>
              <a:gd name="T19" fmla="*/ 43 h 80"/>
              <a:gd name="T20" fmla="*/ 40 w 96"/>
              <a:gd name="T21" fmla="*/ 56 h 80"/>
              <a:gd name="T22" fmla="*/ 43 w 96"/>
              <a:gd name="T23" fmla="*/ 61 h 80"/>
              <a:gd name="T24" fmla="*/ 43 w 96"/>
              <a:gd name="T25" fmla="*/ 66 h 80"/>
              <a:gd name="T26" fmla="*/ 44 w 96"/>
              <a:gd name="T27" fmla="*/ 70 h 80"/>
              <a:gd name="T28" fmla="*/ 43 w 96"/>
              <a:gd name="T29" fmla="*/ 71 h 80"/>
              <a:gd name="T30" fmla="*/ 48 w 96"/>
              <a:gd name="T31" fmla="*/ 77 h 80"/>
              <a:gd name="T32" fmla="*/ 52 w 96"/>
              <a:gd name="T33" fmla="*/ 79 h 80"/>
              <a:gd name="T34" fmla="*/ 56 w 96"/>
              <a:gd name="T35" fmla="*/ 79 h 80"/>
              <a:gd name="T36" fmla="*/ 61 w 96"/>
              <a:gd name="T37" fmla="*/ 76 h 80"/>
              <a:gd name="T38" fmla="*/ 66 w 96"/>
              <a:gd name="T39" fmla="*/ 74 h 80"/>
              <a:gd name="T40" fmla="*/ 69 w 96"/>
              <a:gd name="T41" fmla="*/ 70 h 80"/>
              <a:gd name="T42" fmla="*/ 70 w 96"/>
              <a:gd name="T43" fmla="*/ 67 h 80"/>
              <a:gd name="T44" fmla="*/ 67 w 96"/>
              <a:gd name="T45" fmla="*/ 66 h 80"/>
              <a:gd name="T46" fmla="*/ 65 w 96"/>
              <a:gd name="T47" fmla="*/ 62 h 80"/>
              <a:gd name="T48" fmla="*/ 62 w 96"/>
              <a:gd name="T49" fmla="*/ 57 h 80"/>
              <a:gd name="T50" fmla="*/ 67 w 96"/>
              <a:gd name="T51" fmla="*/ 56 h 80"/>
              <a:gd name="T52" fmla="*/ 73 w 96"/>
              <a:gd name="T53" fmla="*/ 58 h 80"/>
              <a:gd name="T54" fmla="*/ 75 w 96"/>
              <a:gd name="T55" fmla="*/ 58 h 80"/>
              <a:gd name="T56" fmla="*/ 80 w 96"/>
              <a:gd name="T57" fmla="*/ 56 h 80"/>
              <a:gd name="T58" fmla="*/ 89 w 96"/>
              <a:gd name="T59" fmla="*/ 52 h 80"/>
              <a:gd name="T60" fmla="*/ 91 w 96"/>
              <a:gd name="T61" fmla="*/ 50 h 80"/>
              <a:gd name="T62" fmla="*/ 86 w 96"/>
              <a:gd name="T63" fmla="*/ 44 h 80"/>
              <a:gd name="T64" fmla="*/ 87 w 96"/>
              <a:gd name="T65" fmla="*/ 41 h 80"/>
              <a:gd name="T66" fmla="*/ 90 w 96"/>
              <a:gd name="T67" fmla="*/ 37 h 80"/>
              <a:gd name="T68" fmla="*/ 91 w 96"/>
              <a:gd name="T69" fmla="*/ 34 h 80"/>
              <a:gd name="T70" fmla="*/ 93 w 96"/>
              <a:gd name="T71" fmla="*/ 29 h 80"/>
              <a:gd name="T72" fmla="*/ 96 w 96"/>
              <a:gd name="T73" fmla="*/ 26 h 80"/>
              <a:gd name="T74" fmla="*/ 86 w 96"/>
              <a:gd name="T75" fmla="*/ 25 h 80"/>
              <a:gd name="T76" fmla="*/ 88 w 96"/>
              <a:gd name="T77" fmla="*/ 19 h 80"/>
              <a:gd name="T78" fmla="*/ 78 w 96"/>
              <a:gd name="T79" fmla="*/ 15 h 80"/>
              <a:gd name="T80" fmla="*/ 78 w 96"/>
              <a:gd name="T81" fmla="*/ 11 h 80"/>
              <a:gd name="T82" fmla="*/ 73 w 96"/>
              <a:gd name="T83" fmla="*/ 10 h 80"/>
              <a:gd name="T84" fmla="*/ 59 w 96"/>
              <a:gd name="T85" fmla="*/ 14 h 80"/>
              <a:gd name="T86" fmla="*/ 46 w 96"/>
              <a:gd name="T87" fmla="*/ 11 h 80"/>
              <a:gd name="T88" fmla="*/ 37 w 96"/>
              <a:gd name="T89" fmla="*/ 9 h 80"/>
              <a:gd name="T90" fmla="*/ 32 w 96"/>
              <a:gd name="T91" fmla="*/ 4 h 80"/>
              <a:gd name="T92" fmla="*/ 26 w 96"/>
              <a:gd name="T93" fmla="*/ 0 h 80"/>
              <a:gd name="T94" fmla="*/ 24 w 96"/>
              <a:gd name="T95" fmla="*/ 4 h 80"/>
              <a:gd name="T96" fmla="*/ 15 w 96"/>
              <a:gd name="T97" fmla="*/ 10 h 80"/>
              <a:gd name="T98" fmla="*/ 17 w 96"/>
              <a:gd name="T99" fmla="*/ 20 h 80"/>
              <a:gd name="T100" fmla="*/ 10 w 96"/>
              <a:gd name="T101" fmla="*/ 17 h 80"/>
              <a:gd name="T102" fmla="*/ 13 w 96"/>
              <a:gd name="T103" fmla="*/ 8 h 80"/>
              <a:gd name="T104" fmla="*/ 12 w 96"/>
              <a:gd name="T105" fmla="*/ 4 h 80"/>
              <a:gd name="T106" fmla="*/ 10 w 96"/>
              <a:gd name="T107" fmla="*/ 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80">
                <a:moveTo>
                  <a:pt x="10" y="5"/>
                </a:moveTo>
                <a:cubicBezTo>
                  <a:pt x="8" y="8"/>
                  <a:pt x="4" y="10"/>
                  <a:pt x="4" y="13"/>
                </a:cubicBezTo>
                <a:cubicBezTo>
                  <a:pt x="4" y="15"/>
                  <a:pt x="4" y="16"/>
                  <a:pt x="3" y="18"/>
                </a:cubicBezTo>
                <a:cubicBezTo>
                  <a:pt x="2" y="19"/>
                  <a:pt x="0" y="21"/>
                  <a:pt x="2" y="21"/>
                </a:cubicBezTo>
                <a:cubicBezTo>
                  <a:pt x="3" y="21"/>
                  <a:pt x="5" y="21"/>
                  <a:pt x="5" y="22"/>
                </a:cubicBezTo>
                <a:cubicBezTo>
                  <a:pt x="5" y="24"/>
                  <a:pt x="8" y="24"/>
                  <a:pt x="8" y="27"/>
                </a:cubicBezTo>
                <a:cubicBezTo>
                  <a:pt x="8" y="29"/>
                  <a:pt x="7" y="36"/>
                  <a:pt x="13" y="36"/>
                </a:cubicBezTo>
                <a:cubicBezTo>
                  <a:pt x="19" y="36"/>
                  <a:pt x="22" y="34"/>
                  <a:pt x="24" y="37"/>
                </a:cubicBezTo>
                <a:cubicBezTo>
                  <a:pt x="27" y="40"/>
                  <a:pt x="30" y="42"/>
                  <a:pt x="34" y="41"/>
                </a:cubicBezTo>
                <a:cubicBezTo>
                  <a:pt x="38" y="41"/>
                  <a:pt x="44" y="40"/>
                  <a:pt x="42" y="43"/>
                </a:cubicBezTo>
                <a:cubicBezTo>
                  <a:pt x="40" y="47"/>
                  <a:pt x="39" y="54"/>
                  <a:pt x="40" y="56"/>
                </a:cubicBezTo>
                <a:cubicBezTo>
                  <a:pt x="42" y="58"/>
                  <a:pt x="45" y="60"/>
                  <a:pt x="43" y="61"/>
                </a:cubicBezTo>
                <a:cubicBezTo>
                  <a:pt x="42" y="63"/>
                  <a:pt x="41" y="65"/>
                  <a:pt x="43" y="66"/>
                </a:cubicBezTo>
                <a:cubicBezTo>
                  <a:pt x="45" y="68"/>
                  <a:pt x="44" y="70"/>
                  <a:pt x="44" y="70"/>
                </a:cubicBezTo>
                <a:cubicBezTo>
                  <a:pt x="44" y="70"/>
                  <a:pt x="44" y="70"/>
                  <a:pt x="43" y="71"/>
                </a:cubicBezTo>
                <a:cubicBezTo>
                  <a:pt x="46" y="73"/>
                  <a:pt x="47" y="76"/>
                  <a:pt x="48" y="77"/>
                </a:cubicBezTo>
                <a:cubicBezTo>
                  <a:pt x="50" y="79"/>
                  <a:pt x="51" y="80"/>
                  <a:pt x="52" y="79"/>
                </a:cubicBezTo>
                <a:cubicBezTo>
                  <a:pt x="54" y="78"/>
                  <a:pt x="55" y="78"/>
                  <a:pt x="56" y="79"/>
                </a:cubicBezTo>
                <a:cubicBezTo>
                  <a:pt x="57" y="79"/>
                  <a:pt x="59" y="78"/>
                  <a:pt x="61" y="76"/>
                </a:cubicBezTo>
                <a:cubicBezTo>
                  <a:pt x="63" y="74"/>
                  <a:pt x="65" y="76"/>
                  <a:pt x="66" y="74"/>
                </a:cubicBezTo>
                <a:cubicBezTo>
                  <a:pt x="66" y="72"/>
                  <a:pt x="67" y="70"/>
                  <a:pt x="69" y="70"/>
                </a:cubicBezTo>
                <a:cubicBezTo>
                  <a:pt x="72" y="70"/>
                  <a:pt x="72" y="67"/>
                  <a:pt x="70" y="67"/>
                </a:cubicBezTo>
                <a:cubicBezTo>
                  <a:pt x="69" y="67"/>
                  <a:pt x="67" y="69"/>
                  <a:pt x="67" y="66"/>
                </a:cubicBezTo>
                <a:cubicBezTo>
                  <a:pt x="67" y="64"/>
                  <a:pt x="65" y="64"/>
                  <a:pt x="65" y="62"/>
                </a:cubicBezTo>
                <a:cubicBezTo>
                  <a:pt x="65" y="60"/>
                  <a:pt x="65" y="58"/>
                  <a:pt x="62" y="57"/>
                </a:cubicBezTo>
                <a:cubicBezTo>
                  <a:pt x="60" y="55"/>
                  <a:pt x="66" y="55"/>
                  <a:pt x="67" y="56"/>
                </a:cubicBezTo>
                <a:cubicBezTo>
                  <a:pt x="68" y="57"/>
                  <a:pt x="72" y="56"/>
                  <a:pt x="73" y="58"/>
                </a:cubicBezTo>
                <a:cubicBezTo>
                  <a:pt x="73" y="60"/>
                  <a:pt x="75" y="61"/>
                  <a:pt x="75" y="58"/>
                </a:cubicBezTo>
                <a:cubicBezTo>
                  <a:pt x="75" y="56"/>
                  <a:pt x="78" y="55"/>
                  <a:pt x="80" y="56"/>
                </a:cubicBezTo>
                <a:cubicBezTo>
                  <a:pt x="82" y="56"/>
                  <a:pt x="87" y="53"/>
                  <a:pt x="89" y="52"/>
                </a:cubicBezTo>
                <a:cubicBezTo>
                  <a:pt x="90" y="52"/>
                  <a:pt x="90" y="51"/>
                  <a:pt x="91" y="50"/>
                </a:cubicBezTo>
                <a:cubicBezTo>
                  <a:pt x="89" y="48"/>
                  <a:pt x="87" y="45"/>
                  <a:pt x="86" y="44"/>
                </a:cubicBezTo>
                <a:cubicBezTo>
                  <a:pt x="85" y="43"/>
                  <a:pt x="87" y="42"/>
                  <a:pt x="87" y="41"/>
                </a:cubicBezTo>
                <a:cubicBezTo>
                  <a:pt x="86" y="39"/>
                  <a:pt x="87" y="38"/>
                  <a:pt x="90" y="37"/>
                </a:cubicBezTo>
                <a:cubicBezTo>
                  <a:pt x="93" y="37"/>
                  <a:pt x="93" y="35"/>
                  <a:pt x="91" y="34"/>
                </a:cubicBezTo>
                <a:cubicBezTo>
                  <a:pt x="89" y="33"/>
                  <a:pt x="92" y="30"/>
                  <a:pt x="93" y="29"/>
                </a:cubicBezTo>
                <a:cubicBezTo>
                  <a:pt x="94" y="29"/>
                  <a:pt x="95" y="27"/>
                  <a:pt x="96" y="26"/>
                </a:cubicBezTo>
                <a:cubicBezTo>
                  <a:pt x="93" y="24"/>
                  <a:pt x="88" y="24"/>
                  <a:pt x="86" y="25"/>
                </a:cubicBezTo>
                <a:cubicBezTo>
                  <a:pt x="83" y="25"/>
                  <a:pt x="88" y="22"/>
                  <a:pt x="88" y="19"/>
                </a:cubicBezTo>
                <a:cubicBezTo>
                  <a:pt x="88" y="16"/>
                  <a:pt x="80" y="16"/>
                  <a:pt x="78" y="15"/>
                </a:cubicBezTo>
                <a:cubicBezTo>
                  <a:pt x="75" y="15"/>
                  <a:pt x="75" y="11"/>
                  <a:pt x="78" y="11"/>
                </a:cubicBezTo>
                <a:cubicBezTo>
                  <a:pt x="82" y="11"/>
                  <a:pt x="77" y="9"/>
                  <a:pt x="73" y="10"/>
                </a:cubicBezTo>
                <a:cubicBezTo>
                  <a:pt x="69" y="10"/>
                  <a:pt x="63" y="13"/>
                  <a:pt x="59" y="14"/>
                </a:cubicBezTo>
                <a:cubicBezTo>
                  <a:pt x="56" y="16"/>
                  <a:pt x="50" y="9"/>
                  <a:pt x="46" y="11"/>
                </a:cubicBezTo>
                <a:cubicBezTo>
                  <a:pt x="43" y="12"/>
                  <a:pt x="37" y="12"/>
                  <a:pt x="37" y="9"/>
                </a:cubicBezTo>
                <a:cubicBezTo>
                  <a:pt x="38" y="6"/>
                  <a:pt x="36" y="3"/>
                  <a:pt x="32" y="4"/>
                </a:cubicBezTo>
                <a:cubicBezTo>
                  <a:pt x="28" y="4"/>
                  <a:pt x="29" y="0"/>
                  <a:pt x="26" y="0"/>
                </a:cubicBezTo>
                <a:cubicBezTo>
                  <a:pt x="23" y="0"/>
                  <a:pt x="26" y="3"/>
                  <a:pt x="24" y="4"/>
                </a:cubicBezTo>
                <a:cubicBezTo>
                  <a:pt x="22" y="5"/>
                  <a:pt x="15" y="7"/>
                  <a:pt x="15" y="10"/>
                </a:cubicBezTo>
                <a:cubicBezTo>
                  <a:pt x="15" y="12"/>
                  <a:pt x="19" y="17"/>
                  <a:pt x="17" y="20"/>
                </a:cubicBezTo>
                <a:cubicBezTo>
                  <a:pt x="16" y="22"/>
                  <a:pt x="11" y="20"/>
                  <a:pt x="10" y="17"/>
                </a:cubicBezTo>
                <a:cubicBezTo>
                  <a:pt x="9" y="14"/>
                  <a:pt x="14" y="10"/>
                  <a:pt x="13" y="8"/>
                </a:cubicBezTo>
                <a:cubicBezTo>
                  <a:pt x="12" y="7"/>
                  <a:pt x="12" y="5"/>
                  <a:pt x="12" y="4"/>
                </a:cubicBezTo>
                <a:cubicBezTo>
                  <a:pt x="11" y="4"/>
                  <a:pt x="10" y="4"/>
                  <a:pt x="10" y="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5" name="Freeform 121"/>
          <p:cNvSpPr/>
          <p:nvPr/>
        </p:nvSpPr>
        <p:spPr bwMode="auto">
          <a:xfrm>
            <a:off x="3068117" y="3024635"/>
            <a:ext cx="85725" cy="88900"/>
          </a:xfrm>
          <a:custGeom>
            <a:avLst/>
            <a:gdLst>
              <a:gd name="T0" fmla="*/ 7 w 30"/>
              <a:gd name="T1" fmla="*/ 6 h 31"/>
              <a:gd name="T2" fmla="*/ 4 w 30"/>
              <a:gd name="T3" fmla="*/ 9 h 31"/>
              <a:gd name="T4" fmla="*/ 2 w 30"/>
              <a:gd name="T5" fmla="*/ 15 h 31"/>
              <a:gd name="T6" fmla="*/ 7 w 30"/>
              <a:gd name="T7" fmla="*/ 23 h 31"/>
              <a:gd name="T8" fmla="*/ 11 w 30"/>
              <a:gd name="T9" fmla="*/ 30 h 31"/>
              <a:gd name="T10" fmla="*/ 15 w 30"/>
              <a:gd name="T11" fmla="*/ 30 h 31"/>
              <a:gd name="T12" fmla="*/ 18 w 30"/>
              <a:gd name="T13" fmla="*/ 26 h 31"/>
              <a:gd name="T14" fmla="*/ 25 w 30"/>
              <a:gd name="T15" fmla="*/ 26 h 31"/>
              <a:gd name="T16" fmla="*/ 26 w 30"/>
              <a:gd name="T17" fmla="*/ 27 h 31"/>
              <a:gd name="T18" fmla="*/ 28 w 30"/>
              <a:gd name="T19" fmla="*/ 24 h 31"/>
              <a:gd name="T20" fmla="*/ 27 w 30"/>
              <a:gd name="T21" fmla="*/ 15 h 31"/>
              <a:gd name="T22" fmla="*/ 28 w 30"/>
              <a:gd name="T23" fmla="*/ 7 h 31"/>
              <a:gd name="T24" fmla="*/ 30 w 30"/>
              <a:gd name="T25" fmla="*/ 3 h 31"/>
              <a:gd name="T26" fmla="*/ 23 w 30"/>
              <a:gd name="T27" fmla="*/ 2 h 31"/>
              <a:gd name="T28" fmla="*/ 14 w 30"/>
              <a:gd name="T29" fmla="*/ 2 h 31"/>
              <a:gd name="T30" fmla="*/ 9 w 30"/>
              <a:gd name="T31" fmla="*/ 2 h 31"/>
              <a:gd name="T32" fmla="*/ 8 w 30"/>
              <a:gd name="T33" fmla="*/ 2 h 31"/>
              <a:gd name="T34" fmla="*/ 7 w 30"/>
              <a:gd name="T3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1">
                <a:moveTo>
                  <a:pt x="7" y="6"/>
                </a:moveTo>
                <a:cubicBezTo>
                  <a:pt x="8" y="8"/>
                  <a:pt x="6" y="9"/>
                  <a:pt x="4" y="9"/>
                </a:cubicBezTo>
                <a:cubicBezTo>
                  <a:pt x="2" y="10"/>
                  <a:pt x="3" y="14"/>
                  <a:pt x="2" y="15"/>
                </a:cubicBezTo>
                <a:cubicBezTo>
                  <a:pt x="0" y="17"/>
                  <a:pt x="6" y="20"/>
                  <a:pt x="7" y="23"/>
                </a:cubicBezTo>
                <a:cubicBezTo>
                  <a:pt x="8" y="24"/>
                  <a:pt x="10" y="28"/>
                  <a:pt x="11" y="30"/>
                </a:cubicBezTo>
                <a:cubicBezTo>
                  <a:pt x="13" y="31"/>
                  <a:pt x="14" y="31"/>
                  <a:pt x="15" y="30"/>
                </a:cubicBezTo>
                <a:cubicBezTo>
                  <a:pt x="17" y="29"/>
                  <a:pt x="15" y="26"/>
                  <a:pt x="18" y="26"/>
                </a:cubicBezTo>
                <a:cubicBezTo>
                  <a:pt x="20" y="26"/>
                  <a:pt x="24" y="25"/>
                  <a:pt x="25" y="26"/>
                </a:cubicBezTo>
                <a:cubicBezTo>
                  <a:pt x="25" y="27"/>
                  <a:pt x="26" y="27"/>
                  <a:pt x="26" y="27"/>
                </a:cubicBezTo>
                <a:cubicBezTo>
                  <a:pt x="27" y="26"/>
                  <a:pt x="28" y="25"/>
                  <a:pt x="28" y="24"/>
                </a:cubicBezTo>
                <a:cubicBezTo>
                  <a:pt x="28" y="23"/>
                  <a:pt x="28" y="18"/>
                  <a:pt x="27" y="15"/>
                </a:cubicBezTo>
                <a:cubicBezTo>
                  <a:pt x="26" y="12"/>
                  <a:pt x="27" y="8"/>
                  <a:pt x="28" y="7"/>
                </a:cubicBezTo>
                <a:cubicBezTo>
                  <a:pt x="29" y="6"/>
                  <a:pt x="29" y="5"/>
                  <a:pt x="30" y="3"/>
                </a:cubicBezTo>
                <a:cubicBezTo>
                  <a:pt x="27" y="2"/>
                  <a:pt x="25" y="1"/>
                  <a:pt x="23" y="2"/>
                </a:cubicBezTo>
                <a:cubicBezTo>
                  <a:pt x="19" y="2"/>
                  <a:pt x="15" y="4"/>
                  <a:pt x="14" y="2"/>
                </a:cubicBezTo>
                <a:cubicBezTo>
                  <a:pt x="13" y="0"/>
                  <a:pt x="11" y="0"/>
                  <a:pt x="9" y="2"/>
                </a:cubicBezTo>
                <a:cubicBezTo>
                  <a:pt x="9" y="2"/>
                  <a:pt x="8" y="2"/>
                  <a:pt x="8" y="2"/>
                </a:cubicBezTo>
                <a:cubicBezTo>
                  <a:pt x="8" y="4"/>
                  <a:pt x="7" y="5"/>
                  <a:pt x="7"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6" name="Freeform 122"/>
          <p:cNvSpPr/>
          <p:nvPr/>
        </p:nvSpPr>
        <p:spPr bwMode="auto">
          <a:xfrm>
            <a:off x="3004617" y="2981773"/>
            <a:ext cx="95250" cy="142875"/>
          </a:xfrm>
          <a:custGeom>
            <a:avLst/>
            <a:gdLst>
              <a:gd name="T0" fmla="*/ 8 w 33"/>
              <a:gd name="T1" fmla="*/ 3 h 50"/>
              <a:gd name="T2" fmla="*/ 6 w 33"/>
              <a:gd name="T3" fmla="*/ 8 h 50"/>
              <a:gd name="T4" fmla="*/ 5 w 33"/>
              <a:gd name="T5" fmla="*/ 11 h 50"/>
              <a:gd name="T6" fmla="*/ 2 w 33"/>
              <a:gd name="T7" fmla="*/ 15 h 50"/>
              <a:gd name="T8" fmla="*/ 1 w 33"/>
              <a:gd name="T9" fmla="*/ 18 h 50"/>
              <a:gd name="T10" fmla="*/ 6 w 33"/>
              <a:gd name="T11" fmla="*/ 24 h 50"/>
              <a:gd name="T12" fmla="*/ 8 w 33"/>
              <a:gd name="T13" fmla="*/ 22 h 50"/>
              <a:gd name="T14" fmla="*/ 11 w 33"/>
              <a:gd name="T15" fmla="*/ 28 h 50"/>
              <a:gd name="T16" fmla="*/ 12 w 33"/>
              <a:gd name="T17" fmla="*/ 34 h 50"/>
              <a:gd name="T18" fmla="*/ 13 w 33"/>
              <a:gd name="T19" fmla="*/ 46 h 50"/>
              <a:gd name="T20" fmla="*/ 20 w 33"/>
              <a:gd name="T21" fmla="*/ 49 h 50"/>
              <a:gd name="T22" fmla="*/ 25 w 33"/>
              <a:gd name="T23" fmla="*/ 47 h 50"/>
              <a:gd name="T24" fmla="*/ 28 w 33"/>
              <a:gd name="T25" fmla="*/ 45 h 50"/>
              <a:gd name="T26" fmla="*/ 33 w 33"/>
              <a:gd name="T27" fmla="*/ 45 h 50"/>
              <a:gd name="T28" fmla="*/ 29 w 33"/>
              <a:gd name="T29" fmla="*/ 38 h 50"/>
              <a:gd name="T30" fmla="*/ 24 w 33"/>
              <a:gd name="T31" fmla="*/ 30 h 50"/>
              <a:gd name="T32" fmla="*/ 26 w 33"/>
              <a:gd name="T33" fmla="*/ 24 h 50"/>
              <a:gd name="T34" fmla="*/ 29 w 33"/>
              <a:gd name="T35" fmla="*/ 21 h 50"/>
              <a:gd name="T36" fmla="*/ 30 w 33"/>
              <a:gd name="T37" fmla="*/ 17 h 50"/>
              <a:gd name="T38" fmla="*/ 24 w 33"/>
              <a:gd name="T39" fmla="*/ 11 h 50"/>
              <a:gd name="T40" fmla="*/ 20 w 33"/>
              <a:gd name="T41" fmla="*/ 7 h 50"/>
              <a:gd name="T42" fmla="*/ 13 w 33"/>
              <a:gd name="T43" fmla="*/ 1 h 50"/>
              <a:gd name="T44" fmla="*/ 11 w 33"/>
              <a:gd name="T45" fmla="*/ 0 h 50"/>
              <a:gd name="T46" fmla="*/ 8 w 33"/>
              <a:gd name="T47"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 h="50">
                <a:moveTo>
                  <a:pt x="8" y="3"/>
                </a:moveTo>
                <a:cubicBezTo>
                  <a:pt x="7" y="4"/>
                  <a:pt x="4" y="7"/>
                  <a:pt x="6" y="8"/>
                </a:cubicBezTo>
                <a:cubicBezTo>
                  <a:pt x="8" y="9"/>
                  <a:pt x="8" y="11"/>
                  <a:pt x="5" y="11"/>
                </a:cubicBezTo>
                <a:cubicBezTo>
                  <a:pt x="2" y="12"/>
                  <a:pt x="1" y="13"/>
                  <a:pt x="2" y="15"/>
                </a:cubicBezTo>
                <a:cubicBezTo>
                  <a:pt x="2" y="16"/>
                  <a:pt x="0" y="17"/>
                  <a:pt x="1" y="18"/>
                </a:cubicBezTo>
                <a:cubicBezTo>
                  <a:pt x="2" y="19"/>
                  <a:pt x="4" y="22"/>
                  <a:pt x="6" y="24"/>
                </a:cubicBezTo>
                <a:cubicBezTo>
                  <a:pt x="6" y="23"/>
                  <a:pt x="7" y="22"/>
                  <a:pt x="8" y="22"/>
                </a:cubicBezTo>
                <a:cubicBezTo>
                  <a:pt x="11" y="23"/>
                  <a:pt x="9" y="27"/>
                  <a:pt x="11" y="28"/>
                </a:cubicBezTo>
                <a:cubicBezTo>
                  <a:pt x="13" y="29"/>
                  <a:pt x="13" y="33"/>
                  <a:pt x="12" y="34"/>
                </a:cubicBezTo>
                <a:cubicBezTo>
                  <a:pt x="10" y="35"/>
                  <a:pt x="9" y="42"/>
                  <a:pt x="13" y="46"/>
                </a:cubicBezTo>
                <a:cubicBezTo>
                  <a:pt x="17" y="50"/>
                  <a:pt x="20" y="50"/>
                  <a:pt x="20" y="49"/>
                </a:cubicBezTo>
                <a:cubicBezTo>
                  <a:pt x="21" y="48"/>
                  <a:pt x="24" y="49"/>
                  <a:pt x="25" y="47"/>
                </a:cubicBezTo>
                <a:cubicBezTo>
                  <a:pt x="26" y="45"/>
                  <a:pt x="27" y="47"/>
                  <a:pt x="28" y="45"/>
                </a:cubicBezTo>
                <a:cubicBezTo>
                  <a:pt x="29" y="44"/>
                  <a:pt x="31" y="45"/>
                  <a:pt x="33" y="45"/>
                </a:cubicBezTo>
                <a:cubicBezTo>
                  <a:pt x="32" y="43"/>
                  <a:pt x="30" y="39"/>
                  <a:pt x="29" y="38"/>
                </a:cubicBezTo>
                <a:cubicBezTo>
                  <a:pt x="28" y="35"/>
                  <a:pt x="22" y="32"/>
                  <a:pt x="24" y="30"/>
                </a:cubicBezTo>
                <a:cubicBezTo>
                  <a:pt x="25" y="29"/>
                  <a:pt x="24" y="25"/>
                  <a:pt x="26" y="24"/>
                </a:cubicBezTo>
                <a:cubicBezTo>
                  <a:pt x="28" y="24"/>
                  <a:pt x="30" y="23"/>
                  <a:pt x="29" y="21"/>
                </a:cubicBezTo>
                <a:cubicBezTo>
                  <a:pt x="29" y="20"/>
                  <a:pt x="30" y="19"/>
                  <a:pt x="30" y="17"/>
                </a:cubicBezTo>
                <a:cubicBezTo>
                  <a:pt x="28" y="17"/>
                  <a:pt x="25" y="11"/>
                  <a:pt x="24" y="11"/>
                </a:cubicBezTo>
                <a:cubicBezTo>
                  <a:pt x="22" y="11"/>
                  <a:pt x="20" y="10"/>
                  <a:pt x="20" y="7"/>
                </a:cubicBezTo>
                <a:cubicBezTo>
                  <a:pt x="21" y="4"/>
                  <a:pt x="16" y="4"/>
                  <a:pt x="13" y="1"/>
                </a:cubicBezTo>
                <a:cubicBezTo>
                  <a:pt x="13" y="0"/>
                  <a:pt x="12" y="0"/>
                  <a:pt x="11" y="0"/>
                </a:cubicBezTo>
                <a:cubicBezTo>
                  <a:pt x="10" y="1"/>
                  <a:pt x="9" y="3"/>
                  <a:pt x="8"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7" name="Freeform 123"/>
          <p:cNvSpPr/>
          <p:nvPr/>
        </p:nvSpPr>
        <p:spPr bwMode="auto">
          <a:xfrm>
            <a:off x="3141142" y="3032573"/>
            <a:ext cx="60325" cy="77788"/>
          </a:xfrm>
          <a:custGeom>
            <a:avLst/>
            <a:gdLst>
              <a:gd name="T0" fmla="*/ 1 w 21"/>
              <a:gd name="T1" fmla="*/ 12 h 27"/>
              <a:gd name="T2" fmla="*/ 2 w 21"/>
              <a:gd name="T3" fmla="*/ 21 h 27"/>
              <a:gd name="T4" fmla="*/ 0 w 21"/>
              <a:gd name="T5" fmla="*/ 24 h 27"/>
              <a:gd name="T6" fmla="*/ 6 w 21"/>
              <a:gd name="T7" fmla="*/ 25 h 27"/>
              <a:gd name="T8" fmla="*/ 13 w 21"/>
              <a:gd name="T9" fmla="*/ 22 h 27"/>
              <a:gd name="T10" fmla="*/ 21 w 21"/>
              <a:gd name="T11" fmla="*/ 11 h 27"/>
              <a:gd name="T12" fmla="*/ 21 w 21"/>
              <a:gd name="T13" fmla="*/ 11 h 27"/>
              <a:gd name="T14" fmla="*/ 10 w 21"/>
              <a:gd name="T15" fmla="*/ 2 h 27"/>
              <a:gd name="T16" fmla="*/ 4 w 21"/>
              <a:gd name="T17" fmla="*/ 0 h 27"/>
              <a:gd name="T18" fmla="*/ 2 w 21"/>
              <a:gd name="T19" fmla="*/ 4 h 27"/>
              <a:gd name="T20" fmla="*/ 1 w 21"/>
              <a:gd name="T21" fmla="*/ 1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7">
                <a:moveTo>
                  <a:pt x="1" y="12"/>
                </a:moveTo>
                <a:cubicBezTo>
                  <a:pt x="2" y="15"/>
                  <a:pt x="2" y="20"/>
                  <a:pt x="2" y="21"/>
                </a:cubicBezTo>
                <a:cubicBezTo>
                  <a:pt x="2" y="22"/>
                  <a:pt x="1" y="23"/>
                  <a:pt x="0" y="24"/>
                </a:cubicBezTo>
                <a:cubicBezTo>
                  <a:pt x="1" y="26"/>
                  <a:pt x="3" y="26"/>
                  <a:pt x="6" y="25"/>
                </a:cubicBezTo>
                <a:cubicBezTo>
                  <a:pt x="10" y="24"/>
                  <a:pt x="12" y="27"/>
                  <a:pt x="13" y="22"/>
                </a:cubicBezTo>
                <a:cubicBezTo>
                  <a:pt x="14" y="19"/>
                  <a:pt x="18" y="14"/>
                  <a:pt x="21" y="11"/>
                </a:cubicBezTo>
                <a:cubicBezTo>
                  <a:pt x="21" y="11"/>
                  <a:pt x="21" y="11"/>
                  <a:pt x="21" y="11"/>
                </a:cubicBezTo>
                <a:cubicBezTo>
                  <a:pt x="18" y="10"/>
                  <a:pt x="14" y="3"/>
                  <a:pt x="10" y="2"/>
                </a:cubicBezTo>
                <a:cubicBezTo>
                  <a:pt x="8" y="2"/>
                  <a:pt x="6" y="1"/>
                  <a:pt x="4" y="0"/>
                </a:cubicBezTo>
                <a:cubicBezTo>
                  <a:pt x="3" y="2"/>
                  <a:pt x="3" y="3"/>
                  <a:pt x="2" y="4"/>
                </a:cubicBezTo>
                <a:cubicBezTo>
                  <a:pt x="1" y="5"/>
                  <a:pt x="0" y="9"/>
                  <a:pt x="1" y="1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8" name="Freeform 124"/>
          <p:cNvSpPr/>
          <p:nvPr/>
        </p:nvSpPr>
        <p:spPr bwMode="auto">
          <a:xfrm>
            <a:off x="2544242" y="2673798"/>
            <a:ext cx="207963" cy="74613"/>
          </a:xfrm>
          <a:custGeom>
            <a:avLst/>
            <a:gdLst>
              <a:gd name="T0" fmla="*/ 59 w 73"/>
              <a:gd name="T1" fmla="*/ 17 h 26"/>
              <a:gd name="T2" fmla="*/ 26 w 73"/>
              <a:gd name="T3" fmla="*/ 3 h 26"/>
              <a:gd name="T4" fmla="*/ 1 w 73"/>
              <a:gd name="T5" fmla="*/ 12 h 26"/>
              <a:gd name="T6" fmla="*/ 13 w 73"/>
              <a:gd name="T7" fmla="*/ 6 h 26"/>
              <a:gd name="T8" fmla="*/ 20 w 73"/>
              <a:gd name="T9" fmla="*/ 9 h 26"/>
              <a:gd name="T10" fmla="*/ 31 w 73"/>
              <a:gd name="T11" fmla="*/ 12 h 26"/>
              <a:gd name="T12" fmla="*/ 46 w 73"/>
              <a:gd name="T13" fmla="*/ 19 h 26"/>
              <a:gd name="T14" fmla="*/ 49 w 73"/>
              <a:gd name="T15" fmla="*/ 25 h 26"/>
              <a:gd name="T16" fmla="*/ 72 w 73"/>
              <a:gd name="T17" fmla="*/ 24 h 26"/>
              <a:gd name="T18" fmla="*/ 59 w 73"/>
              <a:gd name="T19"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26">
                <a:moveTo>
                  <a:pt x="59" y="17"/>
                </a:moveTo>
                <a:cubicBezTo>
                  <a:pt x="54" y="17"/>
                  <a:pt x="39" y="6"/>
                  <a:pt x="26" y="3"/>
                </a:cubicBezTo>
                <a:cubicBezTo>
                  <a:pt x="12" y="0"/>
                  <a:pt x="0" y="10"/>
                  <a:pt x="1" y="12"/>
                </a:cubicBezTo>
                <a:cubicBezTo>
                  <a:pt x="3" y="14"/>
                  <a:pt x="10" y="9"/>
                  <a:pt x="13" y="6"/>
                </a:cubicBezTo>
                <a:cubicBezTo>
                  <a:pt x="16" y="4"/>
                  <a:pt x="19" y="7"/>
                  <a:pt x="20" y="9"/>
                </a:cubicBezTo>
                <a:cubicBezTo>
                  <a:pt x="20" y="11"/>
                  <a:pt x="24" y="11"/>
                  <a:pt x="31" y="12"/>
                </a:cubicBezTo>
                <a:cubicBezTo>
                  <a:pt x="38" y="12"/>
                  <a:pt x="39" y="18"/>
                  <a:pt x="46" y="19"/>
                </a:cubicBezTo>
                <a:cubicBezTo>
                  <a:pt x="53" y="21"/>
                  <a:pt x="46" y="24"/>
                  <a:pt x="49" y="25"/>
                </a:cubicBezTo>
                <a:cubicBezTo>
                  <a:pt x="53" y="26"/>
                  <a:pt x="70" y="26"/>
                  <a:pt x="72" y="24"/>
                </a:cubicBezTo>
                <a:cubicBezTo>
                  <a:pt x="73" y="23"/>
                  <a:pt x="63" y="17"/>
                  <a:pt x="59" y="1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9" name="Freeform 125"/>
          <p:cNvSpPr/>
          <p:nvPr/>
        </p:nvSpPr>
        <p:spPr bwMode="auto">
          <a:xfrm>
            <a:off x="2663305" y="2773810"/>
            <a:ext cx="49213" cy="23813"/>
          </a:xfrm>
          <a:custGeom>
            <a:avLst/>
            <a:gdLst>
              <a:gd name="T0" fmla="*/ 1 w 17"/>
              <a:gd name="T1" fmla="*/ 3 h 8"/>
              <a:gd name="T2" fmla="*/ 15 w 17"/>
              <a:gd name="T3" fmla="*/ 5 h 8"/>
              <a:gd name="T4" fmla="*/ 1 w 17"/>
              <a:gd name="T5" fmla="*/ 3 h 8"/>
            </a:gdLst>
            <a:ahLst/>
            <a:cxnLst>
              <a:cxn ang="0">
                <a:pos x="T0" y="T1"/>
              </a:cxn>
              <a:cxn ang="0">
                <a:pos x="T2" y="T3"/>
              </a:cxn>
              <a:cxn ang="0">
                <a:pos x="T4" y="T5"/>
              </a:cxn>
            </a:cxnLst>
            <a:rect l="0" t="0" r="r" b="b"/>
            <a:pathLst>
              <a:path w="17" h="8">
                <a:moveTo>
                  <a:pt x="1" y="3"/>
                </a:moveTo>
                <a:cubicBezTo>
                  <a:pt x="2" y="5"/>
                  <a:pt x="14" y="8"/>
                  <a:pt x="15" y="5"/>
                </a:cubicBezTo>
                <a:cubicBezTo>
                  <a:pt x="17" y="2"/>
                  <a:pt x="0" y="0"/>
                  <a:pt x="1"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0" name="Freeform 126"/>
          <p:cNvSpPr/>
          <p:nvPr/>
        </p:nvSpPr>
        <p:spPr bwMode="auto">
          <a:xfrm>
            <a:off x="2882380" y="2770635"/>
            <a:ext cx="42863" cy="26988"/>
          </a:xfrm>
          <a:custGeom>
            <a:avLst/>
            <a:gdLst>
              <a:gd name="T0" fmla="*/ 3 w 15"/>
              <a:gd name="T1" fmla="*/ 4 h 9"/>
              <a:gd name="T2" fmla="*/ 14 w 15"/>
              <a:gd name="T3" fmla="*/ 4 h 9"/>
              <a:gd name="T4" fmla="*/ 3 w 15"/>
              <a:gd name="T5" fmla="*/ 4 h 9"/>
            </a:gdLst>
            <a:ahLst/>
            <a:cxnLst>
              <a:cxn ang="0">
                <a:pos x="T0" y="T1"/>
              </a:cxn>
              <a:cxn ang="0">
                <a:pos x="T2" y="T3"/>
              </a:cxn>
              <a:cxn ang="0">
                <a:pos x="T4" y="T5"/>
              </a:cxn>
            </a:cxnLst>
            <a:rect l="0" t="0" r="r" b="b"/>
            <a:pathLst>
              <a:path w="15" h="9">
                <a:moveTo>
                  <a:pt x="3" y="4"/>
                </a:moveTo>
                <a:cubicBezTo>
                  <a:pt x="5" y="9"/>
                  <a:pt x="13" y="6"/>
                  <a:pt x="14" y="4"/>
                </a:cubicBezTo>
                <a:cubicBezTo>
                  <a:pt x="15" y="1"/>
                  <a:pt x="0" y="0"/>
                  <a:pt x="3" y="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1" name="Freeform 127"/>
          <p:cNvSpPr>
            <a:spLocks noEditPoints="1"/>
          </p:cNvSpPr>
          <p:nvPr/>
        </p:nvSpPr>
        <p:spPr bwMode="auto">
          <a:xfrm>
            <a:off x="3004617" y="4258123"/>
            <a:ext cx="71438" cy="30163"/>
          </a:xfrm>
          <a:custGeom>
            <a:avLst/>
            <a:gdLst>
              <a:gd name="T0" fmla="*/ 24 w 25"/>
              <a:gd name="T1" fmla="*/ 5 h 11"/>
              <a:gd name="T2" fmla="*/ 13 w 25"/>
              <a:gd name="T3" fmla="*/ 10 h 11"/>
              <a:gd name="T4" fmla="*/ 24 w 25"/>
              <a:gd name="T5" fmla="*/ 5 h 11"/>
              <a:gd name="T6" fmla="*/ 11 w 25"/>
              <a:gd name="T7" fmla="*/ 1 h 11"/>
              <a:gd name="T8" fmla="*/ 3 w 25"/>
              <a:gd name="T9" fmla="*/ 9 h 11"/>
              <a:gd name="T10" fmla="*/ 11 w 25"/>
              <a:gd name="T11" fmla="*/ 1 h 11"/>
            </a:gdLst>
            <a:ahLst/>
            <a:cxnLst>
              <a:cxn ang="0">
                <a:pos x="T0" y="T1"/>
              </a:cxn>
              <a:cxn ang="0">
                <a:pos x="T2" y="T3"/>
              </a:cxn>
              <a:cxn ang="0">
                <a:pos x="T4" y="T5"/>
              </a:cxn>
              <a:cxn ang="0">
                <a:pos x="T6" y="T7"/>
              </a:cxn>
              <a:cxn ang="0">
                <a:pos x="T8" y="T9"/>
              </a:cxn>
              <a:cxn ang="0">
                <a:pos x="T10" y="T11"/>
              </a:cxn>
            </a:cxnLst>
            <a:rect l="0" t="0" r="r" b="b"/>
            <a:pathLst>
              <a:path w="25" h="11">
                <a:moveTo>
                  <a:pt x="24" y="5"/>
                </a:moveTo>
                <a:cubicBezTo>
                  <a:pt x="21" y="0"/>
                  <a:pt x="10" y="8"/>
                  <a:pt x="13" y="10"/>
                </a:cubicBezTo>
                <a:cubicBezTo>
                  <a:pt x="15" y="11"/>
                  <a:pt x="25" y="7"/>
                  <a:pt x="24" y="5"/>
                </a:cubicBezTo>
                <a:close/>
                <a:moveTo>
                  <a:pt x="11" y="1"/>
                </a:moveTo>
                <a:cubicBezTo>
                  <a:pt x="8" y="1"/>
                  <a:pt x="0" y="7"/>
                  <a:pt x="3" y="9"/>
                </a:cubicBezTo>
                <a:cubicBezTo>
                  <a:pt x="7" y="11"/>
                  <a:pt x="15" y="2"/>
                  <a:pt x="11" y="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2" name="Freeform 128"/>
          <p:cNvSpPr>
            <a:spLocks noEditPoints="1"/>
          </p:cNvSpPr>
          <p:nvPr/>
        </p:nvSpPr>
        <p:spPr bwMode="auto">
          <a:xfrm>
            <a:off x="2401367" y="3118298"/>
            <a:ext cx="330200" cy="131763"/>
          </a:xfrm>
          <a:custGeom>
            <a:avLst/>
            <a:gdLst>
              <a:gd name="T0" fmla="*/ 112 w 116"/>
              <a:gd name="T1" fmla="*/ 12 h 46"/>
              <a:gd name="T2" fmla="*/ 107 w 116"/>
              <a:gd name="T3" fmla="*/ 8 h 46"/>
              <a:gd name="T4" fmla="*/ 102 w 116"/>
              <a:gd name="T5" fmla="*/ 8 h 46"/>
              <a:gd name="T6" fmla="*/ 98 w 116"/>
              <a:gd name="T7" fmla="*/ 5 h 46"/>
              <a:gd name="T8" fmla="*/ 89 w 116"/>
              <a:gd name="T9" fmla="*/ 0 h 46"/>
              <a:gd name="T10" fmla="*/ 89 w 116"/>
              <a:gd name="T11" fmla="*/ 1 h 46"/>
              <a:gd name="T12" fmla="*/ 84 w 116"/>
              <a:gd name="T13" fmla="*/ 3 h 46"/>
              <a:gd name="T14" fmla="*/ 82 w 116"/>
              <a:gd name="T15" fmla="*/ 8 h 46"/>
              <a:gd name="T16" fmla="*/ 79 w 116"/>
              <a:gd name="T17" fmla="*/ 12 h 46"/>
              <a:gd name="T18" fmla="*/ 77 w 116"/>
              <a:gd name="T19" fmla="*/ 16 h 46"/>
              <a:gd name="T20" fmla="*/ 76 w 116"/>
              <a:gd name="T21" fmla="*/ 21 h 46"/>
              <a:gd name="T22" fmla="*/ 75 w 116"/>
              <a:gd name="T23" fmla="*/ 25 h 46"/>
              <a:gd name="T24" fmla="*/ 79 w 116"/>
              <a:gd name="T25" fmla="*/ 29 h 46"/>
              <a:gd name="T26" fmla="*/ 83 w 116"/>
              <a:gd name="T27" fmla="*/ 30 h 46"/>
              <a:gd name="T28" fmla="*/ 80 w 116"/>
              <a:gd name="T29" fmla="*/ 34 h 46"/>
              <a:gd name="T30" fmla="*/ 79 w 116"/>
              <a:gd name="T31" fmla="*/ 34 h 46"/>
              <a:gd name="T32" fmla="*/ 80 w 116"/>
              <a:gd name="T33" fmla="*/ 38 h 46"/>
              <a:gd name="T34" fmla="*/ 80 w 116"/>
              <a:gd name="T35" fmla="*/ 41 h 46"/>
              <a:gd name="T36" fmla="*/ 86 w 116"/>
              <a:gd name="T37" fmla="*/ 43 h 46"/>
              <a:gd name="T38" fmla="*/ 90 w 116"/>
              <a:gd name="T39" fmla="*/ 42 h 46"/>
              <a:gd name="T40" fmla="*/ 97 w 116"/>
              <a:gd name="T41" fmla="*/ 31 h 46"/>
              <a:gd name="T42" fmla="*/ 110 w 116"/>
              <a:gd name="T43" fmla="*/ 24 h 46"/>
              <a:gd name="T44" fmla="*/ 114 w 116"/>
              <a:gd name="T45" fmla="*/ 17 h 46"/>
              <a:gd name="T46" fmla="*/ 112 w 116"/>
              <a:gd name="T47" fmla="*/ 12 h 46"/>
              <a:gd name="T48" fmla="*/ 3 w 116"/>
              <a:gd name="T49" fmla="*/ 10 h 46"/>
              <a:gd name="T50" fmla="*/ 8 w 116"/>
              <a:gd name="T51" fmla="*/ 17 h 46"/>
              <a:gd name="T52" fmla="*/ 3 w 116"/>
              <a:gd name="T53" fmla="*/ 1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6" h="46">
                <a:moveTo>
                  <a:pt x="112" y="12"/>
                </a:moveTo>
                <a:cubicBezTo>
                  <a:pt x="110" y="9"/>
                  <a:pt x="108" y="7"/>
                  <a:pt x="107" y="8"/>
                </a:cubicBezTo>
                <a:cubicBezTo>
                  <a:pt x="107" y="9"/>
                  <a:pt x="104" y="9"/>
                  <a:pt x="102" y="8"/>
                </a:cubicBezTo>
                <a:cubicBezTo>
                  <a:pt x="100" y="7"/>
                  <a:pt x="99" y="5"/>
                  <a:pt x="98" y="5"/>
                </a:cubicBezTo>
                <a:cubicBezTo>
                  <a:pt x="96" y="5"/>
                  <a:pt x="92" y="2"/>
                  <a:pt x="89" y="0"/>
                </a:cubicBezTo>
                <a:cubicBezTo>
                  <a:pt x="89" y="0"/>
                  <a:pt x="89" y="1"/>
                  <a:pt x="89" y="1"/>
                </a:cubicBezTo>
                <a:cubicBezTo>
                  <a:pt x="89" y="2"/>
                  <a:pt x="87" y="3"/>
                  <a:pt x="84" y="3"/>
                </a:cubicBezTo>
                <a:cubicBezTo>
                  <a:pt x="82" y="3"/>
                  <a:pt x="82" y="6"/>
                  <a:pt x="82" y="8"/>
                </a:cubicBezTo>
                <a:cubicBezTo>
                  <a:pt x="82" y="10"/>
                  <a:pt x="80" y="10"/>
                  <a:pt x="79" y="12"/>
                </a:cubicBezTo>
                <a:cubicBezTo>
                  <a:pt x="78" y="15"/>
                  <a:pt x="79" y="15"/>
                  <a:pt x="77" y="16"/>
                </a:cubicBezTo>
                <a:cubicBezTo>
                  <a:pt x="75" y="17"/>
                  <a:pt x="74" y="19"/>
                  <a:pt x="76" y="21"/>
                </a:cubicBezTo>
                <a:cubicBezTo>
                  <a:pt x="77" y="23"/>
                  <a:pt x="76" y="24"/>
                  <a:pt x="75" y="25"/>
                </a:cubicBezTo>
                <a:cubicBezTo>
                  <a:pt x="75" y="26"/>
                  <a:pt x="77" y="27"/>
                  <a:pt x="79" y="29"/>
                </a:cubicBezTo>
                <a:cubicBezTo>
                  <a:pt x="81" y="31"/>
                  <a:pt x="82" y="28"/>
                  <a:pt x="83" y="30"/>
                </a:cubicBezTo>
                <a:cubicBezTo>
                  <a:pt x="83" y="31"/>
                  <a:pt x="82" y="34"/>
                  <a:pt x="80" y="34"/>
                </a:cubicBezTo>
                <a:cubicBezTo>
                  <a:pt x="79" y="34"/>
                  <a:pt x="79" y="34"/>
                  <a:pt x="79" y="34"/>
                </a:cubicBezTo>
                <a:cubicBezTo>
                  <a:pt x="80" y="35"/>
                  <a:pt x="81" y="37"/>
                  <a:pt x="80" y="38"/>
                </a:cubicBezTo>
                <a:cubicBezTo>
                  <a:pt x="79" y="39"/>
                  <a:pt x="78" y="39"/>
                  <a:pt x="80" y="41"/>
                </a:cubicBezTo>
                <a:cubicBezTo>
                  <a:pt x="82" y="43"/>
                  <a:pt x="84" y="40"/>
                  <a:pt x="86" y="43"/>
                </a:cubicBezTo>
                <a:cubicBezTo>
                  <a:pt x="87" y="45"/>
                  <a:pt x="89" y="46"/>
                  <a:pt x="90" y="42"/>
                </a:cubicBezTo>
                <a:cubicBezTo>
                  <a:pt x="92" y="38"/>
                  <a:pt x="93" y="32"/>
                  <a:pt x="97" y="31"/>
                </a:cubicBezTo>
                <a:cubicBezTo>
                  <a:pt x="100" y="30"/>
                  <a:pt x="106" y="29"/>
                  <a:pt x="110" y="24"/>
                </a:cubicBezTo>
                <a:cubicBezTo>
                  <a:pt x="114" y="19"/>
                  <a:pt x="112" y="19"/>
                  <a:pt x="114" y="17"/>
                </a:cubicBezTo>
                <a:cubicBezTo>
                  <a:pt x="116" y="16"/>
                  <a:pt x="115" y="15"/>
                  <a:pt x="112" y="12"/>
                </a:cubicBezTo>
                <a:close/>
                <a:moveTo>
                  <a:pt x="3" y="10"/>
                </a:moveTo>
                <a:cubicBezTo>
                  <a:pt x="0" y="14"/>
                  <a:pt x="6" y="19"/>
                  <a:pt x="8" y="17"/>
                </a:cubicBezTo>
                <a:cubicBezTo>
                  <a:pt x="9" y="14"/>
                  <a:pt x="7" y="5"/>
                  <a:pt x="3" y="1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3" name="Freeform 129"/>
          <p:cNvSpPr>
            <a:spLocks noEditPoints="1"/>
          </p:cNvSpPr>
          <p:nvPr/>
        </p:nvSpPr>
        <p:spPr bwMode="auto">
          <a:xfrm>
            <a:off x="2780780" y="897385"/>
            <a:ext cx="1201738" cy="896938"/>
          </a:xfrm>
          <a:custGeom>
            <a:avLst/>
            <a:gdLst>
              <a:gd name="T0" fmla="*/ 370 w 422"/>
              <a:gd name="T1" fmla="*/ 36 h 315"/>
              <a:gd name="T2" fmla="*/ 339 w 422"/>
              <a:gd name="T3" fmla="*/ 50 h 315"/>
              <a:gd name="T4" fmla="*/ 337 w 422"/>
              <a:gd name="T5" fmla="*/ 32 h 315"/>
              <a:gd name="T6" fmla="*/ 302 w 422"/>
              <a:gd name="T7" fmla="*/ 29 h 315"/>
              <a:gd name="T8" fmla="*/ 337 w 422"/>
              <a:gd name="T9" fmla="*/ 23 h 315"/>
              <a:gd name="T10" fmla="*/ 334 w 422"/>
              <a:gd name="T11" fmla="*/ 10 h 315"/>
              <a:gd name="T12" fmla="*/ 285 w 422"/>
              <a:gd name="T13" fmla="*/ 0 h 315"/>
              <a:gd name="T14" fmla="*/ 240 w 422"/>
              <a:gd name="T15" fmla="*/ 6 h 315"/>
              <a:gd name="T16" fmla="*/ 206 w 422"/>
              <a:gd name="T17" fmla="*/ 6 h 315"/>
              <a:gd name="T18" fmla="*/ 178 w 422"/>
              <a:gd name="T19" fmla="*/ 19 h 315"/>
              <a:gd name="T20" fmla="*/ 171 w 422"/>
              <a:gd name="T21" fmla="*/ 23 h 315"/>
              <a:gd name="T22" fmla="*/ 151 w 422"/>
              <a:gd name="T23" fmla="*/ 29 h 315"/>
              <a:gd name="T24" fmla="*/ 132 w 422"/>
              <a:gd name="T25" fmla="*/ 35 h 315"/>
              <a:gd name="T26" fmla="*/ 99 w 422"/>
              <a:gd name="T27" fmla="*/ 29 h 315"/>
              <a:gd name="T28" fmla="*/ 81 w 422"/>
              <a:gd name="T29" fmla="*/ 43 h 315"/>
              <a:gd name="T30" fmla="*/ 54 w 422"/>
              <a:gd name="T31" fmla="*/ 60 h 315"/>
              <a:gd name="T32" fmla="*/ 0 w 422"/>
              <a:gd name="T33" fmla="*/ 87 h 315"/>
              <a:gd name="T34" fmla="*/ 34 w 422"/>
              <a:gd name="T35" fmla="*/ 97 h 315"/>
              <a:gd name="T36" fmla="*/ 10 w 422"/>
              <a:gd name="T37" fmla="*/ 105 h 315"/>
              <a:gd name="T38" fmla="*/ 31 w 422"/>
              <a:gd name="T39" fmla="*/ 118 h 315"/>
              <a:gd name="T40" fmla="*/ 58 w 422"/>
              <a:gd name="T41" fmla="*/ 117 h 315"/>
              <a:gd name="T42" fmla="*/ 99 w 422"/>
              <a:gd name="T43" fmla="*/ 129 h 315"/>
              <a:gd name="T44" fmla="*/ 120 w 422"/>
              <a:gd name="T45" fmla="*/ 156 h 315"/>
              <a:gd name="T46" fmla="*/ 123 w 422"/>
              <a:gd name="T47" fmla="*/ 181 h 315"/>
              <a:gd name="T48" fmla="*/ 149 w 422"/>
              <a:gd name="T49" fmla="*/ 190 h 315"/>
              <a:gd name="T50" fmla="*/ 147 w 422"/>
              <a:gd name="T51" fmla="*/ 200 h 315"/>
              <a:gd name="T52" fmla="*/ 143 w 422"/>
              <a:gd name="T53" fmla="*/ 217 h 315"/>
              <a:gd name="T54" fmla="*/ 138 w 422"/>
              <a:gd name="T55" fmla="*/ 238 h 315"/>
              <a:gd name="T56" fmla="*/ 144 w 422"/>
              <a:gd name="T57" fmla="*/ 266 h 315"/>
              <a:gd name="T58" fmla="*/ 157 w 422"/>
              <a:gd name="T59" fmla="*/ 283 h 315"/>
              <a:gd name="T60" fmla="*/ 175 w 422"/>
              <a:gd name="T61" fmla="*/ 304 h 315"/>
              <a:gd name="T62" fmla="*/ 202 w 422"/>
              <a:gd name="T63" fmla="*/ 314 h 315"/>
              <a:gd name="T64" fmla="*/ 210 w 422"/>
              <a:gd name="T65" fmla="*/ 288 h 315"/>
              <a:gd name="T66" fmla="*/ 222 w 422"/>
              <a:gd name="T67" fmla="*/ 274 h 315"/>
              <a:gd name="T68" fmla="*/ 223 w 422"/>
              <a:gd name="T69" fmla="*/ 261 h 315"/>
              <a:gd name="T70" fmla="*/ 235 w 422"/>
              <a:gd name="T71" fmla="*/ 252 h 315"/>
              <a:gd name="T72" fmla="*/ 245 w 422"/>
              <a:gd name="T73" fmla="*/ 250 h 315"/>
              <a:gd name="T74" fmla="*/ 282 w 422"/>
              <a:gd name="T75" fmla="*/ 225 h 315"/>
              <a:gd name="T76" fmla="*/ 305 w 422"/>
              <a:gd name="T77" fmla="*/ 219 h 315"/>
              <a:gd name="T78" fmla="*/ 352 w 422"/>
              <a:gd name="T79" fmla="*/ 199 h 315"/>
              <a:gd name="T80" fmla="*/ 327 w 422"/>
              <a:gd name="T81" fmla="*/ 193 h 315"/>
              <a:gd name="T82" fmla="*/ 353 w 422"/>
              <a:gd name="T83" fmla="*/ 195 h 315"/>
              <a:gd name="T84" fmla="*/ 347 w 422"/>
              <a:gd name="T85" fmla="*/ 171 h 315"/>
              <a:gd name="T86" fmla="*/ 334 w 422"/>
              <a:gd name="T87" fmla="*/ 159 h 315"/>
              <a:gd name="T88" fmla="*/ 364 w 422"/>
              <a:gd name="T89" fmla="*/ 155 h 315"/>
              <a:gd name="T90" fmla="*/ 372 w 422"/>
              <a:gd name="T91" fmla="*/ 140 h 315"/>
              <a:gd name="T92" fmla="*/ 368 w 422"/>
              <a:gd name="T93" fmla="*/ 118 h 315"/>
              <a:gd name="T94" fmla="*/ 360 w 422"/>
              <a:gd name="T95" fmla="*/ 108 h 315"/>
              <a:gd name="T96" fmla="*/ 363 w 422"/>
              <a:gd name="T97" fmla="*/ 99 h 315"/>
              <a:gd name="T98" fmla="*/ 353 w 422"/>
              <a:gd name="T99" fmla="*/ 94 h 315"/>
              <a:gd name="T100" fmla="*/ 381 w 422"/>
              <a:gd name="T101" fmla="*/ 65 h 315"/>
              <a:gd name="T102" fmla="*/ 374 w 422"/>
              <a:gd name="T103" fmla="*/ 57 h 315"/>
              <a:gd name="T104" fmla="*/ 382 w 422"/>
              <a:gd name="T105" fmla="*/ 50 h 315"/>
              <a:gd name="T106" fmla="*/ 422 w 422"/>
              <a:gd name="T107" fmla="*/ 36 h 315"/>
              <a:gd name="T108" fmla="*/ 139 w 422"/>
              <a:gd name="T109" fmla="*/ 201 h 315"/>
              <a:gd name="T110" fmla="*/ 132 w 422"/>
              <a:gd name="T111" fmla="*/ 20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2" h="315">
                <a:moveTo>
                  <a:pt x="398" y="29"/>
                </a:moveTo>
                <a:cubicBezTo>
                  <a:pt x="391" y="29"/>
                  <a:pt x="385" y="30"/>
                  <a:pt x="384" y="35"/>
                </a:cubicBezTo>
                <a:cubicBezTo>
                  <a:pt x="384" y="41"/>
                  <a:pt x="374" y="34"/>
                  <a:pt x="370" y="36"/>
                </a:cubicBezTo>
                <a:cubicBezTo>
                  <a:pt x="366" y="38"/>
                  <a:pt x="368" y="32"/>
                  <a:pt x="364" y="34"/>
                </a:cubicBezTo>
                <a:cubicBezTo>
                  <a:pt x="360" y="36"/>
                  <a:pt x="355" y="41"/>
                  <a:pt x="351" y="43"/>
                </a:cubicBezTo>
                <a:cubicBezTo>
                  <a:pt x="346" y="45"/>
                  <a:pt x="342" y="50"/>
                  <a:pt x="339" y="50"/>
                </a:cubicBezTo>
                <a:cubicBezTo>
                  <a:pt x="336" y="51"/>
                  <a:pt x="346" y="41"/>
                  <a:pt x="350" y="36"/>
                </a:cubicBezTo>
                <a:cubicBezTo>
                  <a:pt x="355" y="31"/>
                  <a:pt x="353" y="26"/>
                  <a:pt x="346" y="26"/>
                </a:cubicBezTo>
                <a:cubicBezTo>
                  <a:pt x="340" y="27"/>
                  <a:pt x="341" y="31"/>
                  <a:pt x="337" y="32"/>
                </a:cubicBezTo>
                <a:cubicBezTo>
                  <a:pt x="334" y="32"/>
                  <a:pt x="316" y="41"/>
                  <a:pt x="315" y="39"/>
                </a:cubicBezTo>
                <a:cubicBezTo>
                  <a:pt x="315" y="36"/>
                  <a:pt x="330" y="31"/>
                  <a:pt x="330" y="30"/>
                </a:cubicBezTo>
                <a:cubicBezTo>
                  <a:pt x="329" y="28"/>
                  <a:pt x="310" y="28"/>
                  <a:pt x="302" y="29"/>
                </a:cubicBezTo>
                <a:cubicBezTo>
                  <a:pt x="293" y="30"/>
                  <a:pt x="278" y="35"/>
                  <a:pt x="278" y="32"/>
                </a:cubicBezTo>
                <a:cubicBezTo>
                  <a:pt x="278" y="30"/>
                  <a:pt x="295" y="27"/>
                  <a:pt x="304" y="26"/>
                </a:cubicBezTo>
                <a:cubicBezTo>
                  <a:pt x="314" y="25"/>
                  <a:pt x="330" y="26"/>
                  <a:pt x="337" y="23"/>
                </a:cubicBezTo>
                <a:cubicBezTo>
                  <a:pt x="344" y="20"/>
                  <a:pt x="354" y="20"/>
                  <a:pt x="356" y="18"/>
                </a:cubicBezTo>
                <a:cubicBezTo>
                  <a:pt x="358" y="16"/>
                  <a:pt x="348" y="13"/>
                  <a:pt x="343" y="13"/>
                </a:cubicBezTo>
                <a:cubicBezTo>
                  <a:pt x="338" y="13"/>
                  <a:pt x="333" y="13"/>
                  <a:pt x="334" y="10"/>
                </a:cubicBezTo>
                <a:cubicBezTo>
                  <a:pt x="334" y="8"/>
                  <a:pt x="326" y="7"/>
                  <a:pt x="325" y="5"/>
                </a:cubicBezTo>
                <a:cubicBezTo>
                  <a:pt x="325" y="3"/>
                  <a:pt x="309" y="5"/>
                  <a:pt x="306" y="3"/>
                </a:cubicBezTo>
                <a:cubicBezTo>
                  <a:pt x="303" y="1"/>
                  <a:pt x="293" y="0"/>
                  <a:pt x="285" y="0"/>
                </a:cubicBezTo>
                <a:cubicBezTo>
                  <a:pt x="277" y="1"/>
                  <a:pt x="260" y="1"/>
                  <a:pt x="256" y="1"/>
                </a:cubicBezTo>
                <a:cubicBezTo>
                  <a:pt x="252" y="2"/>
                  <a:pt x="250" y="3"/>
                  <a:pt x="247" y="3"/>
                </a:cubicBezTo>
                <a:cubicBezTo>
                  <a:pt x="243" y="3"/>
                  <a:pt x="238" y="4"/>
                  <a:pt x="240" y="6"/>
                </a:cubicBezTo>
                <a:cubicBezTo>
                  <a:pt x="244" y="10"/>
                  <a:pt x="234" y="12"/>
                  <a:pt x="235" y="9"/>
                </a:cubicBezTo>
                <a:cubicBezTo>
                  <a:pt x="236" y="6"/>
                  <a:pt x="227" y="4"/>
                  <a:pt x="224" y="6"/>
                </a:cubicBezTo>
                <a:cubicBezTo>
                  <a:pt x="221" y="9"/>
                  <a:pt x="208" y="4"/>
                  <a:pt x="206" y="6"/>
                </a:cubicBezTo>
                <a:cubicBezTo>
                  <a:pt x="204" y="9"/>
                  <a:pt x="188" y="8"/>
                  <a:pt x="183" y="9"/>
                </a:cubicBezTo>
                <a:cubicBezTo>
                  <a:pt x="178" y="10"/>
                  <a:pt x="190" y="13"/>
                  <a:pt x="190" y="15"/>
                </a:cubicBezTo>
                <a:cubicBezTo>
                  <a:pt x="189" y="17"/>
                  <a:pt x="175" y="15"/>
                  <a:pt x="178" y="19"/>
                </a:cubicBezTo>
                <a:cubicBezTo>
                  <a:pt x="181" y="23"/>
                  <a:pt x="190" y="25"/>
                  <a:pt x="195" y="30"/>
                </a:cubicBezTo>
                <a:cubicBezTo>
                  <a:pt x="200" y="35"/>
                  <a:pt x="191" y="32"/>
                  <a:pt x="186" y="28"/>
                </a:cubicBezTo>
                <a:cubicBezTo>
                  <a:pt x="181" y="25"/>
                  <a:pt x="174" y="26"/>
                  <a:pt x="171" y="23"/>
                </a:cubicBezTo>
                <a:cubicBezTo>
                  <a:pt x="168" y="19"/>
                  <a:pt x="155" y="17"/>
                  <a:pt x="152" y="19"/>
                </a:cubicBezTo>
                <a:cubicBezTo>
                  <a:pt x="149" y="21"/>
                  <a:pt x="161" y="26"/>
                  <a:pt x="161" y="28"/>
                </a:cubicBezTo>
                <a:cubicBezTo>
                  <a:pt x="161" y="31"/>
                  <a:pt x="153" y="28"/>
                  <a:pt x="151" y="29"/>
                </a:cubicBezTo>
                <a:cubicBezTo>
                  <a:pt x="150" y="30"/>
                  <a:pt x="143" y="22"/>
                  <a:pt x="138" y="22"/>
                </a:cubicBezTo>
                <a:cubicBezTo>
                  <a:pt x="134" y="22"/>
                  <a:pt x="138" y="25"/>
                  <a:pt x="138" y="30"/>
                </a:cubicBezTo>
                <a:cubicBezTo>
                  <a:pt x="138" y="36"/>
                  <a:pt x="130" y="39"/>
                  <a:pt x="132" y="35"/>
                </a:cubicBezTo>
                <a:cubicBezTo>
                  <a:pt x="134" y="32"/>
                  <a:pt x="133" y="23"/>
                  <a:pt x="129" y="21"/>
                </a:cubicBezTo>
                <a:cubicBezTo>
                  <a:pt x="124" y="19"/>
                  <a:pt x="113" y="25"/>
                  <a:pt x="108" y="24"/>
                </a:cubicBezTo>
                <a:cubicBezTo>
                  <a:pt x="102" y="24"/>
                  <a:pt x="94" y="26"/>
                  <a:pt x="99" y="29"/>
                </a:cubicBezTo>
                <a:cubicBezTo>
                  <a:pt x="104" y="32"/>
                  <a:pt x="99" y="33"/>
                  <a:pt x="95" y="30"/>
                </a:cubicBezTo>
                <a:cubicBezTo>
                  <a:pt x="90" y="27"/>
                  <a:pt x="76" y="30"/>
                  <a:pt x="79" y="32"/>
                </a:cubicBezTo>
                <a:cubicBezTo>
                  <a:pt x="82" y="34"/>
                  <a:pt x="83" y="40"/>
                  <a:pt x="81" y="43"/>
                </a:cubicBezTo>
                <a:cubicBezTo>
                  <a:pt x="79" y="45"/>
                  <a:pt x="74" y="40"/>
                  <a:pt x="68" y="41"/>
                </a:cubicBezTo>
                <a:cubicBezTo>
                  <a:pt x="63" y="41"/>
                  <a:pt x="35" y="54"/>
                  <a:pt x="37" y="58"/>
                </a:cubicBezTo>
                <a:cubicBezTo>
                  <a:pt x="39" y="61"/>
                  <a:pt x="50" y="58"/>
                  <a:pt x="54" y="60"/>
                </a:cubicBezTo>
                <a:cubicBezTo>
                  <a:pt x="57" y="62"/>
                  <a:pt x="53" y="70"/>
                  <a:pt x="48" y="73"/>
                </a:cubicBezTo>
                <a:cubicBezTo>
                  <a:pt x="44" y="76"/>
                  <a:pt x="27" y="73"/>
                  <a:pt x="27" y="77"/>
                </a:cubicBezTo>
                <a:cubicBezTo>
                  <a:pt x="26" y="80"/>
                  <a:pt x="0" y="81"/>
                  <a:pt x="0" y="87"/>
                </a:cubicBezTo>
                <a:cubicBezTo>
                  <a:pt x="0" y="89"/>
                  <a:pt x="1" y="91"/>
                  <a:pt x="4" y="92"/>
                </a:cubicBezTo>
                <a:cubicBezTo>
                  <a:pt x="8" y="93"/>
                  <a:pt x="12" y="92"/>
                  <a:pt x="16" y="95"/>
                </a:cubicBezTo>
                <a:cubicBezTo>
                  <a:pt x="19" y="99"/>
                  <a:pt x="28" y="99"/>
                  <a:pt x="34" y="97"/>
                </a:cubicBezTo>
                <a:cubicBezTo>
                  <a:pt x="41" y="94"/>
                  <a:pt x="45" y="97"/>
                  <a:pt x="45" y="101"/>
                </a:cubicBezTo>
                <a:cubicBezTo>
                  <a:pt x="45" y="104"/>
                  <a:pt x="31" y="99"/>
                  <a:pt x="27" y="102"/>
                </a:cubicBezTo>
                <a:cubicBezTo>
                  <a:pt x="22" y="105"/>
                  <a:pt x="9" y="102"/>
                  <a:pt x="10" y="105"/>
                </a:cubicBezTo>
                <a:cubicBezTo>
                  <a:pt x="10" y="108"/>
                  <a:pt x="17" y="107"/>
                  <a:pt x="22" y="108"/>
                </a:cubicBezTo>
                <a:cubicBezTo>
                  <a:pt x="28" y="109"/>
                  <a:pt x="23" y="112"/>
                  <a:pt x="22" y="114"/>
                </a:cubicBezTo>
                <a:cubicBezTo>
                  <a:pt x="22" y="116"/>
                  <a:pt x="25" y="116"/>
                  <a:pt x="31" y="118"/>
                </a:cubicBezTo>
                <a:cubicBezTo>
                  <a:pt x="36" y="121"/>
                  <a:pt x="45" y="123"/>
                  <a:pt x="42" y="120"/>
                </a:cubicBezTo>
                <a:cubicBezTo>
                  <a:pt x="39" y="117"/>
                  <a:pt x="47" y="117"/>
                  <a:pt x="49" y="119"/>
                </a:cubicBezTo>
                <a:cubicBezTo>
                  <a:pt x="50" y="121"/>
                  <a:pt x="54" y="116"/>
                  <a:pt x="58" y="117"/>
                </a:cubicBezTo>
                <a:cubicBezTo>
                  <a:pt x="62" y="118"/>
                  <a:pt x="63" y="114"/>
                  <a:pt x="66" y="116"/>
                </a:cubicBezTo>
                <a:cubicBezTo>
                  <a:pt x="69" y="118"/>
                  <a:pt x="84" y="119"/>
                  <a:pt x="88" y="121"/>
                </a:cubicBezTo>
                <a:cubicBezTo>
                  <a:pt x="93" y="124"/>
                  <a:pt x="100" y="125"/>
                  <a:pt x="99" y="129"/>
                </a:cubicBezTo>
                <a:cubicBezTo>
                  <a:pt x="99" y="132"/>
                  <a:pt x="103" y="135"/>
                  <a:pt x="109" y="138"/>
                </a:cubicBezTo>
                <a:cubicBezTo>
                  <a:pt x="114" y="140"/>
                  <a:pt x="115" y="145"/>
                  <a:pt x="115" y="149"/>
                </a:cubicBezTo>
                <a:cubicBezTo>
                  <a:pt x="115" y="152"/>
                  <a:pt x="121" y="155"/>
                  <a:pt x="120" y="156"/>
                </a:cubicBezTo>
                <a:cubicBezTo>
                  <a:pt x="119" y="158"/>
                  <a:pt x="120" y="160"/>
                  <a:pt x="124" y="164"/>
                </a:cubicBezTo>
                <a:cubicBezTo>
                  <a:pt x="127" y="167"/>
                  <a:pt x="118" y="169"/>
                  <a:pt x="120" y="172"/>
                </a:cubicBezTo>
                <a:cubicBezTo>
                  <a:pt x="122" y="175"/>
                  <a:pt x="117" y="180"/>
                  <a:pt x="123" y="181"/>
                </a:cubicBezTo>
                <a:cubicBezTo>
                  <a:pt x="130" y="183"/>
                  <a:pt x="129" y="177"/>
                  <a:pt x="134" y="177"/>
                </a:cubicBezTo>
                <a:cubicBezTo>
                  <a:pt x="139" y="177"/>
                  <a:pt x="134" y="181"/>
                  <a:pt x="136" y="184"/>
                </a:cubicBezTo>
                <a:cubicBezTo>
                  <a:pt x="139" y="187"/>
                  <a:pt x="144" y="186"/>
                  <a:pt x="149" y="190"/>
                </a:cubicBezTo>
                <a:cubicBezTo>
                  <a:pt x="155" y="195"/>
                  <a:pt x="151" y="197"/>
                  <a:pt x="147" y="193"/>
                </a:cubicBezTo>
                <a:cubicBezTo>
                  <a:pt x="142" y="190"/>
                  <a:pt x="128" y="190"/>
                  <a:pt x="128" y="192"/>
                </a:cubicBezTo>
                <a:cubicBezTo>
                  <a:pt x="128" y="193"/>
                  <a:pt x="143" y="201"/>
                  <a:pt x="147" y="200"/>
                </a:cubicBezTo>
                <a:cubicBezTo>
                  <a:pt x="150" y="199"/>
                  <a:pt x="155" y="205"/>
                  <a:pt x="153" y="207"/>
                </a:cubicBezTo>
                <a:cubicBezTo>
                  <a:pt x="151" y="209"/>
                  <a:pt x="152" y="214"/>
                  <a:pt x="152" y="217"/>
                </a:cubicBezTo>
                <a:cubicBezTo>
                  <a:pt x="151" y="219"/>
                  <a:pt x="146" y="217"/>
                  <a:pt x="143" y="217"/>
                </a:cubicBezTo>
                <a:cubicBezTo>
                  <a:pt x="139" y="218"/>
                  <a:pt x="137" y="219"/>
                  <a:pt x="137" y="222"/>
                </a:cubicBezTo>
                <a:cubicBezTo>
                  <a:pt x="137" y="226"/>
                  <a:pt x="132" y="228"/>
                  <a:pt x="132" y="232"/>
                </a:cubicBezTo>
                <a:cubicBezTo>
                  <a:pt x="131" y="237"/>
                  <a:pt x="136" y="236"/>
                  <a:pt x="138" y="238"/>
                </a:cubicBezTo>
                <a:cubicBezTo>
                  <a:pt x="141" y="240"/>
                  <a:pt x="133" y="241"/>
                  <a:pt x="133" y="244"/>
                </a:cubicBezTo>
                <a:cubicBezTo>
                  <a:pt x="133" y="247"/>
                  <a:pt x="140" y="253"/>
                  <a:pt x="143" y="254"/>
                </a:cubicBezTo>
                <a:cubicBezTo>
                  <a:pt x="145" y="256"/>
                  <a:pt x="143" y="263"/>
                  <a:pt x="144" y="266"/>
                </a:cubicBezTo>
                <a:cubicBezTo>
                  <a:pt x="145" y="270"/>
                  <a:pt x="148" y="265"/>
                  <a:pt x="148" y="270"/>
                </a:cubicBezTo>
                <a:cubicBezTo>
                  <a:pt x="147" y="274"/>
                  <a:pt x="151" y="274"/>
                  <a:pt x="151" y="277"/>
                </a:cubicBezTo>
                <a:cubicBezTo>
                  <a:pt x="152" y="279"/>
                  <a:pt x="158" y="279"/>
                  <a:pt x="157" y="283"/>
                </a:cubicBezTo>
                <a:cubicBezTo>
                  <a:pt x="155" y="286"/>
                  <a:pt x="158" y="289"/>
                  <a:pt x="160" y="291"/>
                </a:cubicBezTo>
                <a:cubicBezTo>
                  <a:pt x="161" y="293"/>
                  <a:pt x="167" y="297"/>
                  <a:pt x="168" y="299"/>
                </a:cubicBezTo>
                <a:cubicBezTo>
                  <a:pt x="169" y="302"/>
                  <a:pt x="172" y="305"/>
                  <a:pt x="175" y="304"/>
                </a:cubicBezTo>
                <a:cubicBezTo>
                  <a:pt x="179" y="303"/>
                  <a:pt x="179" y="307"/>
                  <a:pt x="182" y="306"/>
                </a:cubicBezTo>
                <a:cubicBezTo>
                  <a:pt x="185" y="306"/>
                  <a:pt x="189" y="308"/>
                  <a:pt x="190" y="310"/>
                </a:cubicBezTo>
                <a:cubicBezTo>
                  <a:pt x="191" y="312"/>
                  <a:pt x="200" y="314"/>
                  <a:pt x="202" y="314"/>
                </a:cubicBezTo>
                <a:cubicBezTo>
                  <a:pt x="205" y="315"/>
                  <a:pt x="205" y="310"/>
                  <a:pt x="207" y="309"/>
                </a:cubicBezTo>
                <a:cubicBezTo>
                  <a:pt x="210" y="308"/>
                  <a:pt x="209" y="299"/>
                  <a:pt x="211" y="298"/>
                </a:cubicBezTo>
                <a:cubicBezTo>
                  <a:pt x="213" y="298"/>
                  <a:pt x="212" y="288"/>
                  <a:pt x="210" y="288"/>
                </a:cubicBezTo>
                <a:cubicBezTo>
                  <a:pt x="208" y="287"/>
                  <a:pt x="209" y="283"/>
                  <a:pt x="214" y="284"/>
                </a:cubicBezTo>
                <a:cubicBezTo>
                  <a:pt x="218" y="285"/>
                  <a:pt x="217" y="280"/>
                  <a:pt x="219" y="279"/>
                </a:cubicBezTo>
                <a:cubicBezTo>
                  <a:pt x="221" y="279"/>
                  <a:pt x="220" y="275"/>
                  <a:pt x="222" y="274"/>
                </a:cubicBezTo>
                <a:cubicBezTo>
                  <a:pt x="223" y="274"/>
                  <a:pt x="223" y="271"/>
                  <a:pt x="222" y="269"/>
                </a:cubicBezTo>
                <a:cubicBezTo>
                  <a:pt x="221" y="268"/>
                  <a:pt x="222" y="266"/>
                  <a:pt x="225" y="266"/>
                </a:cubicBezTo>
                <a:cubicBezTo>
                  <a:pt x="227" y="266"/>
                  <a:pt x="226" y="262"/>
                  <a:pt x="223" y="261"/>
                </a:cubicBezTo>
                <a:cubicBezTo>
                  <a:pt x="220" y="260"/>
                  <a:pt x="221" y="256"/>
                  <a:pt x="224" y="258"/>
                </a:cubicBezTo>
                <a:cubicBezTo>
                  <a:pt x="227" y="260"/>
                  <a:pt x="230" y="259"/>
                  <a:pt x="228" y="256"/>
                </a:cubicBezTo>
                <a:cubicBezTo>
                  <a:pt x="226" y="254"/>
                  <a:pt x="230" y="253"/>
                  <a:pt x="235" y="252"/>
                </a:cubicBezTo>
                <a:cubicBezTo>
                  <a:pt x="239" y="252"/>
                  <a:pt x="241" y="250"/>
                  <a:pt x="240" y="246"/>
                </a:cubicBezTo>
                <a:cubicBezTo>
                  <a:pt x="239" y="243"/>
                  <a:pt x="245" y="243"/>
                  <a:pt x="244" y="246"/>
                </a:cubicBezTo>
                <a:cubicBezTo>
                  <a:pt x="242" y="249"/>
                  <a:pt x="243" y="252"/>
                  <a:pt x="245" y="250"/>
                </a:cubicBezTo>
                <a:cubicBezTo>
                  <a:pt x="247" y="248"/>
                  <a:pt x="251" y="249"/>
                  <a:pt x="258" y="247"/>
                </a:cubicBezTo>
                <a:cubicBezTo>
                  <a:pt x="265" y="245"/>
                  <a:pt x="272" y="240"/>
                  <a:pt x="273" y="234"/>
                </a:cubicBezTo>
                <a:cubicBezTo>
                  <a:pt x="275" y="229"/>
                  <a:pt x="283" y="229"/>
                  <a:pt x="282" y="225"/>
                </a:cubicBezTo>
                <a:cubicBezTo>
                  <a:pt x="281" y="222"/>
                  <a:pt x="283" y="220"/>
                  <a:pt x="288" y="223"/>
                </a:cubicBezTo>
                <a:cubicBezTo>
                  <a:pt x="293" y="225"/>
                  <a:pt x="289" y="221"/>
                  <a:pt x="295" y="221"/>
                </a:cubicBezTo>
                <a:cubicBezTo>
                  <a:pt x="301" y="221"/>
                  <a:pt x="300" y="219"/>
                  <a:pt x="305" y="219"/>
                </a:cubicBezTo>
                <a:cubicBezTo>
                  <a:pt x="311" y="219"/>
                  <a:pt x="325" y="216"/>
                  <a:pt x="330" y="212"/>
                </a:cubicBezTo>
                <a:cubicBezTo>
                  <a:pt x="335" y="208"/>
                  <a:pt x="345" y="205"/>
                  <a:pt x="349" y="202"/>
                </a:cubicBezTo>
                <a:cubicBezTo>
                  <a:pt x="354" y="199"/>
                  <a:pt x="355" y="197"/>
                  <a:pt x="352" y="199"/>
                </a:cubicBezTo>
                <a:cubicBezTo>
                  <a:pt x="349" y="200"/>
                  <a:pt x="344" y="200"/>
                  <a:pt x="340" y="199"/>
                </a:cubicBezTo>
                <a:cubicBezTo>
                  <a:pt x="336" y="198"/>
                  <a:pt x="329" y="195"/>
                  <a:pt x="325" y="197"/>
                </a:cubicBezTo>
                <a:cubicBezTo>
                  <a:pt x="320" y="200"/>
                  <a:pt x="323" y="194"/>
                  <a:pt x="327" y="193"/>
                </a:cubicBezTo>
                <a:cubicBezTo>
                  <a:pt x="330" y="192"/>
                  <a:pt x="329" y="190"/>
                  <a:pt x="328" y="186"/>
                </a:cubicBezTo>
                <a:cubicBezTo>
                  <a:pt x="327" y="182"/>
                  <a:pt x="334" y="185"/>
                  <a:pt x="338" y="190"/>
                </a:cubicBezTo>
                <a:cubicBezTo>
                  <a:pt x="341" y="194"/>
                  <a:pt x="347" y="196"/>
                  <a:pt x="353" y="195"/>
                </a:cubicBezTo>
                <a:cubicBezTo>
                  <a:pt x="358" y="193"/>
                  <a:pt x="353" y="189"/>
                  <a:pt x="355" y="186"/>
                </a:cubicBezTo>
                <a:cubicBezTo>
                  <a:pt x="357" y="183"/>
                  <a:pt x="338" y="173"/>
                  <a:pt x="337" y="170"/>
                </a:cubicBezTo>
                <a:cubicBezTo>
                  <a:pt x="336" y="166"/>
                  <a:pt x="342" y="169"/>
                  <a:pt x="347" y="171"/>
                </a:cubicBezTo>
                <a:cubicBezTo>
                  <a:pt x="353" y="173"/>
                  <a:pt x="354" y="167"/>
                  <a:pt x="354" y="164"/>
                </a:cubicBezTo>
                <a:cubicBezTo>
                  <a:pt x="354" y="161"/>
                  <a:pt x="342" y="161"/>
                  <a:pt x="337" y="164"/>
                </a:cubicBezTo>
                <a:cubicBezTo>
                  <a:pt x="332" y="166"/>
                  <a:pt x="327" y="160"/>
                  <a:pt x="334" y="159"/>
                </a:cubicBezTo>
                <a:cubicBezTo>
                  <a:pt x="341" y="158"/>
                  <a:pt x="335" y="155"/>
                  <a:pt x="337" y="153"/>
                </a:cubicBezTo>
                <a:cubicBezTo>
                  <a:pt x="339" y="151"/>
                  <a:pt x="348" y="159"/>
                  <a:pt x="352" y="158"/>
                </a:cubicBezTo>
                <a:cubicBezTo>
                  <a:pt x="357" y="156"/>
                  <a:pt x="360" y="158"/>
                  <a:pt x="364" y="155"/>
                </a:cubicBezTo>
                <a:cubicBezTo>
                  <a:pt x="368" y="152"/>
                  <a:pt x="357" y="149"/>
                  <a:pt x="355" y="146"/>
                </a:cubicBezTo>
                <a:cubicBezTo>
                  <a:pt x="352" y="144"/>
                  <a:pt x="366" y="145"/>
                  <a:pt x="370" y="145"/>
                </a:cubicBezTo>
                <a:cubicBezTo>
                  <a:pt x="374" y="145"/>
                  <a:pt x="375" y="139"/>
                  <a:pt x="372" y="140"/>
                </a:cubicBezTo>
                <a:cubicBezTo>
                  <a:pt x="369" y="142"/>
                  <a:pt x="357" y="136"/>
                  <a:pt x="359" y="133"/>
                </a:cubicBezTo>
                <a:cubicBezTo>
                  <a:pt x="362" y="129"/>
                  <a:pt x="366" y="133"/>
                  <a:pt x="371" y="131"/>
                </a:cubicBezTo>
                <a:cubicBezTo>
                  <a:pt x="376" y="128"/>
                  <a:pt x="372" y="118"/>
                  <a:pt x="368" y="118"/>
                </a:cubicBezTo>
                <a:cubicBezTo>
                  <a:pt x="364" y="118"/>
                  <a:pt x="356" y="117"/>
                  <a:pt x="356" y="115"/>
                </a:cubicBezTo>
                <a:cubicBezTo>
                  <a:pt x="356" y="113"/>
                  <a:pt x="349" y="111"/>
                  <a:pt x="351" y="110"/>
                </a:cubicBezTo>
                <a:cubicBezTo>
                  <a:pt x="353" y="108"/>
                  <a:pt x="355" y="112"/>
                  <a:pt x="360" y="108"/>
                </a:cubicBezTo>
                <a:cubicBezTo>
                  <a:pt x="365" y="105"/>
                  <a:pt x="375" y="109"/>
                  <a:pt x="379" y="108"/>
                </a:cubicBezTo>
                <a:cubicBezTo>
                  <a:pt x="383" y="108"/>
                  <a:pt x="377" y="100"/>
                  <a:pt x="375" y="101"/>
                </a:cubicBezTo>
                <a:cubicBezTo>
                  <a:pt x="372" y="103"/>
                  <a:pt x="364" y="103"/>
                  <a:pt x="363" y="99"/>
                </a:cubicBezTo>
                <a:cubicBezTo>
                  <a:pt x="363" y="94"/>
                  <a:pt x="371" y="99"/>
                  <a:pt x="373" y="97"/>
                </a:cubicBezTo>
                <a:cubicBezTo>
                  <a:pt x="374" y="95"/>
                  <a:pt x="361" y="89"/>
                  <a:pt x="359" y="94"/>
                </a:cubicBezTo>
                <a:cubicBezTo>
                  <a:pt x="357" y="98"/>
                  <a:pt x="349" y="96"/>
                  <a:pt x="353" y="94"/>
                </a:cubicBezTo>
                <a:cubicBezTo>
                  <a:pt x="357" y="92"/>
                  <a:pt x="358" y="85"/>
                  <a:pt x="358" y="81"/>
                </a:cubicBezTo>
                <a:cubicBezTo>
                  <a:pt x="357" y="78"/>
                  <a:pt x="371" y="77"/>
                  <a:pt x="370" y="72"/>
                </a:cubicBezTo>
                <a:cubicBezTo>
                  <a:pt x="368" y="66"/>
                  <a:pt x="376" y="65"/>
                  <a:pt x="381" y="65"/>
                </a:cubicBezTo>
                <a:cubicBezTo>
                  <a:pt x="386" y="65"/>
                  <a:pt x="381" y="59"/>
                  <a:pt x="376" y="59"/>
                </a:cubicBezTo>
                <a:cubicBezTo>
                  <a:pt x="372" y="60"/>
                  <a:pt x="367" y="65"/>
                  <a:pt x="365" y="63"/>
                </a:cubicBezTo>
                <a:cubicBezTo>
                  <a:pt x="363" y="61"/>
                  <a:pt x="370" y="57"/>
                  <a:pt x="374" y="57"/>
                </a:cubicBezTo>
                <a:cubicBezTo>
                  <a:pt x="379" y="57"/>
                  <a:pt x="388" y="57"/>
                  <a:pt x="392" y="55"/>
                </a:cubicBezTo>
                <a:cubicBezTo>
                  <a:pt x="395" y="53"/>
                  <a:pt x="386" y="51"/>
                  <a:pt x="379" y="52"/>
                </a:cubicBezTo>
                <a:cubicBezTo>
                  <a:pt x="373" y="53"/>
                  <a:pt x="373" y="50"/>
                  <a:pt x="382" y="50"/>
                </a:cubicBezTo>
                <a:cubicBezTo>
                  <a:pt x="392" y="49"/>
                  <a:pt x="391" y="47"/>
                  <a:pt x="397" y="47"/>
                </a:cubicBezTo>
                <a:cubicBezTo>
                  <a:pt x="404" y="46"/>
                  <a:pt x="402" y="43"/>
                  <a:pt x="406" y="43"/>
                </a:cubicBezTo>
                <a:cubicBezTo>
                  <a:pt x="411" y="42"/>
                  <a:pt x="422" y="38"/>
                  <a:pt x="422" y="36"/>
                </a:cubicBezTo>
                <a:cubicBezTo>
                  <a:pt x="422" y="33"/>
                  <a:pt x="406" y="29"/>
                  <a:pt x="398" y="29"/>
                </a:cubicBezTo>
                <a:close/>
                <a:moveTo>
                  <a:pt x="145" y="206"/>
                </a:moveTo>
                <a:cubicBezTo>
                  <a:pt x="145" y="203"/>
                  <a:pt x="141" y="205"/>
                  <a:pt x="139" y="201"/>
                </a:cubicBezTo>
                <a:cubicBezTo>
                  <a:pt x="137" y="197"/>
                  <a:pt x="127" y="196"/>
                  <a:pt x="126" y="199"/>
                </a:cubicBezTo>
                <a:cubicBezTo>
                  <a:pt x="125" y="200"/>
                  <a:pt x="122" y="202"/>
                  <a:pt x="125" y="204"/>
                </a:cubicBezTo>
                <a:cubicBezTo>
                  <a:pt x="127" y="207"/>
                  <a:pt x="129" y="206"/>
                  <a:pt x="132" y="209"/>
                </a:cubicBezTo>
                <a:cubicBezTo>
                  <a:pt x="135" y="212"/>
                  <a:pt x="144" y="209"/>
                  <a:pt x="145" y="20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4" name="Freeform 130"/>
          <p:cNvSpPr/>
          <p:nvPr/>
        </p:nvSpPr>
        <p:spPr bwMode="auto">
          <a:xfrm>
            <a:off x="3466580" y="4334323"/>
            <a:ext cx="47625" cy="34925"/>
          </a:xfrm>
          <a:custGeom>
            <a:avLst/>
            <a:gdLst>
              <a:gd name="T0" fmla="*/ 0 w 17"/>
              <a:gd name="T1" fmla="*/ 2 h 12"/>
              <a:gd name="T2" fmla="*/ 6 w 17"/>
              <a:gd name="T3" fmla="*/ 5 h 12"/>
              <a:gd name="T4" fmla="*/ 14 w 17"/>
              <a:gd name="T5" fmla="*/ 8 h 12"/>
              <a:gd name="T6" fmla="*/ 0 w 17"/>
              <a:gd name="T7" fmla="*/ 2 h 12"/>
            </a:gdLst>
            <a:ahLst/>
            <a:cxnLst>
              <a:cxn ang="0">
                <a:pos x="T0" y="T1"/>
              </a:cxn>
              <a:cxn ang="0">
                <a:pos x="T2" y="T3"/>
              </a:cxn>
              <a:cxn ang="0">
                <a:pos x="T4" y="T5"/>
              </a:cxn>
              <a:cxn ang="0">
                <a:pos x="T6" y="T7"/>
              </a:cxn>
            </a:cxnLst>
            <a:rect l="0" t="0" r="r" b="b"/>
            <a:pathLst>
              <a:path w="17" h="12">
                <a:moveTo>
                  <a:pt x="0" y="2"/>
                </a:moveTo>
                <a:cubicBezTo>
                  <a:pt x="1" y="4"/>
                  <a:pt x="4" y="3"/>
                  <a:pt x="6" y="5"/>
                </a:cubicBezTo>
                <a:cubicBezTo>
                  <a:pt x="9" y="8"/>
                  <a:pt x="11" y="12"/>
                  <a:pt x="14" y="8"/>
                </a:cubicBezTo>
                <a:cubicBezTo>
                  <a:pt x="17" y="4"/>
                  <a:pt x="0" y="0"/>
                  <a:pt x="0"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5" name="Freeform 131"/>
          <p:cNvSpPr>
            <a:spLocks noEditPoints="1"/>
          </p:cNvSpPr>
          <p:nvPr/>
        </p:nvSpPr>
        <p:spPr bwMode="auto">
          <a:xfrm>
            <a:off x="1432992" y="911673"/>
            <a:ext cx="1746250" cy="1347788"/>
          </a:xfrm>
          <a:custGeom>
            <a:avLst/>
            <a:gdLst>
              <a:gd name="T0" fmla="*/ 125 w 613"/>
              <a:gd name="T1" fmla="*/ 417 h 473"/>
              <a:gd name="T2" fmla="*/ 115 w 613"/>
              <a:gd name="T3" fmla="*/ 139 h 473"/>
              <a:gd name="T4" fmla="*/ 236 w 613"/>
              <a:gd name="T5" fmla="*/ 154 h 473"/>
              <a:gd name="T6" fmla="*/ 157 w 613"/>
              <a:gd name="T7" fmla="*/ 164 h 473"/>
              <a:gd name="T8" fmla="*/ 236 w 613"/>
              <a:gd name="T9" fmla="*/ 204 h 473"/>
              <a:gd name="T10" fmla="*/ 145 w 613"/>
              <a:gd name="T11" fmla="*/ 119 h 473"/>
              <a:gd name="T12" fmla="*/ 127 w 613"/>
              <a:gd name="T13" fmla="*/ 113 h 473"/>
              <a:gd name="T14" fmla="*/ 225 w 613"/>
              <a:gd name="T15" fmla="*/ 130 h 473"/>
              <a:gd name="T16" fmla="*/ 181 w 613"/>
              <a:gd name="T17" fmla="*/ 88 h 473"/>
              <a:gd name="T18" fmla="*/ 252 w 613"/>
              <a:gd name="T19" fmla="*/ 73 h 473"/>
              <a:gd name="T20" fmla="*/ 254 w 613"/>
              <a:gd name="T21" fmla="*/ 99 h 473"/>
              <a:gd name="T22" fmla="*/ 256 w 613"/>
              <a:gd name="T23" fmla="*/ 113 h 473"/>
              <a:gd name="T24" fmla="*/ 331 w 613"/>
              <a:gd name="T25" fmla="*/ 90 h 473"/>
              <a:gd name="T26" fmla="*/ 300 w 613"/>
              <a:gd name="T27" fmla="*/ 142 h 473"/>
              <a:gd name="T28" fmla="*/ 419 w 613"/>
              <a:gd name="T29" fmla="*/ 135 h 473"/>
              <a:gd name="T30" fmla="*/ 354 w 613"/>
              <a:gd name="T31" fmla="*/ 93 h 473"/>
              <a:gd name="T32" fmla="*/ 365 w 613"/>
              <a:gd name="T33" fmla="*/ 51 h 473"/>
              <a:gd name="T34" fmla="*/ 358 w 613"/>
              <a:gd name="T35" fmla="*/ 41 h 473"/>
              <a:gd name="T36" fmla="*/ 387 w 613"/>
              <a:gd name="T37" fmla="*/ 74 h 473"/>
              <a:gd name="T38" fmla="*/ 426 w 613"/>
              <a:gd name="T39" fmla="*/ 110 h 473"/>
              <a:gd name="T40" fmla="*/ 485 w 613"/>
              <a:gd name="T41" fmla="*/ 53 h 473"/>
              <a:gd name="T42" fmla="*/ 464 w 613"/>
              <a:gd name="T43" fmla="*/ 6 h 473"/>
              <a:gd name="T44" fmla="*/ 347 w 613"/>
              <a:gd name="T45" fmla="*/ 28 h 473"/>
              <a:gd name="T46" fmla="*/ 381 w 613"/>
              <a:gd name="T47" fmla="*/ 269 h 473"/>
              <a:gd name="T48" fmla="*/ 505 w 613"/>
              <a:gd name="T49" fmla="*/ 208 h 473"/>
              <a:gd name="T50" fmla="*/ 455 w 613"/>
              <a:gd name="T51" fmla="*/ 167 h 473"/>
              <a:gd name="T52" fmla="*/ 381 w 613"/>
              <a:gd name="T53" fmla="*/ 153 h 473"/>
              <a:gd name="T54" fmla="*/ 430 w 613"/>
              <a:gd name="T55" fmla="*/ 189 h 473"/>
              <a:gd name="T56" fmla="*/ 449 w 613"/>
              <a:gd name="T57" fmla="*/ 250 h 473"/>
              <a:gd name="T58" fmla="*/ 519 w 613"/>
              <a:gd name="T59" fmla="*/ 256 h 473"/>
              <a:gd name="T60" fmla="*/ 416 w 613"/>
              <a:gd name="T61" fmla="*/ 147 h 473"/>
              <a:gd name="T62" fmla="*/ 588 w 613"/>
              <a:gd name="T63" fmla="*/ 392 h 473"/>
              <a:gd name="T64" fmla="*/ 67 w 613"/>
              <a:gd name="T65" fmla="*/ 384 h 473"/>
              <a:gd name="T66" fmla="*/ 501 w 613"/>
              <a:gd name="T67" fmla="*/ 420 h 473"/>
              <a:gd name="T68" fmla="*/ 588 w 613"/>
              <a:gd name="T69" fmla="*/ 372 h 473"/>
              <a:gd name="T70" fmla="*/ 546 w 613"/>
              <a:gd name="T71" fmla="*/ 342 h 473"/>
              <a:gd name="T72" fmla="*/ 515 w 613"/>
              <a:gd name="T73" fmla="*/ 323 h 473"/>
              <a:gd name="T74" fmla="*/ 466 w 613"/>
              <a:gd name="T75" fmla="*/ 283 h 473"/>
              <a:gd name="T76" fmla="*/ 444 w 613"/>
              <a:gd name="T77" fmla="*/ 332 h 473"/>
              <a:gd name="T78" fmla="*/ 407 w 613"/>
              <a:gd name="T79" fmla="*/ 377 h 473"/>
              <a:gd name="T80" fmla="*/ 328 w 613"/>
              <a:gd name="T81" fmla="*/ 321 h 473"/>
              <a:gd name="T82" fmla="*/ 353 w 613"/>
              <a:gd name="T83" fmla="*/ 263 h 473"/>
              <a:gd name="T84" fmla="*/ 396 w 613"/>
              <a:gd name="T85" fmla="*/ 237 h 473"/>
              <a:gd name="T86" fmla="*/ 388 w 613"/>
              <a:gd name="T87" fmla="*/ 208 h 473"/>
              <a:gd name="T88" fmla="*/ 354 w 613"/>
              <a:gd name="T89" fmla="*/ 210 h 473"/>
              <a:gd name="T90" fmla="*/ 328 w 613"/>
              <a:gd name="T91" fmla="*/ 166 h 473"/>
              <a:gd name="T92" fmla="*/ 316 w 613"/>
              <a:gd name="T93" fmla="*/ 179 h 473"/>
              <a:gd name="T94" fmla="*/ 310 w 613"/>
              <a:gd name="T95" fmla="*/ 223 h 473"/>
              <a:gd name="T96" fmla="*/ 300 w 613"/>
              <a:gd name="T97" fmla="*/ 213 h 473"/>
              <a:gd name="T98" fmla="*/ 244 w 613"/>
              <a:gd name="T99" fmla="*/ 213 h 473"/>
              <a:gd name="T100" fmla="*/ 163 w 613"/>
              <a:gd name="T101" fmla="*/ 208 h 473"/>
              <a:gd name="T102" fmla="*/ 59 w 613"/>
              <a:gd name="T103" fmla="*/ 208 h 473"/>
              <a:gd name="T104" fmla="*/ 28 w 613"/>
              <a:gd name="T105" fmla="*/ 209 h 473"/>
              <a:gd name="T106" fmla="*/ 77 w 613"/>
              <a:gd name="T107" fmla="*/ 360 h 473"/>
              <a:gd name="T108" fmla="*/ 111 w 613"/>
              <a:gd name="T109" fmla="*/ 402 h 473"/>
              <a:gd name="T110" fmla="*/ 380 w 613"/>
              <a:gd name="T111" fmla="*/ 421 h 473"/>
              <a:gd name="T112" fmla="*/ 428 w 613"/>
              <a:gd name="T113" fmla="*/ 468 h 473"/>
              <a:gd name="T114" fmla="*/ 528 w 613"/>
              <a:gd name="T115" fmla="*/ 441 h 473"/>
              <a:gd name="T116" fmla="*/ 148 w 613"/>
              <a:gd name="T117" fmla="*/ 249 h 473"/>
              <a:gd name="T118" fmla="*/ 147 w 613"/>
              <a:gd name="T119" fmla="*/ 240 h 473"/>
              <a:gd name="T120" fmla="*/ 307 w 613"/>
              <a:gd name="T121" fmla="*/ 401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13" h="473">
                <a:moveTo>
                  <a:pt x="121" y="415"/>
                </a:moveTo>
                <a:cubicBezTo>
                  <a:pt x="119" y="413"/>
                  <a:pt x="114" y="413"/>
                  <a:pt x="113" y="411"/>
                </a:cubicBezTo>
                <a:cubicBezTo>
                  <a:pt x="112" y="409"/>
                  <a:pt x="107" y="402"/>
                  <a:pt x="105" y="402"/>
                </a:cubicBezTo>
                <a:cubicBezTo>
                  <a:pt x="102" y="402"/>
                  <a:pt x="99" y="402"/>
                  <a:pt x="96" y="400"/>
                </a:cubicBezTo>
                <a:cubicBezTo>
                  <a:pt x="93" y="398"/>
                  <a:pt x="91" y="398"/>
                  <a:pt x="89" y="399"/>
                </a:cubicBezTo>
                <a:cubicBezTo>
                  <a:pt x="87" y="400"/>
                  <a:pt x="91" y="401"/>
                  <a:pt x="91" y="402"/>
                </a:cubicBezTo>
                <a:cubicBezTo>
                  <a:pt x="91" y="404"/>
                  <a:pt x="92" y="405"/>
                  <a:pt x="94" y="404"/>
                </a:cubicBezTo>
                <a:cubicBezTo>
                  <a:pt x="96" y="404"/>
                  <a:pt x="97" y="408"/>
                  <a:pt x="99" y="408"/>
                </a:cubicBezTo>
                <a:cubicBezTo>
                  <a:pt x="101" y="408"/>
                  <a:pt x="101" y="411"/>
                  <a:pt x="103" y="411"/>
                </a:cubicBezTo>
                <a:cubicBezTo>
                  <a:pt x="105" y="411"/>
                  <a:pt x="106" y="414"/>
                  <a:pt x="107" y="415"/>
                </a:cubicBezTo>
                <a:cubicBezTo>
                  <a:pt x="108" y="416"/>
                  <a:pt x="110" y="415"/>
                  <a:pt x="110" y="416"/>
                </a:cubicBezTo>
                <a:cubicBezTo>
                  <a:pt x="110" y="418"/>
                  <a:pt x="113" y="419"/>
                  <a:pt x="114" y="420"/>
                </a:cubicBezTo>
                <a:cubicBezTo>
                  <a:pt x="118" y="421"/>
                  <a:pt x="121" y="421"/>
                  <a:pt x="124" y="420"/>
                </a:cubicBezTo>
                <a:cubicBezTo>
                  <a:pt x="124" y="419"/>
                  <a:pt x="125" y="418"/>
                  <a:pt x="125" y="417"/>
                </a:cubicBezTo>
                <a:cubicBezTo>
                  <a:pt x="126" y="415"/>
                  <a:pt x="123" y="417"/>
                  <a:pt x="121" y="415"/>
                </a:cubicBezTo>
                <a:close/>
                <a:moveTo>
                  <a:pt x="116" y="172"/>
                </a:moveTo>
                <a:cubicBezTo>
                  <a:pt x="121" y="173"/>
                  <a:pt x="122" y="183"/>
                  <a:pt x="125" y="183"/>
                </a:cubicBezTo>
                <a:cubicBezTo>
                  <a:pt x="128" y="183"/>
                  <a:pt x="126" y="180"/>
                  <a:pt x="130" y="180"/>
                </a:cubicBezTo>
                <a:cubicBezTo>
                  <a:pt x="134" y="180"/>
                  <a:pt x="133" y="178"/>
                  <a:pt x="137" y="178"/>
                </a:cubicBezTo>
                <a:cubicBezTo>
                  <a:pt x="140" y="179"/>
                  <a:pt x="143" y="177"/>
                  <a:pt x="143" y="173"/>
                </a:cubicBezTo>
                <a:cubicBezTo>
                  <a:pt x="143" y="169"/>
                  <a:pt x="146" y="167"/>
                  <a:pt x="150" y="166"/>
                </a:cubicBezTo>
                <a:cubicBezTo>
                  <a:pt x="154" y="165"/>
                  <a:pt x="150" y="161"/>
                  <a:pt x="155" y="160"/>
                </a:cubicBezTo>
                <a:cubicBezTo>
                  <a:pt x="161" y="158"/>
                  <a:pt x="175" y="152"/>
                  <a:pt x="177" y="150"/>
                </a:cubicBezTo>
                <a:cubicBezTo>
                  <a:pt x="180" y="149"/>
                  <a:pt x="174" y="146"/>
                  <a:pt x="169" y="143"/>
                </a:cubicBezTo>
                <a:cubicBezTo>
                  <a:pt x="163" y="139"/>
                  <a:pt x="159" y="139"/>
                  <a:pt x="155" y="141"/>
                </a:cubicBezTo>
                <a:cubicBezTo>
                  <a:pt x="150" y="144"/>
                  <a:pt x="154" y="138"/>
                  <a:pt x="150" y="140"/>
                </a:cubicBezTo>
                <a:cubicBezTo>
                  <a:pt x="147" y="141"/>
                  <a:pt x="138" y="137"/>
                  <a:pt x="137" y="136"/>
                </a:cubicBezTo>
                <a:cubicBezTo>
                  <a:pt x="136" y="134"/>
                  <a:pt x="119" y="139"/>
                  <a:pt x="115" y="139"/>
                </a:cubicBezTo>
                <a:cubicBezTo>
                  <a:pt x="111" y="139"/>
                  <a:pt x="115" y="143"/>
                  <a:pt x="118" y="146"/>
                </a:cubicBezTo>
                <a:cubicBezTo>
                  <a:pt x="121" y="148"/>
                  <a:pt x="111" y="154"/>
                  <a:pt x="113" y="156"/>
                </a:cubicBezTo>
                <a:cubicBezTo>
                  <a:pt x="115" y="157"/>
                  <a:pt x="111" y="161"/>
                  <a:pt x="107" y="166"/>
                </a:cubicBezTo>
                <a:cubicBezTo>
                  <a:pt x="103" y="171"/>
                  <a:pt x="110" y="171"/>
                  <a:pt x="116" y="172"/>
                </a:cubicBezTo>
                <a:close/>
                <a:moveTo>
                  <a:pt x="268" y="197"/>
                </a:moveTo>
                <a:cubicBezTo>
                  <a:pt x="270" y="195"/>
                  <a:pt x="278" y="201"/>
                  <a:pt x="278" y="197"/>
                </a:cubicBezTo>
                <a:cubicBezTo>
                  <a:pt x="278" y="192"/>
                  <a:pt x="270" y="190"/>
                  <a:pt x="266" y="188"/>
                </a:cubicBezTo>
                <a:cubicBezTo>
                  <a:pt x="262" y="185"/>
                  <a:pt x="261" y="186"/>
                  <a:pt x="255" y="182"/>
                </a:cubicBezTo>
                <a:cubicBezTo>
                  <a:pt x="249" y="178"/>
                  <a:pt x="256" y="176"/>
                  <a:pt x="252" y="172"/>
                </a:cubicBezTo>
                <a:cubicBezTo>
                  <a:pt x="248" y="169"/>
                  <a:pt x="246" y="160"/>
                  <a:pt x="249" y="157"/>
                </a:cubicBezTo>
                <a:cubicBezTo>
                  <a:pt x="252" y="154"/>
                  <a:pt x="256" y="149"/>
                  <a:pt x="250" y="147"/>
                </a:cubicBezTo>
                <a:cubicBezTo>
                  <a:pt x="245" y="145"/>
                  <a:pt x="236" y="149"/>
                  <a:pt x="237" y="150"/>
                </a:cubicBezTo>
                <a:cubicBezTo>
                  <a:pt x="238" y="151"/>
                  <a:pt x="245" y="156"/>
                  <a:pt x="245" y="157"/>
                </a:cubicBezTo>
                <a:cubicBezTo>
                  <a:pt x="245" y="159"/>
                  <a:pt x="238" y="152"/>
                  <a:pt x="236" y="154"/>
                </a:cubicBezTo>
                <a:cubicBezTo>
                  <a:pt x="234" y="155"/>
                  <a:pt x="231" y="151"/>
                  <a:pt x="229" y="154"/>
                </a:cubicBezTo>
                <a:cubicBezTo>
                  <a:pt x="227" y="157"/>
                  <a:pt x="231" y="168"/>
                  <a:pt x="233" y="171"/>
                </a:cubicBezTo>
                <a:cubicBezTo>
                  <a:pt x="235" y="174"/>
                  <a:pt x="231" y="174"/>
                  <a:pt x="229" y="174"/>
                </a:cubicBezTo>
                <a:cubicBezTo>
                  <a:pt x="227" y="175"/>
                  <a:pt x="226" y="166"/>
                  <a:pt x="224" y="162"/>
                </a:cubicBezTo>
                <a:cubicBezTo>
                  <a:pt x="221" y="159"/>
                  <a:pt x="212" y="155"/>
                  <a:pt x="211" y="157"/>
                </a:cubicBezTo>
                <a:cubicBezTo>
                  <a:pt x="210" y="160"/>
                  <a:pt x="217" y="160"/>
                  <a:pt x="216" y="163"/>
                </a:cubicBezTo>
                <a:cubicBezTo>
                  <a:pt x="215" y="167"/>
                  <a:pt x="212" y="161"/>
                  <a:pt x="208" y="164"/>
                </a:cubicBezTo>
                <a:cubicBezTo>
                  <a:pt x="205" y="167"/>
                  <a:pt x="205" y="165"/>
                  <a:pt x="206" y="162"/>
                </a:cubicBezTo>
                <a:cubicBezTo>
                  <a:pt x="207" y="159"/>
                  <a:pt x="201" y="156"/>
                  <a:pt x="195" y="157"/>
                </a:cubicBezTo>
                <a:cubicBezTo>
                  <a:pt x="189" y="157"/>
                  <a:pt x="192" y="162"/>
                  <a:pt x="190" y="163"/>
                </a:cubicBezTo>
                <a:cubicBezTo>
                  <a:pt x="189" y="165"/>
                  <a:pt x="179" y="162"/>
                  <a:pt x="185" y="161"/>
                </a:cubicBezTo>
                <a:cubicBezTo>
                  <a:pt x="191" y="160"/>
                  <a:pt x="189" y="157"/>
                  <a:pt x="187" y="153"/>
                </a:cubicBezTo>
                <a:cubicBezTo>
                  <a:pt x="184" y="150"/>
                  <a:pt x="179" y="154"/>
                  <a:pt x="169" y="157"/>
                </a:cubicBezTo>
                <a:cubicBezTo>
                  <a:pt x="160" y="161"/>
                  <a:pt x="155" y="164"/>
                  <a:pt x="157" y="164"/>
                </a:cubicBezTo>
                <a:cubicBezTo>
                  <a:pt x="158" y="165"/>
                  <a:pt x="158" y="166"/>
                  <a:pt x="154" y="169"/>
                </a:cubicBezTo>
                <a:cubicBezTo>
                  <a:pt x="151" y="172"/>
                  <a:pt x="154" y="175"/>
                  <a:pt x="158" y="175"/>
                </a:cubicBezTo>
                <a:cubicBezTo>
                  <a:pt x="161" y="175"/>
                  <a:pt x="158" y="178"/>
                  <a:pt x="161" y="179"/>
                </a:cubicBezTo>
                <a:cubicBezTo>
                  <a:pt x="163" y="179"/>
                  <a:pt x="174" y="174"/>
                  <a:pt x="177" y="176"/>
                </a:cubicBezTo>
                <a:cubicBezTo>
                  <a:pt x="180" y="179"/>
                  <a:pt x="159" y="180"/>
                  <a:pt x="159" y="183"/>
                </a:cubicBezTo>
                <a:cubicBezTo>
                  <a:pt x="159" y="187"/>
                  <a:pt x="170" y="189"/>
                  <a:pt x="179" y="188"/>
                </a:cubicBezTo>
                <a:cubicBezTo>
                  <a:pt x="187" y="186"/>
                  <a:pt x="202" y="189"/>
                  <a:pt x="202" y="191"/>
                </a:cubicBezTo>
                <a:cubicBezTo>
                  <a:pt x="202" y="193"/>
                  <a:pt x="192" y="193"/>
                  <a:pt x="185" y="192"/>
                </a:cubicBezTo>
                <a:cubicBezTo>
                  <a:pt x="177" y="192"/>
                  <a:pt x="164" y="194"/>
                  <a:pt x="165" y="197"/>
                </a:cubicBezTo>
                <a:cubicBezTo>
                  <a:pt x="165" y="200"/>
                  <a:pt x="166" y="200"/>
                  <a:pt x="174" y="203"/>
                </a:cubicBezTo>
                <a:cubicBezTo>
                  <a:pt x="182" y="207"/>
                  <a:pt x="190" y="201"/>
                  <a:pt x="190" y="207"/>
                </a:cubicBezTo>
                <a:cubicBezTo>
                  <a:pt x="190" y="212"/>
                  <a:pt x="194" y="213"/>
                  <a:pt x="205" y="213"/>
                </a:cubicBezTo>
                <a:cubicBezTo>
                  <a:pt x="216" y="214"/>
                  <a:pt x="220" y="208"/>
                  <a:pt x="226" y="209"/>
                </a:cubicBezTo>
                <a:cubicBezTo>
                  <a:pt x="231" y="209"/>
                  <a:pt x="233" y="208"/>
                  <a:pt x="236" y="204"/>
                </a:cubicBezTo>
                <a:cubicBezTo>
                  <a:pt x="238" y="201"/>
                  <a:pt x="240" y="203"/>
                  <a:pt x="241" y="205"/>
                </a:cubicBezTo>
                <a:cubicBezTo>
                  <a:pt x="241" y="207"/>
                  <a:pt x="248" y="206"/>
                  <a:pt x="250" y="208"/>
                </a:cubicBezTo>
                <a:cubicBezTo>
                  <a:pt x="254" y="212"/>
                  <a:pt x="267" y="211"/>
                  <a:pt x="271" y="208"/>
                </a:cubicBezTo>
                <a:cubicBezTo>
                  <a:pt x="276" y="206"/>
                  <a:pt x="269" y="199"/>
                  <a:pt x="267" y="202"/>
                </a:cubicBezTo>
                <a:cubicBezTo>
                  <a:pt x="264" y="205"/>
                  <a:pt x="262" y="203"/>
                  <a:pt x="262" y="202"/>
                </a:cubicBezTo>
                <a:cubicBezTo>
                  <a:pt x="261" y="200"/>
                  <a:pt x="267" y="199"/>
                  <a:pt x="268" y="197"/>
                </a:cubicBezTo>
                <a:close/>
                <a:moveTo>
                  <a:pt x="152" y="122"/>
                </a:moveTo>
                <a:cubicBezTo>
                  <a:pt x="158" y="123"/>
                  <a:pt x="163" y="118"/>
                  <a:pt x="163" y="115"/>
                </a:cubicBezTo>
                <a:cubicBezTo>
                  <a:pt x="163" y="112"/>
                  <a:pt x="150" y="122"/>
                  <a:pt x="152" y="122"/>
                </a:cubicBezTo>
                <a:close/>
                <a:moveTo>
                  <a:pt x="127" y="113"/>
                </a:moveTo>
                <a:cubicBezTo>
                  <a:pt x="129" y="114"/>
                  <a:pt x="127" y="119"/>
                  <a:pt x="129" y="117"/>
                </a:cubicBezTo>
                <a:cubicBezTo>
                  <a:pt x="132" y="116"/>
                  <a:pt x="132" y="116"/>
                  <a:pt x="134" y="117"/>
                </a:cubicBezTo>
                <a:cubicBezTo>
                  <a:pt x="138" y="118"/>
                  <a:pt x="138" y="115"/>
                  <a:pt x="140" y="113"/>
                </a:cubicBezTo>
                <a:cubicBezTo>
                  <a:pt x="141" y="112"/>
                  <a:pt x="141" y="119"/>
                  <a:pt x="145" y="119"/>
                </a:cubicBezTo>
                <a:cubicBezTo>
                  <a:pt x="148" y="119"/>
                  <a:pt x="147" y="111"/>
                  <a:pt x="150" y="113"/>
                </a:cubicBezTo>
                <a:cubicBezTo>
                  <a:pt x="154" y="116"/>
                  <a:pt x="154" y="113"/>
                  <a:pt x="155" y="110"/>
                </a:cubicBezTo>
                <a:cubicBezTo>
                  <a:pt x="156" y="108"/>
                  <a:pt x="156" y="105"/>
                  <a:pt x="159" y="104"/>
                </a:cubicBezTo>
                <a:cubicBezTo>
                  <a:pt x="162" y="103"/>
                  <a:pt x="160" y="107"/>
                  <a:pt x="161" y="110"/>
                </a:cubicBezTo>
                <a:cubicBezTo>
                  <a:pt x="163" y="114"/>
                  <a:pt x="167" y="110"/>
                  <a:pt x="168" y="109"/>
                </a:cubicBezTo>
                <a:cubicBezTo>
                  <a:pt x="168" y="107"/>
                  <a:pt x="173" y="108"/>
                  <a:pt x="173" y="106"/>
                </a:cubicBezTo>
                <a:cubicBezTo>
                  <a:pt x="173" y="104"/>
                  <a:pt x="175" y="103"/>
                  <a:pt x="173" y="101"/>
                </a:cubicBezTo>
                <a:cubicBezTo>
                  <a:pt x="172" y="98"/>
                  <a:pt x="176" y="99"/>
                  <a:pt x="177" y="97"/>
                </a:cubicBezTo>
                <a:cubicBezTo>
                  <a:pt x="179" y="95"/>
                  <a:pt x="175" y="97"/>
                  <a:pt x="172" y="94"/>
                </a:cubicBezTo>
                <a:cubicBezTo>
                  <a:pt x="169" y="91"/>
                  <a:pt x="168" y="95"/>
                  <a:pt x="168" y="97"/>
                </a:cubicBezTo>
                <a:cubicBezTo>
                  <a:pt x="168" y="99"/>
                  <a:pt x="162" y="97"/>
                  <a:pt x="158" y="96"/>
                </a:cubicBezTo>
                <a:cubicBezTo>
                  <a:pt x="155" y="95"/>
                  <a:pt x="151" y="100"/>
                  <a:pt x="146" y="102"/>
                </a:cubicBezTo>
                <a:cubicBezTo>
                  <a:pt x="141" y="105"/>
                  <a:pt x="141" y="109"/>
                  <a:pt x="136" y="109"/>
                </a:cubicBezTo>
                <a:cubicBezTo>
                  <a:pt x="132" y="108"/>
                  <a:pt x="125" y="113"/>
                  <a:pt x="127" y="113"/>
                </a:cubicBezTo>
                <a:close/>
                <a:moveTo>
                  <a:pt x="175" y="112"/>
                </a:moveTo>
                <a:cubicBezTo>
                  <a:pt x="170" y="112"/>
                  <a:pt x="171" y="117"/>
                  <a:pt x="176" y="117"/>
                </a:cubicBezTo>
                <a:cubicBezTo>
                  <a:pt x="180" y="117"/>
                  <a:pt x="182" y="118"/>
                  <a:pt x="175" y="118"/>
                </a:cubicBezTo>
                <a:cubicBezTo>
                  <a:pt x="168" y="117"/>
                  <a:pt x="165" y="124"/>
                  <a:pt x="170" y="122"/>
                </a:cubicBezTo>
                <a:cubicBezTo>
                  <a:pt x="175" y="121"/>
                  <a:pt x="180" y="121"/>
                  <a:pt x="177" y="122"/>
                </a:cubicBezTo>
                <a:cubicBezTo>
                  <a:pt x="173" y="124"/>
                  <a:pt x="163" y="124"/>
                  <a:pt x="165" y="126"/>
                </a:cubicBezTo>
                <a:cubicBezTo>
                  <a:pt x="165" y="128"/>
                  <a:pt x="169" y="127"/>
                  <a:pt x="173" y="129"/>
                </a:cubicBezTo>
                <a:cubicBezTo>
                  <a:pt x="177" y="130"/>
                  <a:pt x="180" y="131"/>
                  <a:pt x="183" y="128"/>
                </a:cubicBezTo>
                <a:cubicBezTo>
                  <a:pt x="186" y="124"/>
                  <a:pt x="190" y="121"/>
                  <a:pt x="188" y="126"/>
                </a:cubicBezTo>
                <a:cubicBezTo>
                  <a:pt x="187" y="130"/>
                  <a:pt x="193" y="127"/>
                  <a:pt x="201" y="127"/>
                </a:cubicBezTo>
                <a:cubicBezTo>
                  <a:pt x="210" y="126"/>
                  <a:pt x="200" y="132"/>
                  <a:pt x="191" y="132"/>
                </a:cubicBezTo>
                <a:cubicBezTo>
                  <a:pt x="183" y="133"/>
                  <a:pt x="184" y="137"/>
                  <a:pt x="191" y="139"/>
                </a:cubicBezTo>
                <a:cubicBezTo>
                  <a:pt x="198" y="140"/>
                  <a:pt x="212" y="134"/>
                  <a:pt x="216" y="131"/>
                </a:cubicBezTo>
                <a:cubicBezTo>
                  <a:pt x="219" y="128"/>
                  <a:pt x="222" y="133"/>
                  <a:pt x="225" y="130"/>
                </a:cubicBezTo>
                <a:cubicBezTo>
                  <a:pt x="229" y="128"/>
                  <a:pt x="235" y="131"/>
                  <a:pt x="241" y="129"/>
                </a:cubicBezTo>
                <a:cubicBezTo>
                  <a:pt x="247" y="128"/>
                  <a:pt x="248" y="117"/>
                  <a:pt x="243" y="115"/>
                </a:cubicBezTo>
                <a:cubicBezTo>
                  <a:pt x="239" y="113"/>
                  <a:pt x="239" y="117"/>
                  <a:pt x="236" y="118"/>
                </a:cubicBezTo>
                <a:cubicBezTo>
                  <a:pt x="232" y="119"/>
                  <a:pt x="230" y="114"/>
                  <a:pt x="228" y="112"/>
                </a:cubicBezTo>
                <a:cubicBezTo>
                  <a:pt x="225" y="109"/>
                  <a:pt x="227" y="104"/>
                  <a:pt x="223" y="104"/>
                </a:cubicBezTo>
                <a:cubicBezTo>
                  <a:pt x="219" y="105"/>
                  <a:pt x="210" y="111"/>
                  <a:pt x="216" y="112"/>
                </a:cubicBezTo>
                <a:cubicBezTo>
                  <a:pt x="221" y="113"/>
                  <a:pt x="219" y="115"/>
                  <a:pt x="216" y="117"/>
                </a:cubicBezTo>
                <a:cubicBezTo>
                  <a:pt x="213" y="118"/>
                  <a:pt x="223" y="120"/>
                  <a:pt x="221" y="122"/>
                </a:cubicBezTo>
                <a:cubicBezTo>
                  <a:pt x="220" y="124"/>
                  <a:pt x="206" y="122"/>
                  <a:pt x="205" y="119"/>
                </a:cubicBezTo>
                <a:cubicBezTo>
                  <a:pt x="205" y="116"/>
                  <a:pt x="194" y="110"/>
                  <a:pt x="189" y="112"/>
                </a:cubicBezTo>
                <a:cubicBezTo>
                  <a:pt x="185" y="113"/>
                  <a:pt x="187" y="108"/>
                  <a:pt x="182" y="108"/>
                </a:cubicBezTo>
                <a:cubicBezTo>
                  <a:pt x="177" y="107"/>
                  <a:pt x="179" y="112"/>
                  <a:pt x="175" y="112"/>
                </a:cubicBezTo>
                <a:close/>
                <a:moveTo>
                  <a:pt x="190" y="90"/>
                </a:moveTo>
                <a:cubicBezTo>
                  <a:pt x="192" y="86"/>
                  <a:pt x="180" y="87"/>
                  <a:pt x="181" y="88"/>
                </a:cubicBezTo>
                <a:cubicBezTo>
                  <a:pt x="183" y="91"/>
                  <a:pt x="189" y="94"/>
                  <a:pt x="190" y="90"/>
                </a:cubicBezTo>
                <a:close/>
                <a:moveTo>
                  <a:pt x="216" y="88"/>
                </a:moveTo>
                <a:cubicBezTo>
                  <a:pt x="220" y="88"/>
                  <a:pt x="218" y="85"/>
                  <a:pt x="212" y="86"/>
                </a:cubicBezTo>
                <a:cubicBezTo>
                  <a:pt x="205" y="87"/>
                  <a:pt x="194" y="87"/>
                  <a:pt x="194" y="91"/>
                </a:cubicBezTo>
                <a:cubicBezTo>
                  <a:pt x="194" y="95"/>
                  <a:pt x="196" y="97"/>
                  <a:pt x="203" y="97"/>
                </a:cubicBezTo>
                <a:cubicBezTo>
                  <a:pt x="210" y="98"/>
                  <a:pt x="216" y="91"/>
                  <a:pt x="213" y="91"/>
                </a:cubicBezTo>
                <a:cubicBezTo>
                  <a:pt x="210" y="91"/>
                  <a:pt x="212" y="89"/>
                  <a:pt x="216" y="88"/>
                </a:cubicBezTo>
                <a:close/>
                <a:moveTo>
                  <a:pt x="201" y="83"/>
                </a:moveTo>
                <a:cubicBezTo>
                  <a:pt x="204" y="84"/>
                  <a:pt x="207" y="80"/>
                  <a:pt x="209" y="82"/>
                </a:cubicBezTo>
                <a:cubicBezTo>
                  <a:pt x="211" y="84"/>
                  <a:pt x="221" y="85"/>
                  <a:pt x="221" y="80"/>
                </a:cubicBezTo>
                <a:cubicBezTo>
                  <a:pt x="221" y="75"/>
                  <a:pt x="209" y="75"/>
                  <a:pt x="206" y="77"/>
                </a:cubicBezTo>
                <a:cubicBezTo>
                  <a:pt x="203" y="78"/>
                  <a:pt x="189" y="79"/>
                  <a:pt x="193" y="82"/>
                </a:cubicBezTo>
                <a:cubicBezTo>
                  <a:pt x="195" y="84"/>
                  <a:pt x="198" y="81"/>
                  <a:pt x="201" y="83"/>
                </a:cubicBezTo>
                <a:close/>
                <a:moveTo>
                  <a:pt x="252" y="73"/>
                </a:moveTo>
                <a:cubicBezTo>
                  <a:pt x="256" y="71"/>
                  <a:pt x="262" y="75"/>
                  <a:pt x="261" y="77"/>
                </a:cubicBezTo>
                <a:cubicBezTo>
                  <a:pt x="260" y="80"/>
                  <a:pt x="249" y="77"/>
                  <a:pt x="250" y="79"/>
                </a:cubicBezTo>
                <a:cubicBezTo>
                  <a:pt x="250" y="80"/>
                  <a:pt x="252" y="84"/>
                  <a:pt x="259" y="82"/>
                </a:cubicBezTo>
                <a:cubicBezTo>
                  <a:pt x="266" y="80"/>
                  <a:pt x="272" y="81"/>
                  <a:pt x="277" y="85"/>
                </a:cubicBezTo>
                <a:cubicBezTo>
                  <a:pt x="282" y="89"/>
                  <a:pt x="287" y="91"/>
                  <a:pt x="290" y="87"/>
                </a:cubicBezTo>
                <a:cubicBezTo>
                  <a:pt x="293" y="83"/>
                  <a:pt x="286" y="82"/>
                  <a:pt x="287" y="79"/>
                </a:cubicBezTo>
                <a:cubicBezTo>
                  <a:pt x="289" y="76"/>
                  <a:pt x="282" y="74"/>
                  <a:pt x="279" y="74"/>
                </a:cubicBezTo>
                <a:cubicBezTo>
                  <a:pt x="276" y="74"/>
                  <a:pt x="274" y="68"/>
                  <a:pt x="272" y="69"/>
                </a:cubicBezTo>
                <a:cubicBezTo>
                  <a:pt x="269" y="70"/>
                  <a:pt x="267" y="73"/>
                  <a:pt x="267" y="69"/>
                </a:cubicBezTo>
                <a:cubicBezTo>
                  <a:pt x="267" y="65"/>
                  <a:pt x="251" y="64"/>
                  <a:pt x="247" y="66"/>
                </a:cubicBezTo>
                <a:cubicBezTo>
                  <a:pt x="243" y="67"/>
                  <a:pt x="248" y="76"/>
                  <a:pt x="252" y="73"/>
                </a:cubicBezTo>
                <a:close/>
                <a:moveTo>
                  <a:pt x="254" y="99"/>
                </a:moveTo>
                <a:cubicBezTo>
                  <a:pt x="256" y="96"/>
                  <a:pt x="244" y="86"/>
                  <a:pt x="244" y="91"/>
                </a:cubicBezTo>
                <a:cubicBezTo>
                  <a:pt x="243" y="95"/>
                  <a:pt x="251" y="102"/>
                  <a:pt x="254" y="99"/>
                </a:cubicBezTo>
                <a:close/>
                <a:moveTo>
                  <a:pt x="294" y="59"/>
                </a:moveTo>
                <a:cubicBezTo>
                  <a:pt x="296" y="55"/>
                  <a:pt x="281" y="52"/>
                  <a:pt x="285" y="55"/>
                </a:cubicBezTo>
                <a:cubicBezTo>
                  <a:pt x="287" y="57"/>
                  <a:pt x="292" y="62"/>
                  <a:pt x="294" y="59"/>
                </a:cubicBezTo>
                <a:close/>
                <a:moveTo>
                  <a:pt x="259" y="128"/>
                </a:moveTo>
                <a:cubicBezTo>
                  <a:pt x="261" y="126"/>
                  <a:pt x="255" y="121"/>
                  <a:pt x="253" y="125"/>
                </a:cubicBezTo>
                <a:cubicBezTo>
                  <a:pt x="251" y="129"/>
                  <a:pt x="257" y="131"/>
                  <a:pt x="259" y="128"/>
                </a:cubicBezTo>
                <a:close/>
                <a:moveTo>
                  <a:pt x="294" y="107"/>
                </a:moveTo>
                <a:cubicBezTo>
                  <a:pt x="293" y="110"/>
                  <a:pt x="286" y="106"/>
                  <a:pt x="281" y="104"/>
                </a:cubicBezTo>
                <a:cubicBezTo>
                  <a:pt x="275" y="102"/>
                  <a:pt x="279" y="108"/>
                  <a:pt x="283" y="112"/>
                </a:cubicBezTo>
                <a:cubicBezTo>
                  <a:pt x="287" y="116"/>
                  <a:pt x="281" y="114"/>
                  <a:pt x="275" y="110"/>
                </a:cubicBezTo>
                <a:cubicBezTo>
                  <a:pt x="269" y="106"/>
                  <a:pt x="270" y="113"/>
                  <a:pt x="273" y="115"/>
                </a:cubicBezTo>
                <a:cubicBezTo>
                  <a:pt x="275" y="117"/>
                  <a:pt x="272" y="120"/>
                  <a:pt x="268" y="115"/>
                </a:cubicBezTo>
                <a:cubicBezTo>
                  <a:pt x="265" y="110"/>
                  <a:pt x="263" y="105"/>
                  <a:pt x="257" y="105"/>
                </a:cubicBezTo>
                <a:cubicBezTo>
                  <a:pt x="251" y="104"/>
                  <a:pt x="254" y="110"/>
                  <a:pt x="256" y="113"/>
                </a:cubicBezTo>
                <a:cubicBezTo>
                  <a:pt x="259" y="117"/>
                  <a:pt x="262" y="118"/>
                  <a:pt x="267" y="121"/>
                </a:cubicBezTo>
                <a:cubicBezTo>
                  <a:pt x="272" y="124"/>
                  <a:pt x="280" y="120"/>
                  <a:pt x="284" y="121"/>
                </a:cubicBezTo>
                <a:cubicBezTo>
                  <a:pt x="287" y="121"/>
                  <a:pt x="280" y="126"/>
                  <a:pt x="282" y="129"/>
                </a:cubicBezTo>
                <a:cubicBezTo>
                  <a:pt x="285" y="132"/>
                  <a:pt x="291" y="130"/>
                  <a:pt x="296" y="130"/>
                </a:cubicBezTo>
                <a:cubicBezTo>
                  <a:pt x="302" y="129"/>
                  <a:pt x="299" y="126"/>
                  <a:pt x="302" y="124"/>
                </a:cubicBezTo>
                <a:cubicBezTo>
                  <a:pt x="305" y="122"/>
                  <a:pt x="299" y="122"/>
                  <a:pt x="302" y="117"/>
                </a:cubicBezTo>
                <a:cubicBezTo>
                  <a:pt x="304" y="112"/>
                  <a:pt x="294" y="104"/>
                  <a:pt x="294" y="107"/>
                </a:cubicBezTo>
                <a:close/>
                <a:moveTo>
                  <a:pt x="307" y="89"/>
                </a:moveTo>
                <a:cubicBezTo>
                  <a:pt x="311" y="89"/>
                  <a:pt x="315" y="88"/>
                  <a:pt x="319" y="87"/>
                </a:cubicBezTo>
                <a:cubicBezTo>
                  <a:pt x="323" y="85"/>
                  <a:pt x="317" y="85"/>
                  <a:pt x="319" y="81"/>
                </a:cubicBezTo>
                <a:cubicBezTo>
                  <a:pt x="322" y="78"/>
                  <a:pt x="313" y="77"/>
                  <a:pt x="312" y="79"/>
                </a:cubicBezTo>
                <a:cubicBezTo>
                  <a:pt x="311" y="80"/>
                  <a:pt x="299" y="71"/>
                  <a:pt x="298" y="74"/>
                </a:cubicBezTo>
                <a:cubicBezTo>
                  <a:pt x="296" y="77"/>
                  <a:pt x="302" y="89"/>
                  <a:pt x="307" y="89"/>
                </a:cubicBezTo>
                <a:close/>
                <a:moveTo>
                  <a:pt x="331" y="90"/>
                </a:moveTo>
                <a:cubicBezTo>
                  <a:pt x="331" y="88"/>
                  <a:pt x="307" y="91"/>
                  <a:pt x="311" y="94"/>
                </a:cubicBezTo>
                <a:cubicBezTo>
                  <a:pt x="317" y="99"/>
                  <a:pt x="332" y="92"/>
                  <a:pt x="331" y="90"/>
                </a:cubicBezTo>
                <a:close/>
                <a:moveTo>
                  <a:pt x="328" y="135"/>
                </a:moveTo>
                <a:cubicBezTo>
                  <a:pt x="333" y="135"/>
                  <a:pt x="331" y="128"/>
                  <a:pt x="325" y="123"/>
                </a:cubicBezTo>
                <a:cubicBezTo>
                  <a:pt x="318" y="119"/>
                  <a:pt x="305" y="128"/>
                  <a:pt x="307" y="130"/>
                </a:cubicBezTo>
                <a:cubicBezTo>
                  <a:pt x="310" y="132"/>
                  <a:pt x="322" y="135"/>
                  <a:pt x="328" y="135"/>
                </a:cubicBezTo>
                <a:close/>
                <a:moveTo>
                  <a:pt x="289" y="178"/>
                </a:moveTo>
                <a:cubicBezTo>
                  <a:pt x="296" y="182"/>
                  <a:pt x="293" y="174"/>
                  <a:pt x="301" y="174"/>
                </a:cubicBezTo>
                <a:cubicBezTo>
                  <a:pt x="309" y="175"/>
                  <a:pt x="309" y="162"/>
                  <a:pt x="310" y="157"/>
                </a:cubicBezTo>
                <a:cubicBezTo>
                  <a:pt x="311" y="153"/>
                  <a:pt x="304" y="153"/>
                  <a:pt x="306" y="157"/>
                </a:cubicBezTo>
                <a:cubicBezTo>
                  <a:pt x="308" y="160"/>
                  <a:pt x="306" y="163"/>
                  <a:pt x="305" y="159"/>
                </a:cubicBezTo>
                <a:cubicBezTo>
                  <a:pt x="304" y="155"/>
                  <a:pt x="299" y="159"/>
                  <a:pt x="296" y="156"/>
                </a:cubicBezTo>
                <a:cubicBezTo>
                  <a:pt x="294" y="153"/>
                  <a:pt x="303" y="153"/>
                  <a:pt x="305" y="149"/>
                </a:cubicBezTo>
                <a:cubicBezTo>
                  <a:pt x="307" y="145"/>
                  <a:pt x="298" y="145"/>
                  <a:pt x="300" y="142"/>
                </a:cubicBezTo>
                <a:cubicBezTo>
                  <a:pt x="303" y="139"/>
                  <a:pt x="287" y="142"/>
                  <a:pt x="292" y="144"/>
                </a:cubicBezTo>
                <a:cubicBezTo>
                  <a:pt x="296" y="146"/>
                  <a:pt x="292" y="149"/>
                  <a:pt x="288" y="146"/>
                </a:cubicBezTo>
                <a:cubicBezTo>
                  <a:pt x="283" y="142"/>
                  <a:pt x="271" y="148"/>
                  <a:pt x="276" y="151"/>
                </a:cubicBezTo>
                <a:cubicBezTo>
                  <a:pt x="279" y="154"/>
                  <a:pt x="289" y="149"/>
                  <a:pt x="283" y="157"/>
                </a:cubicBezTo>
                <a:cubicBezTo>
                  <a:pt x="278" y="165"/>
                  <a:pt x="275" y="155"/>
                  <a:pt x="270" y="156"/>
                </a:cubicBezTo>
                <a:cubicBezTo>
                  <a:pt x="264" y="157"/>
                  <a:pt x="267" y="164"/>
                  <a:pt x="275" y="166"/>
                </a:cubicBezTo>
                <a:cubicBezTo>
                  <a:pt x="283" y="168"/>
                  <a:pt x="282" y="173"/>
                  <a:pt x="289" y="178"/>
                </a:cubicBezTo>
                <a:close/>
                <a:moveTo>
                  <a:pt x="339" y="129"/>
                </a:moveTo>
                <a:cubicBezTo>
                  <a:pt x="341" y="135"/>
                  <a:pt x="343" y="131"/>
                  <a:pt x="347" y="133"/>
                </a:cubicBezTo>
                <a:cubicBezTo>
                  <a:pt x="350" y="135"/>
                  <a:pt x="355" y="137"/>
                  <a:pt x="358" y="135"/>
                </a:cubicBezTo>
                <a:cubicBezTo>
                  <a:pt x="361" y="132"/>
                  <a:pt x="362" y="130"/>
                  <a:pt x="363" y="132"/>
                </a:cubicBezTo>
                <a:cubicBezTo>
                  <a:pt x="364" y="136"/>
                  <a:pt x="371" y="136"/>
                  <a:pt x="386" y="137"/>
                </a:cubicBezTo>
                <a:cubicBezTo>
                  <a:pt x="400" y="137"/>
                  <a:pt x="397" y="131"/>
                  <a:pt x="401" y="133"/>
                </a:cubicBezTo>
                <a:cubicBezTo>
                  <a:pt x="405" y="135"/>
                  <a:pt x="415" y="135"/>
                  <a:pt x="419" y="135"/>
                </a:cubicBezTo>
                <a:cubicBezTo>
                  <a:pt x="423" y="134"/>
                  <a:pt x="426" y="127"/>
                  <a:pt x="425" y="124"/>
                </a:cubicBezTo>
                <a:cubicBezTo>
                  <a:pt x="425" y="120"/>
                  <a:pt x="392" y="117"/>
                  <a:pt x="387" y="121"/>
                </a:cubicBezTo>
                <a:cubicBezTo>
                  <a:pt x="381" y="124"/>
                  <a:pt x="372" y="119"/>
                  <a:pt x="367" y="122"/>
                </a:cubicBezTo>
                <a:cubicBezTo>
                  <a:pt x="362" y="124"/>
                  <a:pt x="364" y="119"/>
                  <a:pt x="356" y="118"/>
                </a:cubicBezTo>
                <a:cubicBezTo>
                  <a:pt x="347" y="118"/>
                  <a:pt x="356" y="114"/>
                  <a:pt x="358" y="112"/>
                </a:cubicBezTo>
                <a:cubicBezTo>
                  <a:pt x="359" y="110"/>
                  <a:pt x="345" y="105"/>
                  <a:pt x="340" y="106"/>
                </a:cubicBezTo>
                <a:cubicBezTo>
                  <a:pt x="334" y="108"/>
                  <a:pt x="330" y="105"/>
                  <a:pt x="325" y="102"/>
                </a:cubicBezTo>
                <a:cubicBezTo>
                  <a:pt x="319" y="100"/>
                  <a:pt x="304" y="100"/>
                  <a:pt x="307" y="105"/>
                </a:cubicBezTo>
                <a:cubicBezTo>
                  <a:pt x="310" y="108"/>
                  <a:pt x="327" y="114"/>
                  <a:pt x="329" y="111"/>
                </a:cubicBezTo>
                <a:cubicBezTo>
                  <a:pt x="331" y="108"/>
                  <a:pt x="336" y="115"/>
                  <a:pt x="338" y="118"/>
                </a:cubicBezTo>
                <a:cubicBezTo>
                  <a:pt x="341" y="121"/>
                  <a:pt x="336" y="123"/>
                  <a:pt x="339" y="129"/>
                </a:cubicBezTo>
                <a:close/>
                <a:moveTo>
                  <a:pt x="354" y="93"/>
                </a:moveTo>
                <a:cubicBezTo>
                  <a:pt x="349" y="90"/>
                  <a:pt x="342" y="96"/>
                  <a:pt x="347" y="98"/>
                </a:cubicBezTo>
                <a:cubicBezTo>
                  <a:pt x="352" y="100"/>
                  <a:pt x="360" y="95"/>
                  <a:pt x="354" y="93"/>
                </a:cubicBezTo>
                <a:close/>
                <a:moveTo>
                  <a:pt x="310" y="59"/>
                </a:moveTo>
                <a:cubicBezTo>
                  <a:pt x="315" y="61"/>
                  <a:pt x="312" y="64"/>
                  <a:pt x="317" y="66"/>
                </a:cubicBezTo>
                <a:cubicBezTo>
                  <a:pt x="322" y="68"/>
                  <a:pt x="336" y="63"/>
                  <a:pt x="337" y="66"/>
                </a:cubicBezTo>
                <a:cubicBezTo>
                  <a:pt x="338" y="70"/>
                  <a:pt x="323" y="70"/>
                  <a:pt x="325" y="72"/>
                </a:cubicBezTo>
                <a:cubicBezTo>
                  <a:pt x="327" y="74"/>
                  <a:pt x="336" y="78"/>
                  <a:pt x="335" y="80"/>
                </a:cubicBezTo>
                <a:cubicBezTo>
                  <a:pt x="333" y="81"/>
                  <a:pt x="349" y="87"/>
                  <a:pt x="351" y="84"/>
                </a:cubicBezTo>
                <a:cubicBezTo>
                  <a:pt x="352" y="82"/>
                  <a:pt x="357" y="82"/>
                  <a:pt x="361" y="84"/>
                </a:cubicBezTo>
                <a:cubicBezTo>
                  <a:pt x="365" y="85"/>
                  <a:pt x="365" y="74"/>
                  <a:pt x="368" y="76"/>
                </a:cubicBezTo>
                <a:cubicBezTo>
                  <a:pt x="370" y="78"/>
                  <a:pt x="370" y="72"/>
                  <a:pt x="375" y="70"/>
                </a:cubicBezTo>
                <a:cubicBezTo>
                  <a:pt x="379" y="69"/>
                  <a:pt x="386" y="69"/>
                  <a:pt x="386" y="66"/>
                </a:cubicBezTo>
                <a:cubicBezTo>
                  <a:pt x="387" y="65"/>
                  <a:pt x="385" y="63"/>
                  <a:pt x="380" y="63"/>
                </a:cubicBezTo>
                <a:cubicBezTo>
                  <a:pt x="374" y="64"/>
                  <a:pt x="370" y="62"/>
                  <a:pt x="373" y="59"/>
                </a:cubicBezTo>
                <a:cubicBezTo>
                  <a:pt x="375" y="56"/>
                  <a:pt x="367" y="55"/>
                  <a:pt x="370" y="52"/>
                </a:cubicBezTo>
                <a:cubicBezTo>
                  <a:pt x="373" y="50"/>
                  <a:pt x="364" y="48"/>
                  <a:pt x="365" y="51"/>
                </a:cubicBezTo>
                <a:cubicBezTo>
                  <a:pt x="366" y="55"/>
                  <a:pt x="359" y="51"/>
                  <a:pt x="358" y="48"/>
                </a:cubicBezTo>
                <a:cubicBezTo>
                  <a:pt x="358" y="45"/>
                  <a:pt x="345" y="44"/>
                  <a:pt x="337" y="36"/>
                </a:cubicBezTo>
                <a:cubicBezTo>
                  <a:pt x="329" y="29"/>
                  <a:pt x="320" y="34"/>
                  <a:pt x="325" y="35"/>
                </a:cubicBezTo>
                <a:cubicBezTo>
                  <a:pt x="330" y="36"/>
                  <a:pt x="329" y="38"/>
                  <a:pt x="325" y="38"/>
                </a:cubicBezTo>
                <a:cubicBezTo>
                  <a:pt x="321" y="37"/>
                  <a:pt x="314" y="38"/>
                  <a:pt x="321" y="40"/>
                </a:cubicBezTo>
                <a:cubicBezTo>
                  <a:pt x="327" y="43"/>
                  <a:pt x="320" y="44"/>
                  <a:pt x="315" y="44"/>
                </a:cubicBezTo>
                <a:cubicBezTo>
                  <a:pt x="310" y="44"/>
                  <a:pt x="310" y="51"/>
                  <a:pt x="316" y="51"/>
                </a:cubicBezTo>
                <a:cubicBezTo>
                  <a:pt x="323" y="52"/>
                  <a:pt x="318" y="56"/>
                  <a:pt x="313" y="55"/>
                </a:cubicBezTo>
                <a:cubicBezTo>
                  <a:pt x="307" y="53"/>
                  <a:pt x="305" y="56"/>
                  <a:pt x="310" y="59"/>
                </a:cubicBezTo>
                <a:close/>
                <a:moveTo>
                  <a:pt x="347" y="28"/>
                </a:moveTo>
                <a:cubicBezTo>
                  <a:pt x="351" y="26"/>
                  <a:pt x="355" y="27"/>
                  <a:pt x="351" y="29"/>
                </a:cubicBezTo>
                <a:cubicBezTo>
                  <a:pt x="347" y="31"/>
                  <a:pt x="349" y="32"/>
                  <a:pt x="354" y="32"/>
                </a:cubicBezTo>
                <a:cubicBezTo>
                  <a:pt x="359" y="32"/>
                  <a:pt x="352" y="33"/>
                  <a:pt x="352" y="37"/>
                </a:cubicBezTo>
                <a:cubicBezTo>
                  <a:pt x="352" y="40"/>
                  <a:pt x="358" y="38"/>
                  <a:pt x="358" y="41"/>
                </a:cubicBezTo>
                <a:cubicBezTo>
                  <a:pt x="358" y="44"/>
                  <a:pt x="372" y="45"/>
                  <a:pt x="376" y="41"/>
                </a:cubicBezTo>
                <a:cubicBezTo>
                  <a:pt x="380" y="38"/>
                  <a:pt x="378" y="42"/>
                  <a:pt x="378" y="45"/>
                </a:cubicBezTo>
                <a:cubicBezTo>
                  <a:pt x="377" y="47"/>
                  <a:pt x="396" y="49"/>
                  <a:pt x="397" y="46"/>
                </a:cubicBezTo>
                <a:cubicBezTo>
                  <a:pt x="398" y="43"/>
                  <a:pt x="401" y="44"/>
                  <a:pt x="405" y="45"/>
                </a:cubicBezTo>
                <a:cubicBezTo>
                  <a:pt x="408" y="46"/>
                  <a:pt x="426" y="42"/>
                  <a:pt x="427" y="38"/>
                </a:cubicBezTo>
                <a:cubicBezTo>
                  <a:pt x="427" y="35"/>
                  <a:pt x="432" y="40"/>
                  <a:pt x="427" y="44"/>
                </a:cubicBezTo>
                <a:cubicBezTo>
                  <a:pt x="421" y="48"/>
                  <a:pt x="409" y="48"/>
                  <a:pt x="404" y="49"/>
                </a:cubicBezTo>
                <a:cubicBezTo>
                  <a:pt x="399" y="51"/>
                  <a:pt x="407" y="54"/>
                  <a:pt x="412" y="58"/>
                </a:cubicBezTo>
                <a:cubicBezTo>
                  <a:pt x="418" y="62"/>
                  <a:pt x="406" y="60"/>
                  <a:pt x="401" y="55"/>
                </a:cubicBezTo>
                <a:cubicBezTo>
                  <a:pt x="396" y="50"/>
                  <a:pt x="385" y="50"/>
                  <a:pt x="379" y="50"/>
                </a:cubicBezTo>
                <a:cubicBezTo>
                  <a:pt x="373" y="50"/>
                  <a:pt x="375" y="61"/>
                  <a:pt x="380" y="61"/>
                </a:cubicBezTo>
                <a:cubicBezTo>
                  <a:pt x="384" y="61"/>
                  <a:pt x="388" y="62"/>
                  <a:pt x="392" y="69"/>
                </a:cubicBezTo>
                <a:cubicBezTo>
                  <a:pt x="397" y="76"/>
                  <a:pt x="406" y="74"/>
                  <a:pt x="406" y="77"/>
                </a:cubicBezTo>
                <a:cubicBezTo>
                  <a:pt x="406" y="80"/>
                  <a:pt x="394" y="75"/>
                  <a:pt x="387" y="74"/>
                </a:cubicBezTo>
                <a:cubicBezTo>
                  <a:pt x="380" y="73"/>
                  <a:pt x="370" y="77"/>
                  <a:pt x="369" y="82"/>
                </a:cubicBezTo>
                <a:cubicBezTo>
                  <a:pt x="369" y="87"/>
                  <a:pt x="379" y="86"/>
                  <a:pt x="386" y="82"/>
                </a:cubicBezTo>
                <a:cubicBezTo>
                  <a:pt x="393" y="78"/>
                  <a:pt x="388" y="83"/>
                  <a:pt x="384" y="86"/>
                </a:cubicBezTo>
                <a:cubicBezTo>
                  <a:pt x="381" y="89"/>
                  <a:pt x="392" y="92"/>
                  <a:pt x="392" y="95"/>
                </a:cubicBezTo>
                <a:cubicBezTo>
                  <a:pt x="392" y="99"/>
                  <a:pt x="384" y="98"/>
                  <a:pt x="383" y="95"/>
                </a:cubicBezTo>
                <a:cubicBezTo>
                  <a:pt x="382" y="91"/>
                  <a:pt x="379" y="88"/>
                  <a:pt x="371" y="88"/>
                </a:cubicBezTo>
                <a:cubicBezTo>
                  <a:pt x="363" y="89"/>
                  <a:pt x="365" y="95"/>
                  <a:pt x="370" y="95"/>
                </a:cubicBezTo>
                <a:cubicBezTo>
                  <a:pt x="375" y="96"/>
                  <a:pt x="376" y="99"/>
                  <a:pt x="370" y="99"/>
                </a:cubicBezTo>
                <a:cubicBezTo>
                  <a:pt x="365" y="99"/>
                  <a:pt x="352" y="103"/>
                  <a:pt x="356" y="106"/>
                </a:cubicBezTo>
                <a:cubicBezTo>
                  <a:pt x="360" y="110"/>
                  <a:pt x="376" y="106"/>
                  <a:pt x="379" y="109"/>
                </a:cubicBezTo>
                <a:cubicBezTo>
                  <a:pt x="381" y="111"/>
                  <a:pt x="389" y="112"/>
                  <a:pt x="391" y="110"/>
                </a:cubicBezTo>
                <a:cubicBezTo>
                  <a:pt x="393" y="107"/>
                  <a:pt x="399" y="108"/>
                  <a:pt x="405" y="108"/>
                </a:cubicBezTo>
                <a:cubicBezTo>
                  <a:pt x="411" y="108"/>
                  <a:pt x="412" y="109"/>
                  <a:pt x="415" y="111"/>
                </a:cubicBezTo>
                <a:cubicBezTo>
                  <a:pt x="418" y="114"/>
                  <a:pt x="423" y="113"/>
                  <a:pt x="426" y="110"/>
                </a:cubicBezTo>
                <a:cubicBezTo>
                  <a:pt x="430" y="108"/>
                  <a:pt x="430" y="108"/>
                  <a:pt x="434" y="108"/>
                </a:cubicBezTo>
                <a:cubicBezTo>
                  <a:pt x="438" y="108"/>
                  <a:pt x="439" y="105"/>
                  <a:pt x="437" y="102"/>
                </a:cubicBezTo>
                <a:cubicBezTo>
                  <a:pt x="435" y="99"/>
                  <a:pt x="429" y="104"/>
                  <a:pt x="429" y="102"/>
                </a:cubicBezTo>
                <a:cubicBezTo>
                  <a:pt x="428" y="99"/>
                  <a:pt x="423" y="98"/>
                  <a:pt x="414" y="99"/>
                </a:cubicBezTo>
                <a:cubicBezTo>
                  <a:pt x="406" y="100"/>
                  <a:pt x="409" y="94"/>
                  <a:pt x="415" y="95"/>
                </a:cubicBezTo>
                <a:cubicBezTo>
                  <a:pt x="420" y="97"/>
                  <a:pt x="427" y="96"/>
                  <a:pt x="433" y="95"/>
                </a:cubicBezTo>
                <a:cubicBezTo>
                  <a:pt x="438" y="93"/>
                  <a:pt x="434" y="90"/>
                  <a:pt x="434" y="88"/>
                </a:cubicBezTo>
                <a:cubicBezTo>
                  <a:pt x="434" y="85"/>
                  <a:pt x="441" y="87"/>
                  <a:pt x="447" y="87"/>
                </a:cubicBezTo>
                <a:cubicBezTo>
                  <a:pt x="452" y="87"/>
                  <a:pt x="460" y="78"/>
                  <a:pt x="460" y="73"/>
                </a:cubicBezTo>
                <a:cubicBezTo>
                  <a:pt x="461" y="68"/>
                  <a:pt x="448" y="69"/>
                  <a:pt x="442" y="69"/>
                </a:cubicBezTo>
                <a:cubicBezTo>
                  <a:pt x="436" y="69"/>
                  <a:pt x="446" y="64"/>
                  <a:pt x="458" y="65"/>
                </a:cubicBezTo>
                <a:cubicBezTo>
                  <a:pt x="469" y="66"/>
                  <a:pt x="464" y="60"/>
                  <a:pt x="466" y="59"/>
                </a:cubicBezTo>
                <a:cubicBezTo>
                  <a:pt x="468" y="57"/>
                  <a:pt x="474" y="61"/>
                  <a:pt x="480" y="59"/>
                </a:cubicBezTo>
                <a:cubicBezTo>
                  <a:pt x="485" y="58"/>
                  <a:pt x="482" y="53"/>
                  <a:pt x="485" y="53"/>
                </a:cubicBezTo>
                <a:cubicBezTo>
                  <a:pt x="488" y="53"/>
                  <a:pt x="495" y="49"/>
                  <a:pt x="507" y="42"/>
                </a:cubicBezTo>
                <a:cubicBezTo>
                  <a:pt x="520" y="35"/>
                  <a:pt x="529" y="36"/>
                  <a:pt x="530" y="32"/>
                </a:cubicBezTo>
                <a:cubicBezTo>
                  <a:pt x="531" y="28"/>
                  <a:pt x="513" y="32"/>
                  <a:pt x="510" y="31"/>
                </a:cubicBezTo>
                <a:cubicBezTo>
                  <a:pt x="507" y="30"/>
                  <a:pt x="522" y="26"/>
                  <a:pt x="526" y="27"/>
                </a:cubicBezTo>
                <a:cubicBezTo>
                  <a:pt x="529" y="28"/>
                  <a:pt x="534" y="27"/>
                  <a:pt x="547" y="21"/>
                </a:cubicBezTo>
                <a:cubicBezTo>
                  <a:pt x="559" y="15"/>
                  <a:pt x="554" y="14"/>
                  <a:pt x="549" y="15"/>
                </a:cubicBezTo>
                <a:cubicBezTo>
                  <a:pt x="543" y="15"/>
                  <a:pt x="538" y="14"/>
                  <a:pt x="538" y="10"/>
                </a:cubicBezTo>
                <a:cubicBezTo>
                  <a:pt x="538" y="7"/>
                  <a:pt x="530" y="10"/>
                  <a:pt x="530" y="8"/>
                </a:cubicBezTo>
                <a:cubicBezTo>
                  <a:pt x="530" y="6"/>
                  <a:pt x="522" y="7"/>
                  <a:pt x="514" y="10"/>
                </a:cubicBezTo>
                <a:cubicBezTo>
                  <a:pt x="507" y="13"/>
                  <a:pt x="514" y="7"/>
                  <a:pt x="517" y="6"/>
                </a:cubicBezTo>
                <a:cubicBezTo>
                  <a:pt x="521" y="5"/>
                  <a:pt x="497" y="6"/>
                  <a:pt x="493" y="3"/>
                </a:cubicBezTo>
                <a:cubicBezTo>
                  <a:pt x="489" y="0"/>
                  <a:pt x="485" y="8"/>
                  <a:pt x="481" y="4"/>
                </a:cubicBezTo>
                <a:cubicBezTo>
                  <a:pt x="477" y="0"/>
                  <a:pt x="468" y="4"/>
                  <a:pt x="469" y="6"/>
                </a:cubicBezTo>
                <a:cubicBezTo>
                  <a:pt x="470" y="9"/>
                  <a:pt x="467" y="9"/>
                  <a:pt x="464" y="6"/>
                </a:cubicBezTo>
                <a:cubicBezTo>
                  <a:pt x="460" y="3"/>
                  <a:pt x="453" y="6"/>
                  <a:pt x="447" y="5"/>
                </a:cubicBezTo>
                <a:cubicBezTo>
                  <a:pt x="440" y="4"/>
                  <a:pt x="443" y="11"/>
                  <a:pt x="436" y="8"/>
                </a:cubicBezTo>
                <a:cubicBezTo>
                  <a:pt x="429" y="4"/>
                  <a:pt x="421" y="6"/>
                  <a:pt x="423" y="7"/>
                </a:cubicBezTo>
                <a:cubicBezTo>
                  <a:pt x="426" y="8"/>
                  <a:pt x="423" y="10"/>
                  <a:pt x="420" y="9"/>
                </a:cubicBezTo>
                <a:cubicBezTo>
                  <a:pt x="417" y="8"/>
                  <a:pt x="414" y="9"/>
                  <a:pt x="416" y="12"/>
                </a:cubicBezTo>
                <a:cubicBezTo>
                  <a:pt x="417" y="15"/>
                  <a:pt x="404" y="11"/>
                  <a:pt x="404" y="15"/>
                </a:cubicBezTo>
                <a:cubicBezTo>
                  <a:pt x="404" y="18"/>
                  <a:pt x="400" y="20"/>
                  <a:pt x="396" y="17"/>
                </a:cubicBezTo>
                <a:cubicBezTo>
                  <a:pt x="392" y="14"/>
                  <a:pt x="381" y="13"/>
                  <a:pt x="384" y="15"/>
                </a:cubicBezTo>
                <a:cubicBezTo>
                  <a:pt x="387" y="18"/>
                  <a:pt x="374" y="17"/>
                  <a:pt x="377" y="19"/>
                </a:cubicBezTo>
                <a:cubicBezTo>
                  <a:pt x="381" y="22"/>
                  <a:pt x="373" y="24"/>
                  <a:pt x="373" y="23"/>
                </a:cubicBezTo>
                <a:cubicBezTo>
                  <a:pt x="373" y="21"/>
                  <a:pt x="365" y="19"/>
                  <a:pt x="362" y="21"/>
                </a:cubicBezTo>
                <a:cubicBezTo>
                  <a:pt x="359" y="24"/>
                  <a:pt x="358" y="27"/>
                  <a:pt x="357" y="26"/>
                </a:cubicBezTo>
                <a:cubicBezTo>
                  <a:pt x="355" y="24"/>
                  <a:pt x="348" y="24"/>
                  <a:pt x="342" y="27"/>
                </a:cubicBezTo>
                <a:cubicBezTo>
                  <a:pt x="336" y="29"/>
                  <a:pt x="343" y="31"/>
                  <a:pt x="347" y="28"/>
                </a:cubicBezTo>
                <a:close/>
                <a:moveTo>
                  <a:pt x="424" y="292"/>
                </a:moveTo>
                <a:cubicBezTo>
                  <a:pt x="426" y="292"/>
                  <a:pt x="431" y="284"/>
                  <a:pt x="425" y="284"/>
                </a:cubicBezTo>
                <a:cubicBezTo>
                  <a:pt x="420" y="284"/>
                  <a:pt x="421" y="292"/>
                  <a:pt x="424" y="292"/>
                </a:cubicBezTo>
                <a:close/>
                <a:moveTo>
                  <a:pt x="397" y="285"/>
                </a:moveTo>
                <a:cubicBezTo>
                  <a:pt x="402" y="288"/>
                  <a:pt x="409" y="280"/>
                  <a:pt x="409" y="277"/>
                </a:cubicBezTo>
                <a:cubicBezTo>
                  <a:pt x="408" y="275"/>
                  <a:pt x="391" y="281"/>
                  <a:pt x="397" y="285"/>
                </a:cubicBezTo>
                <a:close/>
                <a:moveTo>
                  <a:pt x="419" y="268"/>
                </a:moveTo>
                <a:cubicBezTo>
                  <a:pt x="420" y="265"/>
                  <a:pt x="409" y="264"/>
                  <a:pt x="410" y="261"/>
                </a:cubicBezTo>
                <a:cubicBezTo>
                  <a:pt x="410" y="257"/>
                  <a:pt x="400" y="255"/>
                  <a:pt x="396" y="253"/>
                </a:cubicBezTo>
                <a:cubicBezTo>
                  <a:pt x="393" y="251"/>
                  <a:pt x="388" y="250"/>
                  <a:pt x="388" y="246"/>
                </a:cubicBezTo>
                <a:cubicBezTo>
                  <a:pt x="388" y="243"/>
                  <a:pt x="380" y="245"/>
                  <a:pt x="380" y="251"/>
                </a:cubicBezTo>
                <a:cubicBezTo>
                  <a:pt x="380" y="256"/>
                  <a:pt x="377" y="255"/>
                  <a:pt x="378" y="260"/>
                </a:cubicBezTo>
                <a:cubicBezTo>
                  <a:pt x="380" y="266"/>
                  <a:pt x="372" y="267"/>
                  <a:pt x="372" y="270"/>
                </a:cubicBezTo>
                <a:cubicBezTo>
                  <a:pt x="373" y="272"/>
                  <a:pt x="377" y="269"/>
                  <a:pt x="381" y="269"/>
                </a:cubicBezTo>
                <a:cubicBezTo>
                  <a:pt x="385" y="269"/>
                  <a:pt x="380" y="274"/>
                  <a:pt x="385" y="275"/>
                </a:cubicBezTo>
                <a:cubicBezTo>
                  <a:pt x="388" y="275"/>
                  <a:pt x="395" y="271"/>
                  <a:pt x="396" y="268"/>
                </a:cubicBezTo>
                <a:cubicBezTo>
                  <a:pt x="398" y="266"/>
                  <a:pt x="401" y="265"/>
                  <a:pt x="405" y="268"/>
                </a:cubicBezTo>
                <a:cubicBezTo>
                  <a:pt x="409" y="271"/>
                  <a:pt x="419" y="271"/>
                  <a:pt x="419" y="268"/>
                </a:cubicBezTo>
                <a:close/>
                <a:moveTo>
                  <a:pt x="519" y="241"/>
                </a:moveTo>
                <a:cubicBezTo>
                  <a:pt x="523" y="242"/>
                  <a:pt x="523" y="246"/>
                  <a:pt x="529" y="251"/>
                </a:cubicBezTo>
                <a:cubicBezTo>
                  <a:pt x="535" y="256"/>
                  <a:pt x="536" y="253"/>
                  <a:pt x="536" y="249"/>
                </a:cubicBezTo>
                <a:cubicBezTo>
                  <a:pt x="537" y="246"/>
                  <a:pt x="544" y="249"/>
                  <a:pt x="543" y="245"/>
                </a:cubicBezTo>
                <a:cubicBezTo>
                  <a:pt x="543" y="242"/>
                  <a:pt x="549" y="238"/>
                  <a:pt x="552" y="237"/>
                </a:cubicBezTo>
                <a:cubicBezTo>
                  <a:pt x="556" y="235"/>
                  <a:pt x="549" y="231"/>
                  <a:pt x="544" y="232"/>
                </a:cubicBezTo>
                <a:cubicBezTo>
                  <a:pt x="540" y="232"/>
                  <a:pt x="539" y="229"/>
                  <a:pt x="539" y="226"/>
                </a:cubicBezTo>
                <a:cubicBezTo>
                  <a:pt x="539" y="224"/>
                  <a:pt x="529" y="219"/>
                  <a:pt x="526" y="220"/>
                </a:cubicBezTo>
                <a:cubicBezTo>
                  <a:pt x="523" y="221"/>
                  <a:pt x="518" y="216"/>
                  <a:pt x="514" y="216"/>
                </a:cubicBezTo>
                <a:cubicBezTo>
                  <a:pt x="510" y="215"/>
                  <a:pt x="504" y="212"/>
                  <a:pt x="505" y="208"/>
                </a:cubicBezTo>
                <a:cubicBezTo>
                  <a:pt x="506" y="204"/>
                  <a:pt x="513" y="209"/>
                  <a:pt x="514" y="206"/>
                </a:cubicBezTo>
                <a:cubicBezTo>
                  <a:pt x="516" y="203"/>
                  <a:pt x="507" y="204"/>
                  <a:pt x="507" y="202"/>
                </a:cubicBezTo>
                <a:cubicBezTo>
                  <a:pt x="506" y="200"/>
                  <a:pt x="509" y="201"/>
                  <a:pt x="511" y="199"/>
                </a:cubicBezTo>
                <a:cubicBezTo>
                  <a:pt x="512" y="197"/>
                  <a:pt x="509" y="194"/>
                  <a:pt x="507" y="193"/>
                </a:cubicBezTo>
                <a:cubicBezTo>
                  <a:pt x="505" y="192"/>
                  <a:pt x="504" y="196"/>
                  <a:pt x="502" y="196"/>
                </a:cubicBezTo>
                <a:cubicBezTo>
                  <a:pt x="500" y="196"/>
                  <a:pt x="502" y="192"/>
                  <a:pt x="503" y="190"/>
                </a:cubicBezTo>
                <a:cubicBezTo>
                  <a:pt x="505" y="188"/>
                  <a:pt x="496" y="186"/>
                  <a:pt x="492" y="187"/>
                </a:cubicBezTo>
                <a:cubicBezTo>
                  <a:pt x="489" y="188"/>
                  <a:pt x="488" y="186"/>
                  <a:pt x="488" y="183"/>
                </a:cubicBezTo>
                <a:cubicBezTo>
                  <a:pt x="488" y="181"/>
                  <a:pt x="481" y="183"/>
                  <a:pt x="479" y="185"/>
                </a:cubicBezTo>
                <a:cubicBezTo>
                  <a:pt x="476" y="187"/>
                  <a:pt x="473" y="183"/>
                  <a:pt x="476" y="183"/>
                </a:cubicBezTo>
                <a:cubicBezTo>
                  <a:pt x="479" y="183"/>
                  <a:pt x="483" y="180"/>
                  <a:pt x="482" y="178"/>
                </a:cubicBezTo>
                <a:cubicBezTo>
                  <a:pt x="481" y="175"/>
                  <a:pt x="473" y="175"/>
                  <a:pt x="472" y="178"/>
                </a:cubicBezTo>
                <a:cubicBezTo>
                  <a:pt x="470" y="181"/>
                  <a:pt x="464" y="174"/>
                  <a:pt x="464" y="172"/>
                </a:cubicBezTo>
                <a:cubicBezTo>
                  <a:pt x="464" y="169"/>
                  <a:pt x="454" y="171"/>
                  <a:pt x="455" y="167"/>
                </a:cubicBezTo>
                <a:cubicBezTo>
                  <a:pt x="456" y="162"/>
                  <a:pt x="444" y="161"/>
                  <a:pt x="441" y="161"/>
                </a:cubicBezTo>
                <a:cubicBezTo>
                  <a:pt x="437" y="161"/>
                  <a:pt x="432" y="164"/>
                  <a:pt x="433" y="167"/>
                </a:cubicBezTo>
                <a:cubicBezTo>
                  <a:pt x="434" y="170"/>
                  <a:pt x="429" y="168"/>
                  <a:pt x="429" y="165"/>
                </a:cubicBezTo>
                <a:cubicBezTo>
                  <a:pt x="428" y="162"/>
                  <a:pt x="420" y="169"/>
                  <a:pt x="417" y="169"/>
                </a:cubicBezTo>
                <a:cubicBezTo>
                  <a:pt x="415" y="169"/>
                  <a:pt x="419" y="160"/>
                  <a:pt x="418" y="157"/>
                </a:cubicBezTo>
                <a:cubicBezTo>
                  <a:pt x="416" y="154"/>
                  <a:pt x="415" y="153"/>
                  <a:pt x="413" y="149"/>
                </a:cubicBezTo>
                <a:cubicBezTo>
                  <a:pt x="411" y="144"/>
                  <a:pt x="402" y="146"/>
                  <a:pt x="399" y="149"/>
                </a:cubicBezTo>
                <a:cubicBezTo>
                  <a:pt x="397" y="152"/>
                  <a:pt x="389" y="150"/>
                  <a:pt x="385" y="155"/>
                </a:cubicBezTo>
                <a:cubicBezTo>
                  <a:pt x="380" y="159"/>
                  <a:pt x="385" y="163"/>
                  <a:pt x="387" y="165"/>
                </a:cubicBezTo>
                <a:cubicBezTo>
                  <a:pt x="389" y="166"/>
                  <a:pt x="380" y="169"/>
                  <a:pt x="383" y="171"/>
                </a:cubicBezTo>
                <a:cubicBezTo>
                  <a:pt x="386" y="174"/>
                  <a:pt x="390" y="172"/>
                  <a:pt x="390" y="176"/>
                </a:cubicBezTo>
                <a:cubicBezTo>
                  <a:pt x="391" y="180"/>
                  <a:pt x="380" y="175"/>
                  <a:pt x="379" y="172"/>
                </a:cubicBezTo>
                <a:cubicBezTo>
                  <a:pt x="377" y="168"/>
                  <a:pt x="380" y="165"/>
                  <a:pt x="377" y="163"/>
                </a:cubicBezTo>
                <a:cubicBezTo>
                  <a:pt x="375" y="161"/>
                  <a:pt x="377" y="157"/>
                  <a:pt x="381" y="153"/>
                </a:cubicBezTo>
                <a:cubicBezTo>
                  <a:pt x="385" y="149"/>
                  <a:pt x="388" y="150"/>
                  <a:pt x="388" y="147"/>
                </a:cubicBezTo>
                <a:cubicBezTo>
                  <a:pt x="388" y="145"/>
                  <a:pt x="371" y="145"/>
                  <a:pt x="361" y="154"/>
                </a:cubicBezTo>
                <a:cubicBezTo>
                  <a:pt x="351" y="163"/>
                  <a:pt x="354" y="175"/>
                  <a:pt x="354" y="178"/>
                </a:cubicBezTo>
                <a:cubicBezTo>
                  <a:pt x="355" y="180"/>
                  <a:pt x="364" y="179"/>
                  <a:pt x="369" y="180"/>
                </a:cubicBezTo>
                <a:cubicBezTo>
                  <a:pt x="374" y="182"/>
                  <a:pt x="372" y="184"/>
                  <a:pt x="368" y="183"/>
                </a:cubicBezTo>
                <a:cubicBezTo>
                  <a:pt x="364" y="183"/>
                  <a:pt x="357" y="182"/>
                  <a:pt x="357" y="184"/>
                </a:cubicBezTo>
                <a:cubicBezTo>
                  <a:pt x="358" y="187"/>
                  <a:pt x="366" y="192"/>
                  <a:pt x="371" y="191"/>
                </a:cubicBezTo>
                <a:cubicBezTo>
                  <a:pt x="376" y="190"/>
                  <a:pt x="376" y="190"/>
                  <a:pt x="378" y="193"/>
                </a:cubicBezTo>
                <a:cubicBezTo>
                  <a:pt x="380" y="195"/>
                  <a:pt x="386" y="194"/>
                  <a:pt x="391" y="195"/>
                </a:cubicBezTo>
                <a:cubicBezTo>
                  <a:pt x="397" y="195"/>
                  <a:pt x="404" y="197"/>
                  <a:pt x="407" y="197"/>
                </a:cubicBezTo>
                <a:cubicBezTo>
                  <a:pt x="409" y="198"/>
                  <a:pt x="413" y="196"/>
                  <a:pt x="414" y="194"/>
                </a:cubicBezTo>
                <a:cubicBezTo>
                  <a:pt x="415" y="193"/>
                  <a:pt x="426" y="197"/>
                  <a:pt x="429" y="197"/>
                </a:cubicBezTo>
                <a:cubicBezTo>
                  <a:pt x="433" y="196"/>
                  <a:pt x="431" y="193"/>
                  <a:pt x="428" y="192"/>
                </a:cubicBezTo>
                <a:cubicBezTo>
                  <a:pt x="426" y="191"/>
                  <a:pt x="427" y="187"/>
                  <a:pt x="430" y="189"/>
                </a:cubicBezTo>
                <a:cubicBezTo>
                  <a:pt x="433" y="190"/>
                  <a:pt x="437" y="191"/>
                  <a:pt x="438" y="194"/>
                </a:cubicBezTo>
                <a:cubicBezTo>
                  <a:pt x="439" y="196"/>
                  <a:pt x="441" y="195"/>
                  <a:pt x="442" y="197"/>
                </a:cubicBezTo>
                <a:cubicBezTo>
                  <a:pt x="442" y="200"/>
                  <a:pt x="452" y="202"/>
                  <a:pt x="452" y="204"/>
                </a:cubicBezTo>
                <a:cubicBezTo>
                  <a:pt x="452" y="207"/>
                  <a:pt x="443" y="208"/>
                  <a:pt x="445" y="210"/>
                </a:cubicBezTo>
                <a:cubicBezTo>
                  <a:pt x="448" y="212"/>
                  <a:pt x="452" y="208"/>
                  <a:pt x="456" y="207"/>
                </a:cubicBezTo>
                <a:cubicBezTo>
                  <a:pt x="460" y="207"/>
                  <a:pt x="460" y="215"/>
                  <a:pt x="463" y="214"/>
                </a:cubicBezTo>
                <a:cubicBezTo>
                  <a:pt x="466" y="212"/>
                  <a:pt x="469" y="215"/>
                  <a:pt x="473" y="221"/>
                </a:cubicBezTo>
                <a:cubicBezTo>
                  <a:pt x="477" y="226"/>
                  <a:pt x="473" y="231"/>
                  <a:pt x="473" y="233"/>
                </a:cubicBezTo>
                <a:cubicBezTo>
                  <a:pt x="473" y="234"/>
                  <a:pt x="480" y="234"/>
                  <a:pt x="484" y="232"/>
                </a:cubicBezTo>
                <a:cubicBezTo>
                  <a:pt x="488" y="230"/>
                  <a:pt x="492" y="234"/>
                  <a:pt x="495" y="237"/>
                </a:cubicBezTo>
                <a:cubicBezTo>
                  <a:pt x="498" y="240"/>
                  <a:pt x="484" y="244"/>
                  <a:pt x="485" y="242"/>
                </a:cubicBezTo>
                <a:cubicBezTo>
                  <a:pt x="486" y="239"/>
                  <a:pt x="476" y="232"/>
                  <a:pt x="467" y="235"/>
                </a:cubicBezTo>
                <a:cubicBezTo>
                  <a:pt x="459" y="239"/>
                  <a:pt x="465" y="244"/>
                  <a:pt x="466" y="247"/>
                </a:cubicBezTo>
                <a:cubicBezTo>
                  <a:pt x="467" y="250"/>
                  <a:pt x="458" y="253"/>
                  <a:pt x="449" y="250"/>
                </a:cubicBezTo>
                <a:cubicBezTo>
                  <a:pt x="441" y="248"/>
                  <a:pt x="444" y="252"/>
                  <a:pt x="440" y="252"/>
                </a:cubicBezTo>
                <a:cubicBezTo>
                  <a:pt x="437" y="252"/>
                  <a:pt x="433" y="257"/>
                  <a:pt x="436" y="261"/>
                </a:cubicBezTo>
                <a:cubicBezTo>
                  <a:pt x="439" y="264"/>
                  <a:pt x="446" y="261"/>
                  <a:pt x="452" y="261"/>
                </a:cubicBezTo>
                <a:cubicBezTo>
                  <a:pt x="457" y="262"/>
                  <a:pt x="458" y="263"/>
                  <a:pt x="458" y="260"/>
                </a:cubicBezTo>
                <a:cubicBezTo>
                  <a:pt x="459" y="257"/>
                  <a:pt x="465" y="259"/>
                  <a:pt x="469" y="259"/>
                </a:cubicBezTo>
                <a:cubicBezTo>
                  <a:pt x="473" y="260"/>
                  <a:pt x="472" y="266"/>
                  <a:pt x="477" y="266"/>
                </a:cubicBezTo>
                <a:cubicBezTo>
                  <a:pt x="482" y="267"/>
                  <a:pt x="478" y="272"/>
                  <a:pt x="481" y="275"/>
                </a:cubicBezTo>
                <a:cubicBezTo>
                  <a:pt x="484" y="279"/>
                  <a:pt x="493" y="277"/>
                  <a:pt x="497" y="281"/>
                </a:cubicBezTo>
                <a:cubicBezTo>
                  <a:pt x="501" y="284"/>
                  <a:pt x="516" y="291"/>
                  <a:pt x="518" y="289"/>
                </a:cubicBezTo>
                <a:cubicBezTo>
                  <a:pt x="521" y="286"/>
                  <a:pt x="505" y="272"/>
                  <a:pt x="500" y="270"/>
                </a:cubicBezTo>
                <a:cubicBezTo>
                  <a:pt x="496" y="269"/>
                  <a:pt x="505" y="268"/>
                  <a:pt x="511" y="272"/>
                </a:cubicBezTo>
                <a:cubicBezTo>
                  <a:pt x="517" y="277"/>
                  <a:pt x="525" y="279"/>
                  <a:pt x="529" y="273"/>
                </a:cubicBezTo>
                <a:cubicBezTo>
                  <a:pt x="534" y="268"/>
                  <a:pt x="526" y="270"/>
                  <a:pt x="526" y="266"/>
                </a:cubicBezTo>
                <a:cubicBezTo>
                  <a:pt x="526" y="262"/>
                  <a:pt x="523" y="256"/>
                  <a:pt x="519" y="256"/>
                </a:cubicBezTo>
                <a:cubicBezTo>
                  <a:pt x="514" y="256"/>
                  <a:pt x="503" y="248"/>
                  <a:pt x="507" y="246"/>
                </a:cubicBezTo>
                <a:cubicBezTo>
                  <a:pt x="511" y="244"/>
                  <a:pt x="506" y="241"/>
                  <a:pt x="509" y="238"/>
                </a:cubicBezTo>
                <a:cubicBezTo>
                  <a:pt x="512" y="235"/>
                  <a:pt x="515" y="241"/>
                  <a:pt x="519" y="241"/>
                </a:cubicBezTo>
                <a:close/>
                <a:moveTo>
                  <a:pt x="455" y="227"/>
                </a:moveTo>
                <a:cubicBezTo>
                  <a:pt x="458" y="226"/>
                  <a:pt x="458" y="221"/>
                  <a:pt x="456" y="218"/>
                </a:cubicBezTo>
                <a:cubicBezTo>
                  <a:pt x="454" y="215"/>
                  <a:pt x="450" y="215"/>
                  <a:pt x="447" y="215"/>
                </a:cubicBezTo>
                <a:cubicBezTo>
                  <a:pt x="443" y="216"/>
                  <a:pt x="438" y="221"/>
                  <a:pt x="441" y="226"/>
                </a:cubicBezTo>
                <a:cubicBezTo>
                  <a:pt x="444" y="231"/>
                  <a:pt x="451" y="227"/>
                  <a:pt x="455" y="227"/>
                </a:cubicBezTo>
                <a:close/>
                <a:moveTo>
                  <a:pt x="416" y="147"/>
                </a:moveTo>
                <a:cubicBezTo>
                  <a:pt x="415" y="151"/>
                  <a:pt x="420" y="151"/>
                  <a:pt x="421" y="156"/>
                </a:cubicBezTo>
                <a:cubicBezTo>
                  <a:pt x="421" y="161"/>
                  <a:pt x="427" y="162"/>
                  <a:pt x="431" y="159"/>
                </a:cubicBezTo>
                <a:cubicBezTo>
                  <a:pt x="435" y="157"/>
                  <a:pt x="448" y="160"/>
                  <a:pt x="448" y="157"/>
                </a:cubicBezTo>
                <a:cubicBezTo>
                  <a:pt x="448" y="153"/>
                  <a:pt x="435" y="147"/>
                  <a:pt x="430" y="148"/>
                </a:cubicBezTo>
                <a:cubicBezTo>
                  <a:pt x="426" y="149"/>
                  <a:pt x="418" y="143"/>
                  <a:pt x="416" y="147"/>
                </a:cubicBezTo>
                <a:close/>
                <a:moveTo>
                  <a:pt x="531" y="407"/>
                </a:moveTo>
                <a:cubicBezTo>
                  <a:pt x="532" y="410"/>
                  <a:pt x="549" y="417"/>
                  <a:pt x="550" y="414"/>
                </a:cubicBezTo>
                <a:cubicBezTo>
                  <a:pt x="551" y="410"/>
                  <a:pt x="530" y="405"/>
                  <a:pt x="531" y="407"/>
                </a:cubicBezTo>
                <a:close/>
                <a:moveTo>
                  <a:pt x="608" y="425"/>
                </a:moveTo>
                <a:cubicBezTo>
                  <a:pt x="607" y="428"/>
                  <a:pt x="605" y="424"/>
                  <a:pt x="608" y="422"/>
                </a:cubicBezTo>
                <a:cubicBezTo>
                  <a:pt x="611" y="420"/>
                  <a:pt x="608" y="419"/>
                  <a:pt x="605" y="420"/>
                </a:cubicBezTo>
                <a:cubicBezTo>
                  <a:pt x="603" y="421"/>
                  <a:pt x="603" y="415"/>
                  <a:pt x="606" y="413"/>
                </a:cubicBezTo>
                <a:cubicBezTo>
                  <a:pt x="608" y="412"/>
                  <a:pt x="600" y="410"/>
                  <a:pt x="600" y="412"/>
                </a:cubicBezTo>
                <a:cubicBezTo>
                  <a:pt x="600" y="414"/>
                  <a:pt x="595" y="413"/>
                  <a:pt x="594" y="411"/>
                </a:cubicBezTo>
                <a:cubicBezTo>
                  <a:pt x="593" y="409"/>
                  <a:pt x="589" y="408"/>
                  <a:pt x="591" y="407"/>
                </a:cubicBezTo>
                <a:cubicBezTo>
                  <a:pt x="592" y="405"/>
                  <a:pt x="586" y="404"/>
                  <a:pt x="586" y="407"/>
                </a:cubicBezTo>
                <a:cubicBezTo>
                  <a:pt x="585" y="409"/>
                  <a:pt x="583" y="405"/>
                  <a:pt x="586" y="402"/>
                </a:cubicBezTo>
                <a:cubicBezTo>
                  <a:pt x="589" y="399"/>
                  <a:pt x="588" y="396"/>
                  <a:pt x="591" y="394"/>
                </a:cubicBezTo>
                <a:cubicBezTo>
                  <a:pt x="594" y="393"/>
                  <a:pt x="591" y="391"/>
                  <a:pt x="588" y="392"/>
                </a:cubicBezTo>
                <a:cubicBezTo>
                  <a:pt x="585" y="393"/>
                  <a:pt x="577" y="404"/>
                  <a:pt x="577" y="408"/>
                </a:cubicBezTo>
                <a:cubicBezTo>
                  <a:pt x="577" y="411"/>
                  <a:pt x="576" y="414"/>
                  <a:pt x="574" y="414"/>
                </a:cubicBezTo>
                <a:cubicBezTo>
                  <a:pt x="571" y="414"/>
                  <a:pt x="568" y="417"/>
                  <a:pt x="570" y="418"/>
                </a:cubicBezTo>
                <a:cubicBezTo>
                  <a:pt x="572" y="420"/>
                  <a:pt x="564" y="424"/>
                  <a:pt x="568" y="426"/>
                </a:cubicBezTo>
                <a:cubicBezTo>
                  <a:pt x="570" y="428"/>
                  <a:pt x="575" y="426"/>
                  <a:pt x="578" y="426"/>
                </a:cubicBezTo>
                <a:cubicBezTo>
                  <a:pt x="582" y="427"/>
                  <a:pt x="585" y="427"/>
                  <a:pt x="588" y="425"/>
                </a:cubicBezTo>
                <a:cubicBezTo>
                  <a:pt x="591" y="422"/>
                  <a:pt x="591" y="427"/>
                  <a:pt x="594" y="426"/>
                </a:cubicBezTo>
                <a:cubicBezTo>
                  <a:pt x="598" y="426"/>
                  <a:pt x="593" y="429"/>
                  <a:pt x="593" y="431"/>
                </a:cubicBezTo>
                <a:cubicBezTo>
                  <a:pt x="593" y="433"/>
                  <a:pt x="596" y="430"/>
                  <a:pt x="599" y="429"/>
                </a:cubicBezTo>
                <a:cubicBezTo>
                  <a:pt x="601" y="428"/>
                  <a:pt x="604" y="429"/>
                  <a:pt x="603" y="431"/>
                </a:cubicBezTo>
                <a:cubicBezTo>
                  <a:pt x="602" y="433"/>
                  <a:pt x="610" y="435"/>
                  <a:pt x="611" y="432"/>
                </a:cubicBezTo>
                <a:cubicBezTo>
                  <a:pt x="613" y="428"/>
                  <a:pt x="610" y="423"/>
                  <a:pt x="608" y="425"/>
                </a:cubicBezTo>
                <a:close/>
                <a:moveTo>
                  <a:pt x="56" y="369"/>
                </a:moveTo>
                <a:cubicBezTo>
                  <a:pt x="51" y="372"/>
                  <a:pt x="64" y="386"/>
                  <a:pt x="67" y="384"/>
                </a:cubicBezTo>
                <a:cubicBezTo>
                  <a:pt x="69" y="383"/>
                  <a:pt x="64" y="377"/>
                  <a:pt x="64" y="374"/>
                </a:cubicBezTo>
                <a:cubicBezTo>
                  <a:pt x="64" y="370"/>
                  <a:pt x="62" y="366"/>
                  <a:pt x="56" y="369"/>
                </a:cubicBezTo>
                <a:close/>
                <a:moveTo>
                  <a:pt x="560" y="439"/>
                </a:moveTo>
                <a:cubicBezTo>
                  <a:pt x="558" y="439"/>
                  <a:pt x="559" y="436"/>
                  <a:pt x="560" y="434"/>
                </a:cubicBezTo>
                <a:cubicBezTo>
                  <a:pt x="560" y="433"/>
                  <a:pt x="555" y="435"/>
                  <a:pt x="555" y="437"/>
                </a:cubicBezTo>
                <a:cubicBezTo>
                  <a:pt x="555" y="439"/>
                  <a:pt x="551" y="440"/>
                  <a:pt x="551" y="441"/>
                </a:cubicBezTo>
                <a:cubicBezTo>
                  <a:pt x="551" y="445"/>
                  <a:pt x="551" y="443"/>
                  <a:pt x="548" y="444"/>
                </a:cubicBezTo>
                <a:cubicBezTo>
                  <a:pt x="546" y="445"/>
                  <a:pt x="536" y="444"/>
                  <a:pt x="536" y="442"/>
                </a:cubicBezTo>
                <a:cubicBezTo>
                  <a:pt x="536" y="440"/>
                  <a:pt x="529" y="439"/>
                  <a:pt x="529" y="436"/>
                </a:cubicBezTo>
                <a:cubicBezTo>
                  <a:pt x="528" y="433"/>
                  <a:pt x="525" y="432"/>
                  <a:pt x="528" y="429"/>
                </a:cubicBezTo>
                <a:cubicBezTo>
                  <a:pt x="531" y="425"/>
                  <a:pt x="527" y="424"/>
                  <a:pt x="525" y="426"/>
                </a:cubicBezTo>
                <a:cubicBezTo>
                  <a:pt x="522" y="429"/>
                  <a:pt x="521" y="425"/>
                  <a:pt x="524" y="424"/>
                </a:cubicBezTo>
                <a:cubicBezTo>
                  <a:pt x="528" y="422"/>
                  <a:pt x="534" y="421"/>
                  <a:pt x="531" y="415"/>
                </a:cubicBezTo>
                <a:cubicBezTo>
                  <a:pt x="527" y="409"/>
                  <a:pt x="506" y="417"/>
                  <a:pt x="501" y="420"/>
                </a:cubicBezTo>
                <a:cubicBezTo>
                  <a:pt x="496" y="423"/>
                  <a:pt x="489" y="432"/>
                  <a:pt x="486" y="432"/>
                </a:cubicBezTo>
                <a:cubicBezTo>
                  <a:pt x="483" y="432"/>
                  <a:pt x="491" y="427"/>
                  <a:pt x="492" y="425"/>
                </a:cubicBezTo>
                <a:cubicBezTo>
                  <a:pt x="494" y="423"/>
                  <a:pt x="492" y="421"/>
                  <a:pt x="494" y="422"/>
                </a:cubicBezTo>
                <a:cubicBezTo>
                  <a:pt x="495" y="423"/>
                  <a:pt x="500" y="415"/>
                  <a:pt x="503" y="413"/>
                </a:cubicBezTo>
                <a:cubicBezTo>
                  <a:pt x="507" y="411"/>
                  <a:pt x="510" y="413"/>
                  <a:pt x="511" y="411"/>
                </a:cubicBezTo>
                <a:cubicBezTo>
                  <a:pt x="511" y="409"/>
                  <a:pt x="512" y="408"/>
                  <a:pt x="516" y="405"/>
                </a:cubicBezTo>
                <a:cubicBezTo>
                  <a:pt x="519" y="402"/>
                  <a:pt x="555" y="403"/>
                  <a:pt x="559" y="403"/>
                </a:cubicBezTo>
                <a:cubicBezTo>
                  <a:pt x="562" y="403"/>
                  <a:pt x="569" y="398"/>
                  <a:pt x="571" y="395"/>
                </a:cubicBezTo>
                <a:cubicBezTo>
                  <a:pt x="573" y="392"/>
                  <a:pt x="576" y="392"/>
                  <a:pt x="580" y="392"/>
                </a:cubicBezTo>
                <a:cubicBezTo>
                  <a:pt x="585" y="393"/>
                  <a:pt x="588" y="388"/>
                  <a:pt x="590" y="386"/>
                </a:cubicBezTo>
                <a:cubicBezTo>
                  <a:pt x="593" y="385"/>
                  <a:pt x="592" y="384"/>
                  <a:pt x="589" y="384"/>
                </a:cubicBezTo>
                <a:cubicBezTo>
                  <a:pt x="587" y="383"/>
                  <a:pt x="585" y="382"/>
                  <a:pt x="587" y="382"/>
                </a:cubicBezTo>
                <a:cubicBezTo>
                  <a:pt x="590" y="381"/>
                  <a:pt x="591" y="380"/>
                  <a:pt x="592" y="377"/>
                </a:cubicBezTo>
                <a:cubicBezTo>
                  <a:pt x="593" y="375"/>
                  <a:pt x="591" y="376"/>
                  <a:pt x="588" y="372"/>
                </a:cubicBezTo>
                <a:cubicBezTo>
                  <a:pt x="585" y="368"/>
                  <a:pt x="583" y="373"/>
                  <a:pt x="581" y="373"/>
                </a:cubicBezTo>
                <a:cubicBezTo>
                  <a:pt x="578" y="373"/>
                  <a:pt x="583" y="369"/>
                  <a:pt x="580" y="368"/>
                </a:cubicBezTo>
                <a:cubicBezTo>
                  <a:pt x="578" y="366"/>
                  <a:pt x="573" y="367"/>
                  <a:pt x="569" y="370"/>
                </a:cubicBezTo>
                <a:cubicBezTo>
                  <a:pt x="566" y="373"/>
                  <a:pt x="566" y="370"/>
                  <a:pt x="563" y="373"/>
                </a:cubicBezTo>
                <a:cubicBezTo>
                  <a:pt x="560" y="376"/>
                  <a:pt x="560" y="372"/>
                  <a:pt x="561" y="370"/>
                </a:cubicBezTo>
                <a:cubicBezTo>
                  <a:pt x="563" y="369"/>
                  <a:pt x="564" y="370"/>
                  <a:pt x="565" y="369"/>
                </a:cubicBezTo>
                <a:cubicBezTo>
                  <a:pt x="567" y="367"/>
                  <a:pt x="568" y="369"/>
                  <a:pt x="571" y="366"/>
                </a:cubicBezTo>
                <a:cubicBezTo>
                  <a:pt x="575" y="364"/>
                  <a:pt x="578" y="365"/>
                  <a:pt x="579" y="363"/>
                </a:cubicBezTo>
                <a:cubicBezTo>
                  <a:pt x="580" y="362"/>
                  <a:pt x="577" y="359"/>
                  <a:pt x="574" y="360"/>
                </a:cubicBezTo>
                <a:cubicBezTo>
                  <a:pt x="571" y="361"/>
                  <a:pt x="568" y="356"/>
                  <a:pt x="566" y="357"/>
                </a:cubicBezTo>
                <a:cubicBezTo>
                  <a:pt x="564" y="359"/>
                  <a:pt x="565" y="355"/>
                  <a:pt x="562" y="356"/>
                </a:cubicBezTo>
                <a:cubicBezTo>
                  <a:pt x="560" y="358"/>
                  <a:pt x="558" y="356"/>
                  <a:pt x="557" y="353"/>
                </a:cubicBezTo>
                <a:cubicBezTo>
                  <a:pt x="556" y="350"/>
                  <a:pt x="550" y="345"/>
                  <a:pt x="546" y="344"/>
                </a:cubicBezTo>
                <a:cubicBezTo>
                  <a:pt x="542" y="343"/>
                  <a:pt x="544" y="341"/>
                  <a:pt x="546" y="342"/>
                </a:cubicBezTo>
                <a:cubicBezTo>
                  <a:pt x="549" y="344"/>
                  <a:pt x="551" y="341"/>
                  <a:pt x="552" y="339"/>
                </a:cubicBezTo>
                <a:cubicBezTo>
                  <a:pt x="553" y="338"/>
                  <a:pt x="550" y="336"/>
                  <a:pt x="549" y="336"/>
                </a:cubicBezTo>
                <a:cubicBezTo>
                  <a:pt x="548" y="336"/>
                  <a:pt x="548" y="334"/>
                  <a:pt x="548" y="333"/>
                </a:cubicBezTo>
                <a:cubicBezTo>
                  <a:pt x="549" y="331"/>
                  <a:pt x="544" y="329"/>
                  <a:pt x="544" y="328"/>
                </a:cubicBezTo>
                <a:cubicBezTo>
                  <a:pt x="544" y="326"/>
                  <a:pt x="541" y="325"/>
                  <a:pt x="541" y="324"/>
                </a:cubicBezTo>
                <a:cubicBezTo>
                  <a:pt x="541" y="322"/>
                  <a:pt x="539" y="320"/>
                  <a:pt x="539" y="318"/>
                </a:cubicBezTo>
                <a:cubicBezTo>
                  <a:pt x="539" y="317"/>
                  <a:pt x="534" y="313"/>
                  <a:pt x="534" y="311"/>
                </a:cubicBezTo>
                <a:cubicBezTo>
                  <a:pt x="534" y="309"/>
                  <a:pt x="531" y="307"/>
                  <a:pt x="530" y="304"/>
                </a:cubicBezTo>
                <a:cubicBezTo>
                  <a:pt x="529" y="302"/>
                  <a:pt x="528" y="303"/>
                  <a:pt x="527" y="307"/>
                </a:cubicBezTo>
                <a:cubicBezTo>
                  <a:pt x="526" y="310"/>
                  <a:pt x="523" y="310"/>
                  <a:pt x="524" y="312"/>
                </a:cubicBezTo>
                <a:cubicBezTo>
                  <a:pt x="526" y="314"/>
                  <a:pt x="525" y="314"/>
                  <a:pt x="523" y="316"/>
                </a:cubicBezTo>
                <a:cubicBezTo>
                  <a:pt x="522" y="317"/>
                  <a:pt x="524" y="319"/>
                  <a:pt x="522" y="319"/>
                </a:cubicBezTo>
                <a:cubicBezTo>
                  <a:pt x="520" y="319"/>
                  <a:pt x="521" y="324"/>
                  <a:pt x="519" y="322"/>
                </a:cubicBezTo>
                <a:cubicBezTo>
                  <a:pt x="518" y="320"/>
                  <a:pt x="515" y="321"/>
                  <a:pt x="515" y="323"/>
                </a:cubicBezTo>
                <a:cubicBezTo>
                  <a:pt x="515" y="325"/>
                  <a:pt x="510" y="327"/>
                  <a:pt x="508" y="327"/>
                </a:cubicBezTo>
                <a:cubicBezTo>
                  <a:pt x="506" y="326"/>
                  <a:pt x="506" y="322"/>
                  <a:pt x="505" y="324"/>
                </a:cubicBezTo>
                <a:cubicBezTo>
                  <a:pt x="503" y="325"/>
                  <a:pt x="503" y="320"/>
                  <a:pt x="501" y="320"/>
                </a:cubicBezTo>
                <a:cubicBezTo>
                  <a:pt x="498" y="320"/>
                  <a:pt x="496" y="320"/>
                  <a:pt x="497" y="318"/>
                </a:cubicBezTo>
                <a:cubicBezTo>
                  <a:pt x="498" y="315"/>
                  <a:pt x="493" y="314"/>
                  <a:pt x="494" y="313"/>
                </a:cubicBezTo>
                <a:cubicBezTo>
                  <a:pt x="496" y="312"/>
                  <a:pt x="494" y="309"/>
                  <a:pt x="494" y="305"/>
                </a:cubicBezTo>
                <a:cubicBezTo>
                  <a:pt x="493" y="301"/>
                  <a:pt x="496" y="301"/>
                  <a:pt x="496" y="299"/>
                </a:cubicBezTo>
                <a:cubicBezTo>
                  <a:pt x="496" y="298"/>
                  <a:pt x="494" y="298"/>
                  <a:pt x="492" y="299"/>
                </a:cubicBezTo>
                <a:cubicBezTo>
                  <a:pt x="490" y="300"/>
                  <a:pt x="490" y="297"/>
                  <a:pt x="488" y="298"/>
                </a:cubicBezTo>
                <a:cubicBezTo>
                  <a:pt x="486" y="298"/>
                  <a:pt x="480" y="297"/>
                  <a:pt x="480" y="295"/>
                </a:cubicBezTo>
                <a:cubicBezTo>
                  <a:pt x="480" y="292"/>
                  <a:pt x="478" y="293"/>
                  <a:pt x="477" y="291"/>
                </a:cubicBezTo>
                <a:cubicBezTo>
                  <a:pt x="476" y="288"/>
                  <a:pt x="474" y="290"/>
                  <a:pt x="474" y="288"/>
                </a:cubicBezTo>
                <a:cubicBezTo>
                  <a:pt x="474" y="286"/>
                  <a:pt x="472" y="286"/>
                  <a:pt x="471" y="286"/>
                </a:cubicBezTo>
                <a:cubicBezTo>
                  <a:pt x="469" y="285"/>
                  <a:pt x="468" y="283"/>
                  <a:pt x="466" y="283"/>
                </a:cubicBezTo>
                <a:cubicBezTo>
                  <a:pt x="463" y="283"/>
                  <a:pt x="460" y="285"/>
                  <a:pt x="459" y="285"/>
                </a:cubicBezTo>
                <a:cubicBezTo>
                  <a:pt x="458" y="286"/>
                  <a:pt x="454" y="283"/>
                  <a:pt x="453" y="284"/>
                </a:cubicBezTo>
                <a:cubicBezTo>
                  <a:pt x="451" y="285"/>
                  <a:pt x="451" y="284"/>
                  <a:pt x="447" y="283"/>
                </a:cubicBezTo>
                <a:cubicBezTo>
                  <a:pt x="443" y="281"/>
                  <a:pt x="438" y="281"/>
                  <a:pt x="438" y="283"/>
                </a:cubicBezTo>
                <a:cubicBezTo>
                  <a:pt x="438" y="284"/>
                  <a:pt x="435" y="284"/>
                  <a:pt x="435" y="288"/>
                </a:cubicBezTo>
                <a:cubicBezTo>
                  <a:pt x="436" y="291"/>
                  <a:pt x="439" y="290"/>
                  <a:pt x="440" y="292"/>
                </a:cubicBezTo>
                <a:cubicBezTo>
                  <a:pt x="440" y="294"/>
                  <a:pt x="438" y="294"/>
                  <a:pt x="438" y="296"/>
                </a:cubicBezTo>
                <a:cubicBezTo>
                  <a:pt x="438" y="298"/>
                  <a:pt x="436" y="297"/>
                  <a:pt x="436" y="299"/>
                </a:cubicBezTo>
                <a:cubicBezTo>
                  <a:pt x="436" y="300"/>
                  <a:pt x="437" y="300"/>
                  <a:pt x="438" y="303"/>
                </a:cubicBezTo>
                <a:cubicBezTo>
                  <a:pt x="439" y="305"/>
                  <a:pt x="440" y="305"/>
                  <a:pt x="441" y="309"/>
                </a:cubicBezTo>
                <a:cubicBezTo>
                  <a:pt x="441" y="313"/>
                  <a:pt x="439" y="312"/>
                  <a:pt x="438" y="312"/>
                </a:cubicBezTo>
                <a:cubicBezTo>
                  <a:pt x="436" y="313"/>
                  <a:pt x="438" y="315"/>
                  <a:pt x="436" y="317"/>
                </a:cubicBezTo>
                <a:cubicBezTo>
                  <a:pt x="434" y="319"/>
                  <a:pt x="432" y="322"/>
                  <a:pt x="434" y="324"/>
                </a:cubicBezTo>
                <a:cubicBezTo>
                  <a:pt x="435" y="325"/>
                  <a:pt x="441" y="328"/>
                  <a:pt x="444" y="332"/>
                </a:cubicBezTo>
                <a:cubicBezTo>
                  <a:pt x="446" y="336"/>
                  <a:pt x="446" y="342"/>
                  <a:pt x="445" y="347"/>
                </a:cubicBezTo>
                <a:cubicBezTo>
                  <a:pt x="445" y="352"/>
                  <a:pt x="440" y="353"/>
                  <a:pt x="436" y="357"/>
                </a:cubicBezTo>
                <a:cubicBezTo>
                  <a:pt x="432" y="361"/>
                  <a:pt x="428" y="360"/>
                  <a:pt x="426" y="360"/>
                </a:cubicBezTo>
                <a:cubicBezTo>
                  <a:pt x="424" y="360"/>
                  <a:pt x="425" y="364"/>
                  <a:pt x="428" y="367"/>
                </a:cubicBezTo>
                <a:cubicBezTo>
                  <a:pt x="431" y="370"/>
                  <a:pt x="428" y="371"/>
                  <a:pt x="430" y="374"/>
                </a:cubicBezTo>
                <a:cubicBezTo>
                  <a:pt x="431" y="377"/>
                  <a:pt x="430" y="379"/>
                  <a:pt x="432" y="382"/>
                </a:cubicBezTo>
                <a:cubicBezTo>
                  <a:pt x="434" y="385"/>
                  <a:pt x="432" y="386"/>
                  <a:pt x="430" y="388"/>
                </a:cubicBezTo>
                <a:cubicBezTo>
                  <a:pt x="428" y="390"/>
                  <a:pt x="431" y="389"/>
                  <a:pt x="431" y="391"/>
                </a:cubicBezTo>
                <a:cubicBezTo>
                  <a:pt x="431" y="394"/>
                  <a:pt x="430" y="392"/>
                  <a:pt x="428" y="391"/>
                </a:cubicBezTo>
                <a:cubicBezTo>
                  <a:pt x="426" y="390"/>
                  <a:pt x="424" y="393"/>
                  <a:pt x="424" y="395"/>
                </a:cubicBezTo>
                <a:cubicBezTo>
                  <a:pt x="424" y="397"/>
                  <a:pt x="420" y="393"/>
                  <a:pt x="419" y="393"/>
                </a:cubicBezTo>
                <a:cubicBezTo>
                  <a:pt x="418" y="393"/>
                  <a:pt x="419" y="390"/>
                  <a:pt x="416" y="388"/>
                </a:cubicBezTo>
                <a:cubicBezTo>
                  <a:pt x="413" y="386"/>
                  <a:pt x="411" y="386"/>
                  <a:pt x="411" y="384"/>
                </a:cubicBezTo>
                <a:cubicBezTo>
                  <a:pt x="411" y="381"/>
                  <a:pt x="407" y="380"/>
                  <a:pt x="407" y="377"/>
                </a:cubicBezTo>
                <a:cubicBezTo>
                  <a:pt x="407" y="375"/>
                  <a:pt x="407" y="369"/>
                  <a:pt x="406" y="367"/>
                </a:cubicBezTo>
                <a:cubicBezTo>
                  <a:pt x="405" y="365"/>
                  <a:pt x="406" y="363"/>
                  <a:pt x="407" y="361"/>
                </a:cubicBezTo>
                <a:cubicBezTo>
                  <a:pt x="408" y="360"/>
                  <a:pt x="406" y="357"/>
                  <a:pt x="403" y="357"/>
                </a:cubicBezTo>
                <a:cubicBezTo>
                  <a:pt x="400" y="357"/>
                  <a:pt x="396" y="356"/>
                  <a:pt x="393" y="357"/>
                </a:cubicBezTo>
                <a:cubicBezTo>
                  <a:pt x="389" y="357"/>
                  <a:pt x="387" y="356"/>
                  <a:pt x="385" y="355"/>
                </a:cubicBezTo>
                <a:cubicBezTo>
                  <a:pt x="384" y="354"/>
                  <a:pt x="381" y="352"/>
                  <a:pt x="376" y="351"/>
                </a:cubicBezTo>
                <a:cubicBezTo>
                  <a:pt x="371" y="349"/>
                  <a:pt x="369" y="347"/>
                  <a:pt x="369" y="346"/>
                </a:cubicBezTo>
                <a:cubicBezTo>
                  <a:pt x="368" y="344"/>
                  <a:pt x="363" y="343"/>
                  <a:pt x="362" y="342"/>
                </a:cubicBezTo>
                <a:cubicBezTo>
                  <a:pt x="361" y="340"/>
                  <a:pt x="357" y="340"/>
                  <a:pt x="355" y="340"/>
                </a:cubicBezTo>
                <a:cubicBezTo>
                  <a:pt x="353" y="340"/>
                  <a:pt x="349" y="336"/>
                  <a:pt x="346" y="336"/>
                </a:cubicBezTo>
                <a:cubicBezTo>
                  <a:pt x="343" y="336"/>
                  <a:pt x="337" y="339"/>
                  <a:pt x="336" y="339"/>
                </a:cubicBezTo>
                <a:cubicBezTo>
                  <a:pt x="334" y="339"/>
                  <a:pt x="336" y="337"/>
                  <a:pt x="336" y="336"/>
                </a:cubicBezTo>
                <a:cubicBezTo>
                  <a:pt x="337" y="335"/>
                  <a:pt x="334" y="330"/>
                  <a:pt x="333" y="327"/>
                </a:cubicBezTo>
                <a:cubicBezTo>
                  <a:pt x="333" y="324"/>
                  <a:pt x="332" y="321"/>
                  <a:pt x="328" y="321"/>
                </a:cubicBezTo>
                <a:cubicBezTo>
                  <a:pt x="325" y="322"/>
                  <a:pt x="322" y="320"/>
                  <a:pt x="321" y="319"/>
                </a:cubicBezTo>
                <a:cubicBezTo>
                  <a:pt x="320" y="319"/>
                  <a:pt x="320" y="310"/>
                  <a:pt x="320" y="306"/>
                </a:cubicBezTo>
                <a:cubicBezTo>
                  <a:pt x="321" y="303"/>
                  <a:pt x="325" y="297"/>
                  <a:pt x="325" y="295"/>
                </a:cubicBezTo>
                <a:cubicBezTo>
                  <a:pt x="325" y="293"/>
                  <a:pt x="328" y="292"/>
                  <a:pt x="330" y="291"/>
                </a:cubicBezTo>
                <a:cubicBezTo>
                  <a:pt x="332" y="290"/>
                  <a:pt x="330" y="286"/>
                  <a:pt x="333" y="286"/>
                </a:cubicBezTo>
                <a:cubicBezTo>
                  <a:pt x="335" y="285"/>
                  <a:pt x="335" y="284"/>
                  <a:pt x="336" y="283"/>
                </a:cubicBezTo>
                <a:cubicBezTo>
                  <a:pt x="336" y="281"/>
                  <a:pt x="339" y="282"/>
                  <a:pt x="337" y="281"/>
                </a:cubicBezTo>
                <a:cubicBezTo>
                  <a:pt x="336" y="279"/>
                  <a:pt x="337" y="279"/>
                  <a:pt x="341" y="279"/>
                </a:cubicBezTo>
                <a:cubicBezTo>
                  <a:pt x="344" y="279"/>
                  <a:pt x="349" y="277"/>
                  <a:pt x="349" y="274"/>
                </a:cubicBezTo>
                <a:cubicBezTo>
                  <a:pt x="348" y="270"/>
                  <a:pt x="339" y="273"/>
                  <a:pt x="339" y="270"/>
                </a:cubicBezTo>
                <a:cubicBezTo>
                  <a:pt x="339" y="267"/>
                  <a:pt x="327" y="267"/>
                  <a:pt x="328" y="265"/>
                </a:cubicBezTo>
                <a:cubicBezTo>
                  <a:pt x="329" y="264"/>
                  <a:pt x="339" y="266"/>
                  <a:pt x="343" y="268"/>
                </a:cubicBezTo>
                <a:cubicBezTo>
                  <a:pt x="347" y="270"/>
                  <a:pt x="348" y="269"/>
                  <a:pt x="352" y="269"/>
                </a:cubicBezTo>
                <a:cubicBezTo>
                  <a:pt x="355" y="269"/>
                  <a:pt x="353" y="265"/>
                  <a:pt x="353" y="263"/>
                </a:cubicBezTo>
                <a:cubicBezTo>
                  <a:pt x="354" y="262"/>
                  <a:pt x="360" y="266"/>
                  <a:pt x="363" y="265"/>
                </a:cubicBezTo>
                <a:cubicBezTo>
                  <a:pt x="367" y="264"/>
                  <a:pt x="370" y="257"/>
                  <a:pt x="373" y="255"/>
                </a:cubicBezTo>
                <a:cubicBezTo>
                  <a:pt x="376" y="253"/>
                  <a:pt x="374" y="251"/>
                  <a:pt x="368" y="251"/>
                </a:cubicBezTo>
                <a:cubicBezTo>
                  <a:pt x="362" y="252"/>
                  <a:pt x="359" y="250"/>
                  <a:pt x="356" y="248"/>
                </a:cubicBezTo>
                <a:cubicBezTo>
                  <a:pt x="353" y="245"/>
                  <a:pt x="353" y="243"/>
                  <a:pt x="356" y="244"/>
                </a:cubicBezTo>
                <a:cubicBezTo>
                  <a:pt x="360" y="244"/>
                  <a:pt x="367" y="250"/>
                  <a:pt x="370" y="250"/>
                </a:cubicBezTo>
                <a:cubicBezTo>
                  <a:pt x="373" y="251"/>
                  <a:pt x="378" y="245"/>
                  <a:pt x="381" y="243"/>
                </a:cubicBezTo>
                <a:cubicBezTo>
                  <a:pt x="383" y="241"/>
                  <a:pt x="378" y="240"/>
                  <a:pt x="377" y="239"/>
                </a:cubicBezTo>
                <a:cubicBezTo>
                  <a:pt x="375" y="238"/>
                  <a:pt x="380" y="237"/>
                  <a:pt x="382" y="237"/>
                </a:cubicBezTo>
                <a:cubicBezTo>
                  <a:pt x="384" y="237"/>
                  <a:pt x="385" y="239"/>
                  <a:pt x="386" y="240"/>
                </a:cubicBezTo>
                <a:cubicBezTo>
                  <a:pt x="387" y="241"/>
                  <a:pt x="392" y="239"/>
                  <a:pt x="394" y="239"/>
                </a:cubicBezTo>
                <a:cubicBezTo>
                  <a:pt x="396" y="239"/>
                  <a:pt x="393" y="236"/>
                  <a:pt x="390" y="234"/>
                </a:cubicBezTo>
                <a:cubicBezTo>
                  <a:pt x="386" y="233"/>
                  <a:pt x="390" y="230"/>
                  <a:pt x="391" y="232"/>
                </a:cubicBezTo>
                <a:cubicBezTo>
                  <a:pt x="392" y="235"/>
                  <a:pt x="395" y="234"/>
                  <a:pt x="396" y="237"/>
                </a:cubicBezTo>
                <a:cubicBezTo>
                  <a:pt x="398" y="240"/>
                  <a:pt x="399" y="238"/>
                  <a:pt x="402" y="237"/>
                </a:cubicBezTo>
                <a:cubicBezTo>
                  <a:pt x="405" y="236"/>
                  <a:pt x="406" y="234"/>
                  <a:pt x="408" y="232"/>
                </a:cubicBezTo>
                <a:cubicBezTo>
                  <a:pt x="410" y="230"/>
                  <a:pt x="410" y="232"/>
                  <a:pt x="412" y="229"/>
                </a:cubicBezTo>
                <a:cubicBezTo>
                  <a:pt x="414" y="226"/>
                  <a:pt x="411" y="224"/>
                  <a:pt x="409" y="222"/>
                </a:cubicBezTo>
                <a:cubicBezTo>
                  <a:pt x="406" y="220"/>
                  <a:pt x="409" y="218"/>
                  <a:pt x="406" y="217"/>
                </a:cubicBezTo>
                <a:cubicBezTo>
                  <a:pt x="404" y="216"/>
                  <a:pt x="403" y="213"/>
                  <a:pt x="407" y="214"/>
                </a:cubicBezTo>
                <a:cubicBezTo>
                  <a:pt x="410" y="215"/>
                  <a:pt x="412" y="214"/>
                  <a:pt x="413" y="212"/>
                </a:cubicBezTo>
                <a:cubicBezTo>
                  <a:pt x="415" y="210"/>
                  <a:pt x="409" y="209"/>
                  <a:pt x="412" y="208"/>
                </a:cubicBezTo>
                <a:cubicBezTo>
                  <a:pt x="414" y="206"/>
                  <a:pt x="412" y="204"/>
                  <a:pt x="409" y="204"/>
                </a:cubicBezTo>
                <a:cubicBezTo>
                  <a:pt x="407" y="204"/>
                  <a:pt x="404" y="203"/>
                  <a:pt x="404" y="201"/>
                </a:cubicBezTo>
                <a:cubicBezTo>
                  <a:pt x="404" y="199"/>
                  <a:pt x="399" y="200"/>
                  <a:pt x="396" y="199"/>
                </a:cubicBezTo>
                <a:cubicBezTo>
                  <a:pt x="393" y="197"/>
                  <a:pt x="387" y="198"/>
                  <a:pt x="385" y="198"/>
                </a:cubicBezTo>
                <a:cubicBezTo>
                  <a:pt x="384" y="198"/>
                  <a:pt x="384" y="204"/>
                  <a:pt x="386" y="204"/>
                </a:cubicBezTo>
                <a:cubicBezTo>
                  <a:pt x="388" y="204"/>
                  <a:pt x="390" y="207"/>
                  <a:pt x="388" y="208"/>
                </a:cubicBezTo>
                <a:cubicBezTo>
                  <a:pt x="386" y="208"/>
                  <a:pt x="389" y="211"/>
                  <a:pt x="387" y="211"/>
                </a:cubicBezTo>
                <a:cubicBezTo>
                  <a:pt x="385" y="211"/>
                  <a:pt x="383" y="210"/>
                  <a:pt x="383" y="214"/>
                </a:cubicBezTo>
                <a:cubicBezTo>
                  <a:pt x="382" y="218"/>
                  <a:pt x="382" y="219"/>
                  <a:pt x="379" y="221"/>
                </a:cubicBezTo>
                <a:cubicBezTo>
                  <a:pt x="377" y="222"/>
                  <a:pt x="379" y="216"/>
                  <a:pt x="376" y="216"/>
                </a:cubicBezTo>
                <a:cubicBezTo>
                  <a:pt x="374" y="217"/>
                  <a:pt x="373" y="221"/>
                  <a:pt x="375" y="222"/>
                </a:cubicBezTo>
                <a:cubicBezTo>
                  <a:pt x="377" y="222"/>
                  <a:pt x="377" y="224"/>
                  <a:pt x="378" y="226"/>
                </a:cubicBezTo>
                <a:cubicBezTo>
                  <a:pt x="378" y="228"/>
                  <a:pt x="374" y="227"/>
                  <a:pt x="373" y="229"/>
                </a:cubicBezTo>
                <a:cubicBezTo>
                  <a:pt x="371" y="232"/>
                  <a:pt x="371" y="228"/>
                  <a:pt x="369" y="226"/>
                </a:cubicBezTo>
                <a:cubicBezTo>
                  <a:pt x="367" y="224"/>
                  <a:pt x="364" y="221"/>
                  <a:pt x="365" y="219"/>
                </a:cubicBezTo>
                <a:cubicBezTo>
                  <a:pt x="365" y="217"/>
                  <a:pt x="366" y="216"/>
                  <a:pt x="367" y="216"/>
                </a:cubicBezTo>
                <a:cubicBezTo>
                  <a:pt x="369" y="216"/>
                  <a:pt x="367" y="214"/>
                  <a:pt x="367" y="211"/>
                </a:cubicBezTo>
                <a:cubicBezTo>
                  <a:pt x="367" y="209"/>
                  <a:pt x="365" y="210"/>
                  <a:pt x="363" y="207"/>
                </a:cubicBezTo>
                <a:cubicBezTo>
                  <a:pt x="360" y="204"/>
                  <a:pt x="358" y="204"/>
                  <a:pt x="356" y="205"/>
                </a:cubicBezTo>
                <a:cubicBezTo>
                  <a:pt x="355" y="207"/>
                  <a:pt x="356" y="209"/>
                  <a:pt x="354" y="210"/>
                </a:cubicBezTo>
                <a:cubicBezTo>
                  <a:pt x="352" y="211"/>
                  <a:pt x="352" y="215"/>
                  <a:pt x="351" y="216"/>
                </a:cubicBezTo>
                <a:cubicBezTo>
                  <a:pt x="349" y="216"/>
                  <a:pt x="350" y="208"/>
                  <a:pt x="348" y="207"/>
                </a:cubicBezTo>
                <a:cubicBezTo>
                  <a:pt x="347" y="207"/>
                  <a:pt x="347" y="205"/>
                  <a:pt x="349" y="204"/>
                </a:cubicBezTo>
                <a:cubicBezTo>
                  <a:pt x="352" y="204"/>
                  <a:pt x="353" y="202"/>
                  <a:pt x="351" y="202"/>
                </a:cubicBezTo>
                <a:cubicBezTo>
                  <a:pt x="349" y="202"/>
                  <a:pt x="345" y="200"/>
                  <a:pt x="344" y="199"/>
                </a:cubicBezTo>
                <a:cubicBezTo>
                  <a:pt x="343" y="198"/>
                  <a:pt x="340" y="202"/>
                  <a:pt x="339" y="200"/>
                </a:cubicBezTo>
                <a:cubicBezTo>
                  <a:pt x="337" y="199"/>
                  <a:pt x="339" y="196"/>
                  <a:pt x="339" y="194"/>
                </a:cubicBezTo>
                <a:cubicBezTo>
                  <a:pt x="339" y="193"/>
                  <a:pt x="342" y="195"/>
                  <a:pt x="343" y="193"/>
                </a:cubicBezTo>
                <a:cubicBezTo>
                  <a:pt x="345" y="191"/>
                  <a:pt x="339" y="191"/>
                  <a:pt x="339" y="189"/>
                </a:cubicBezTo>
                <a:cubicBezTo>
                  <a:pt x="339" y="186"/>
                  <a:pt x="334" y="186"/>
                  <a:pt x="333" y="185"/>
                </a:cubicBezTo>
                <a:cubicBezTo>
                  <a:pt x="331" y="184"/>
                  <a:pt x="334" y="180"/>
                  <a:pt x="333" y="179"/>
                </a:cubicBezTo>
                <a:cubicBezTo>
                  <a:pt x="332" y="177"/>
                  <a:pt x="327" y="172"/>
                  <a:pt x="324" y="173"/>
                </a:cubicBezTo>
                <a:cubicBezTo>
                  <a:pt x="322" y="173"/>
                  <a:pt x="321" y="170"/>
                  <a:pt x="323" y="170"/>
                </a:cubicBezTo>
                <a:cubicBezTo>
                  <a:pt x="324" y="170"/>
                  <a:pt x="325" y="169"/>
                  <a:pt x="328" y="166"/>
                </a:cubicBezTo>
                <a:cubicBezTo>
                  <a:pt x="330" y="163"/>
                  <a:pt x="330" y="162"/>
                  <a:pt x="329" y="162"/>
                </a:cubicBezTo>
                <a:cubicBezTo>
                  <a:pt x="327" y="161"/>
                  <a:pt x="326" y="159"/>
                  <a:pt x="329" y="159"/>
                </a:cubicBezTo>
                <a:cubicBezTo>
                  <a:pt x="332" y="159"/>
                  <a:pt x="338" y="162"/>
                  <a:pt x="340" y="160"/>
                </a:cubicBezTo>
                <a:cubicBezTo>
                  <a:pt x="342" y="159"/>
                  <a:pt x="347" y="150"/>
                  <a:pt x="350" y="147"/>
                </a:cubicBezTo>
                <a:cubicBezTo>
                  <a:pt x="352" y="143"/>
                  <a:pt x="348" y="143"/>
                  <a:pt x="343" y="144"/>
                </a:cubicBezTo>
                <a:cubicBezTo>
                  <a:pt x="337" y="144"/>
                  <a:pt x="336" y="141"/>
                  <a:pt x="331" y="141"/>
                </a:cubicBezTo>
                <a:cubicBezTo>
                  <a:pt x="327" y="141"/>
                  <a:pt x="318" y="142"/>
                  <a:pt x="317" y="143"/>
                </a:cubicBezTo>
                <a:cubicBezTo>
                  <a:pt x="316" y="145"/>
                  <a:pt x="319" y="146"/>
                  <a:pt x="319" y="148"/>
                </a:cubicBezTo>
                <a:cubicBezTo>
                  <a:pt x="318" y="149"/>
                  <a:pt x="316" y="146"/>
                  <a:pt x="314" y="147"/>
                </a:cubicBezTo>
                <a:cubicBezTo>
                  <a:pt x="313" y="148"/>
                  <a:pt x="315" y="150"/>
                  <a:pt x="314" y="155"/>
                </a:cubicBezTo>
                <a:cubicBezTo>
                  <a:pt x="314" y="160"/>
                  <a:pt x="315" y="161"/>
                  <a:pt x="317" y="163"/>
                </a:cubicBezTo>
                <a:cubicBezTo>
                  <a:pt x="318" y="165"/>
                  <a:pt x="318" y="167"/>
                  <a:pt x="318" y="171"/>
                </a:cubicBezTo>
                <a:cubicBezTo>
                  <a:pt x="318" y="174"/>
                  <a:pt x="315" y="174"/>
                  <a:pt x="314" y="175"/>
                </a:cubicBezTo>
                <a:cubicBezTo>
                  <a:pt x="313" y="175"/>
                  <a:pt x="317" y="177"/>
                  <a:pt x="316" y="179"/>
                </a:cubicBezTo>
                <a:cubicBezTo>
                  <a:pt x="315" y="181"/>
                  <a:pt x="312" y="177"/>
                  <a:pt x="310" y="178"/>
                </a:cubicBezTo>
                <a:cubicBezTo>
                  <a:pt x="309" y="179"/>
                  <a:pt x="307" y="184"/>
                  <a:pt x="309" y="186"/>
                </a:cubicBezTo>
                <a:cubicBezTo>
                  <a:pt x="311" y="187"/>
                  <a:pt x="312" y="187"/>
                  <a:pt x="310" y="189"/>
                </a:cubicBezTo>
                <a:cubicBezTo>
                  <a:pt x="309" y="191"/>
                  <a:pt x="307" y="194"/>
                  <a:pt x="311" y="197"/>
                </a:cubicBezTo>
                <a:cubicBezTo>
                  <a:pt x="314" y="200"/>
                  <a:pt x="321" y="199"/>
                  <a:pt x="325" y="202"/>
                </a:cubicBezTo>
                <a:cubicBezTo>
                  <a:pt x="328" y="204"/>
                  <a:pt x="323" y="202"/>
                  <a:pt x="324" y="205"/>
                </a:cubicBezTo>
                <a:cubicBezTo>
                  <a:pt x="326" y="208"/>
                  <a:pt x="322" y="209"/>
                  <a:pt x="322" y="211"/>
                </a:cubicBezTo>
                <a:cubicBezTo>
                  <a:pt x="322" y="213"/>
                  <a:pt x="324" y="211"/>
                  <a:pt x="326" y="208"/>
                </a:cubicBezTo>
                <a:cubicBezTo>
                  <a:pt x="327" y="205"/>
                  <a:pt x="329" y="209"/>
                  <a:pt x="329" y="212"/>
                </a:cubicBezTo>
                <a:cubicBezTo>
                  <a:pt x="329" y="215"/>
                  <a:pt x="326" y="213"/>
                  <a:pt x="324" y="216"/>
                </a:cubicBezTo>
                <a:cubicBezTo>
                  <a:pt x="322" y="219"/>
                  <a:pt x="320" y="219"/>
                  <a:pt x="317" y="219"/>
                </a:cubicBezTo>
                <a:cubicBezTo>
                  <a:pt x="314" y="218"/>
                  <a:pt x="316" y="223"/>
                  <a:pt x="317" y="226"/>
                </a:cubicBezTo>
                <a:cubicBezTo>
                  <a:pt x="318" y="228"/>
                  <a:pt x="317" y="229"/>
                  <a:pt x="314" y="228"/>
                </a:cubicBezTo>
                <a:cubicBezTo>
                  <a:pt x="310" y="227"/>
                  <a:pt x="308" y="225"/>
                  <a:pt x="310" y="223"/>
                </a:cubicBezTo>
                <a:cubicBezTo>
                  <a:pt x="312" y="220"/>
                  <a:pt x="313" y="217"/>
                  <a:pt x="311" y="217"/>
                </a:cubicBezTo>
                <a:cubicBezTo>
                  <a:pt x="309" y="217"/>
                  <a:pt x="304" y="217"/>
                  <a:pt x="303" y="215"/>
                </a:cubicBezTo>
                <a:cubicBezTo>
                  <a:pt x="301" y="213"/>
                  <a:pt x="304" y="214"/>
                  <a:pt x="308" y="214"/>
                </a:cubicBezTo>
                <a:cubicBezTo>
                  <a:pt x="312" y="215"/>
                  <a:pt x="309" y="211"/>
                  <a:pt x="312" y="211"/>
                </a:cubicBezTo>
                <a:cubicBezTo>
                  <a:pt x="315" y="211"/>
                  <a:pt x="317" y="213"/>
                  <a:pt x="319" y="211"/>
                </a:cubicBezTo>
                <a:cubicBezTo>
                  <a:pt x="322" y="208"/>
                  <a:pt x="318" y="204"/>
                  <a:pt x="316" y="205"/>
                </a:cubicBezTo>
                <a:cubicBezTo>
                  <a:pt x="314" y="206"/>
                  <a:pt x="310" y="206"/>
                  <a:pt x="310" y="204"/>
                </a:cubicBezTo>
                <a:cubicBezTo>
                  <a:pt x="310" y="202"/>
                  <a:pt x="314" y="204"/>
                  <a:pt x="316" y="203"/>
                </a:cubicBezTo>
                <a:cubicBezTo>
                  <a:pt x="318" y="203"/>
                  <a:pt x="315" y="200"/>
                  <a:pt x="312" y="201"/>
                </a:cubicBezTo>
                <a:cubicBezTo>
                  <a:pt x="309" y="202"/>
                  <a:pt x="307" y="202"/>
                  <a:pt x="304" y="199"/>
                </a:cubicBezTo>
                <a:cubicBezTo>
                  <a:pt x="302" y="197"/>
                  <a:pt x="297" y="195"/>
                  <a:pt x="296" y="201"/>
                </a:cubicBezTo>
                <a:cubicBezTo>
                  <a:pt x="295" y="207"/>
                  <a:pt x="291" y="204"/>
                  <a:pt x="289" y="206"/>
                </a:cubicBezTo>
                <a:cubicBezTo>
                  <a:pt x="287" y="208"/>
                  <a:pt x="291" y="209"/>
                  <a:pt x="295" y="209"/>
                </a:cubicBezTo>
                <a:cubicBezTo>
                  <a:pt x="299" y="209"/>
                  <a:pt x="302" y="213"/>
                  <a:pt x="300" y="213"/>
                </a:cubicBezTo>
                <a:cubicBezTo>
                  <a:pt x="298" y="213"/>
                  <a:pt x="299" y="216"/>
                  <a:pt x="297" y="215"/>
                </a:cubicBezTo>
                <a:cubicBezTo>
                  <a:pt x="295" y="214"/>
                  <a:pt x="293" y="215"/>
                  <a:pt x="294" y="217"/>
                </a:cubicBezTo>
                <a:cubicBezTo>
                  <a:pt x="296" y="219"/>
                  <a:pt x="294" y="219"/>
                  <a:pt x="294" y="221"/>
                </a:cubicBezTo>
                <a:cubicBezTo>
                  <a:pt x="294" y="223"/>
                  <a:pt x="291" y="221"/>
                  <a:pt x="288" y="221"/>
                </a:cubicBezTo>
                <a:cubicBezTo>
                  <a:pt x="284" y="221"/>
                  <a:pt x="278" y="222"/>
                  <a:pt x="274" y="223"/>
                </a:cubicBezTo>
                <a:cubicBezTo>
                  <a:pt x="270" y="224"/>
                  <a:pt x="265" y="222"/>
                  <a:pt x="263" y="220"/>
                </a:cubicBezTo>
                <a:cubicBezTo>
                  <a:pt x="261" y="218"/>
                  <a:pt x="259" y="219"/>
                  <a:pt x="256" y="219"/>
                </a:cubicBezTo>
                <a:cubicBezTo>
                  <a:pt x="253" y="219"/>
                  <a:pt x="254" y="216"/>
                  <a:pt x="250" y="215"/>
                </a:cubicBezTo>
                <a:cubicBezTo>
                  <a:pt x="246" y="215"/>
                  <a:pt x="247" y="212"/>
                  <a:pt x="246" y="210"/>
                </a:cubicBezTo>
                <a:cubicBezTo>
                  <a:pt x="246" y="208"/>
                  <a:pt x="238" y="209"/>
                  <a:pt x="235" y="210"/>
                </a:cubicBezTo>
                <a:cubicBezTo>
                  <a:pt x="232" y="212"/>
                  <a:pt x="227" y="211"/>
                  <a:pt x="225" y="215"/>
                </a:cubicBezTo>
                <a:cubicBezTo>
                  <a:pt x="223" y="218"/>
                  <a:pt x="226" y="218"/>
                  <a:pt x="228" y="218"/>
                </a:cubicBezTo>
                <a:cubicBezTo>
                  <a:pt x="230" y="218"/>
                  <a:pt x="230" y="215"/>
                  <a:pt x="234" y="216"/>
                </a:cubicBezTo>
                <a:cubicBezTo>
                  <a:pt x="239" y="216"/>
                  <a:pt x="242" y="211"/>
                  <a:pt x="244" y="213"/>
                </a:cubicBezTo>
                <a:cubicBezTo>
                  <a:pt x="245" y="215"/>
                  <a:pt x="236" y="218"/>
                  <a:pt x="232" y="219"/>
                </a:cubicBezTo>
                <a:cubicBezTo>
                  <a:pt x="228" y="220"/>
                  <a:pt x="229" y="223"/>
                  <a:pt x="233" y="228"/>
                </a:cubicBezTo>
                <a:cubicBezTo>
                  <a:pt x="237" y="234"/>
                  <a:pt x="231" y="231"/>
                  <a:pt x="231" y="234"/>
                </a:cubicBezTo>
                <a:cubicBezTo>
                  <a:pt x="231" y="236"/>
                  <a:pt x="224" y="233"/>
                  <a:pt x="227" y="232"/>
                </a:cubicBezTo>
                <a:cubicBezTo>
                  <a:pt x="230" y="231"/>
                  <a:pt x="229" y="228"/>
                  <a:pt x="226" y="226"/>
                </a:cubicBezTo>
                <a:cubicBezTo>
                  <a:pt x="224" y="224"/>
                  <a:pt x="223" y="226"/>
                  <a:pt x="223" y="224"/>
                </a:cubicBezTo>
                <a:cubicBezTo>
                  <a:pt x="223" y="222"/>
                  <a:pt x="220" y="224"/>
                  <a:pt x="218" y="223"/>
                </a:cubicBezTo>
                <a:cubicBezTo>
                  <a:pt x="216" y="221"/>
                  <a:pt x="215" y="220"/>
                  <a:pt x="212" y="221"/>
                </a:cubicBezTo>
                <a:cubicBezTo>
                  <a:pt x="209" y="223"/>
                  <a:pt x="206" y="222"/>
                  <a:pt x="199" y="223"/>
                </a:cubicBezTo>
                <a:cubicBezTo>
                  <a:pt x="193" y="224"/>
                  <a:pt x="181" y="224"/>
                  <a:pt x="179" y="222"/>
                </a:cubicBezTo>
                <a:cubicBezTo>
                  <a:pt x="177" y="220"/>
                  <a:pt x="185" y="216"/>
                  <a:pt x="187" y="217"/>
                </a:cubicBezTo>
                <a:cubicBezTo>
                  <a:pt x="189" y="217"/>
                  <a:pt x="188" y="214"/>
                  <a:pt x="184" y="211"/>
                </a:cubicBezTo>
                <a:cubicBezTo>
                  <a:pt x="181" y="209"/>
                  <a:pt x="173" y="207"/>
                  <a:pt x="173" y="209"/>
                </a:cubicBezTo>
                <a:cubicBezTo>
                  <a:pt x="173" y="210"/>
                  <a:pt x="169" y="209"/>
                  <a:pt x="163" y="208"/>
                </a:cubicBezTo>
                <a:cubicBezTo>
                  <a:pt x="158" y="207"/>
                  <a:pt x="157" y="205"/>
                  <a:pt x="153" y="204"/>
                </a:cubicBezTo>
                <a:cubicBezTo>
                  <a:pt x="150" y="204"/>
                  <a:pt x="144" y="203"/>
                  <a:pt x="140" y="200"/>
                </a:cubicBezTo>
                <a:cubicBezTo>
                  <a:pt x="135" y="197"/>
                  <a:pt x="125" y="197"/>
                  <a:pt x="124" y="201"/>
                </a:cubicBezTo>
                <a:cubicBezTo>
                  <a:pt x="123" y="204"/>
                  <a:pt x="119" y="203"/>
                  <a:pt x="116" y="203"/>
                </a:cubicBezTo>
                <a:cubicBezTo>
                  <a:pt x="113" y="203"/>
                  <a:pt x="118" y="200"/>
                  <a:pt x="116" y="199"/>
                </a:cubicBezTo>
                <a:cubicBezTo>
                  <a:pt x="115" y="198"/>
                  <a:pt x="117" y="194"/>
                  <a:pt x="114" y="194"/>
                </a:cubicBezTo>
                <a:cubicBezTo>
                  <a:pt x="112" y="193"/>
                  <a:pt x="109" y="204"/>
                  <a:pt x="105" y="203"/>
                </a:cubicBezTo>
                <a:cubicBezTo>
                  <a:pt x="100" y="203"/>
                  <a:pt x="98" y="192"/>
                  <a:pt x="94" y="190"/>
                </a:cubicBezTo>
                <a:cubicBezTo>
                  <a:pt x="91" y="187"/>
                  <a:pt x="87" y="187"/>
                  <a:pt x="90" y="191"/>
                </a:cubicBezTo>
                <a:cubicBezTo>
                  <a:pt x="94" y="195"/>
                  <a:pt x="88" y="192"/>
                  <a:pt x="88" y="195"/>
                </a:cubicBezTo>
                <a:cubicBezTo>
                  <a:pt x="88" y="198"/>
                  <a:pt x="83" y="201"/>
                  <a:pt x="83" y="199"/>
                </a:cubicBezTo>
                <a:cubicBezTo>
                  <a:pt x="83" y="198"/>
                  <a:pt x="80" y="196"/>
                  <a:pt x="76" y="200"/>
                </a:cubicBezTo>
                <a:cubicBezTo>
                  <a:pt x="72" y="205"/>
                  <a:pt x="70" y="204"/>
                  <a:pt x="70" y="202"/>
                </a:cubicBezTo>
                <a:cubicBezTo>
                  <a:pt x="69" y="201"/>
                  <a:pt x="58" y="206"/>
                  <a:pt x="59" y="208"/>
                </a:cubicBezTo>
                <a:cubicBezTo>
                  <a:pt x="59" y="210"/>
                  <a:pt x="57" y="211"/>
                  <a:pt x="54" y="211"/>
                </a:cubicBezTo>
                <a:cubicBezTo>
                  <a:pt x="51" y="211"/>
                  <a:pt x="54" y="209"/>
                  <a:pt x="56" y="208"/>
                </a:cubicBezTo>
                <a:cubicBezTo>
                  <a:pt x="59" y="206"/>
                  <a:pt x="66" y="201"/>
                  <a:pt x="69" y="200"/>
                </a:cubicBezTo>
                <a:cubicBezTo>
                  <a:pt x="73" y="199"/>
                  <a:pt x="80" y="196"/>
                  <a:pt x="80" y="195"/>
                </a:cubicBezTo>
                <a:cubicBezTo>
                  <a:pt x="80" y="193"/>
                  <a:pt x="77" y="194"/>
                  <a:pt x="74" y="194"/>
                </a:cubicBezTo>
                <a:cubicBezTo>
                  <a:pt x="72" y="193"/>
                  <a:pt x="67" y="196"/>
                  <a:pt x="63" y="198"/>
                </a:cubicBezTo>
                <a:cubicBezTo>
                  <a:pt x="59" y="200"/>
                  <a:pt x="54" y="199"/>
                  <a:pt x="56" y="202"/>
                </a:cubicBezTo>
                <a:cubicBezTo>
                  <a:pt x="57" y="204"/>
                  <a:pt x="52" y="201"/>
                  <a:pt x="51" y="203"/>
                </a:cubicBezTo>
                <a:cubicBezTo>
                  <a:pt x="50" y="205"/>
                  <a:pt x="48" y="203"/>
                  <a:pt x="49" y="202"/>
                </a:cubicBezTo>
                <a:cubicBezTo>
                  <a:pt x="51" y="201"/>
                  <a:pt x="46" y="199"/>
                  <a:pt x="46" y="201"/>
                </a:cubicBezTo>
                <a:cubicBezTo>
                  <a:pt x="46" y="202"/>
                  <a:pt x="45" y="203"/>
                  <a:pt x="41" y="203"/>
                </a:cubicBezTo>
                <a:cubicBezTo>
                  <a:pt x="37" y="203"/>
                  <a:pt x="34" y="206"/>
                  <a:pt x="36" y="207"/>
                </a:cubicBezTo>
                <a:cubicBezTo>
                  <a:pt x="39" y="209"/>
                  <a:pt x="40" y="210"/>
                  <a:pt x="39" y="211"/>
                </a:cubicBezTo>
                <a:cubicBezTo>
                  <a:pt x="38" y="213"/>
                  <a:pt x="34" y="208"/>
                  <a:pt x="28" y="209"/>
                </a:cubicBezTo>
                <a:cubicBezTo>
                  <a:pt x="23" y="209"/>
                  <a:pt x="12" y="203"/>
                  <a:pt x="12" y="201"/>
                </a:cubicBezTo>
                <a:cubicBezTo>
                  <a:pt x="12" y="200"/>
                  <a:pt x="5" y="201"/>
                  <a:pt x="0" y="200"/>
                </a:cubicBezTo>
                <a:cubicBezTo>
                  <a:pt x="0" y="306"/>
                  <a:pt x="0" y="306"/>
                  <a:pt x="0" y="306"/>
                </a:cubicBezTo>
                <a:cubicBezTo>
                  <a:pt x="0" y="306"/>
                  <a:pt x="2" y="308"/>
                  <a:pt x="3" y="306"/>
                </a:cubicBezTo>
                <a:cubicBezTo>
                  <a:pt x="4" y="305"/>
                  <a:pt x="6" y="307"/>
                  <a:pt x="10" y="305"/>
                </a:cubicBezTo>
                <a:cubicBezTo>
                  <a:pt x="13" y="304"/>
                  <a:pt x="14" y="307"/>
                  <a:pt x="14" y="309"/>
                </a:cubicBezTo>
                <a:cubicBezTo>
                  <a:pt x="14" y="310"/>
                  <a:pt x="19" y="313"/>
                  <a:pt x="21" y="316"/>
                </a:cubicBezTo>
                <a:cubicBezTo>
                  <a:pt x="23" y="318"/>
                  <a:pt x="24" y="320"/>
                  <a:pt x="27" y="319"/>
                </a:cubicBezTo>
                <a:cubicBezTo>
                  <a:pt x="29" y="318"/>
                  <a:pt x="33" y="317"/>
                  <a:pt x="33" y="314"/>
                </a:cubicBezTo>
                <a:cubicBezTo>
                  <a:pt x="33" y="311"/>
                  <a:pt x="42" y="311"/>
                  <a:pt x="42" y="315"/>
                </a:cubicBezTo>
                <a:cubicBezTo>
                  <a:pt x="42" y="318"/>
                  <a:pt x="52" y="322"/>
                  <a:pt x="57" y="331"/>
                </a:cubicBezTo>
                <a:cubicBezTo>
                  <a:pt x="62" y="341"/>
                  <a:pt x="62" y="343"/>
                  <a:pt x="69" y="346"/>
                </a:cubicBezTo>
                <a:cubicBezTo>
                  <a:pt x="77" y="349"/>
                  <a:pt x="77" y="351"/>
                  <a:pt x="76" y="353"/>
                </a:cubicBezTo>
                <a:cubicBezTo>
                  <a:pt x="75" y="356"/>
                  <a:pt x="81" y="357"/>
                  <a:pt x="77" y="360"/>
                </a:cubicBezTo>
                <a:cubicBezTo>
                  <a:pt x="76" y="360"/>
                  <a:pt x="74" y="362"/>
                  <a:pt x="73" y="363"/>
                </a:cubicBezTo>
                <a:cubicBezTo>
                  <a:pt x="73" y="364"/>
                  <a:pt x="74" y="365"/>
                  <a:pt x="76" y="366"/>
                </a:cubicBezTo>
                <a:cubicBezTo>
                  <a:pt x="77" y="368"/>
                  <a:pt x="72" y="368"/>
                  <a:pt x="74" y="369"/>
                </a:cubicBezTo>
                <a:cubicBezTo>
                  <a:pt x="75" y="371"/>
                  <a:pt x="73" y="373"/>
                  <a:pt x="75" y="374"/>
                </a:cubicBezTo>
                <a:cubicBezTo>
                  <a:pt x="76" y="376"/>
                  <a:pt x="79" y="375"/>
                  <a:pt x="81" y="374"/>
                </a:cubicBezTo>
                <a:cubicBezTo>
                  <a:pt x="83" y="373"/>
                  <a:pt x="84" y="376"/>
                  <a:pt x="82" y="378"/>
                </a:cubicBezTo>
                <a:cubicBezTo>
                  <a:pt x="81" y="380"/>
                  <a:pt x="84" y="382"/>
                  <a:pt x="85" y="380"/>
                </a:cubicBezTo>
                <a:cubicBezTo>
                  <a:pt x="87" y="379"/>
                  <a:pt x="90" y="383"/>
                  <a:pt x="91" y="384"/>
                </a:cubicBezTo>
                <a:cubicBezTo>
                  <a:pt x="92" y="385"/>
                  <a:pt x="94" y="387"/>
                  <a:pt x="91" y="387"/>
                </a:cubicBezTo>
                <a:cubicBezTo>
                  <a:pt x="89" y="387"/>
                  <a:pt x="89" y="391"/>
                  <a:pt x="91" y="391"/>
                </a:cubicBezTo>
                <a:cubicBezTo>
                  <a:pt x="93" y="391"/>
                  <a:pt x="93" y="393"/>
                  <a:pt x="93" y="395"/>
                </a:cubicBezTo>
                <a:cubicBezTo>
                  <a:pt x="93" y="396"/>
                  <a:pt x="98" y="398"/>
                  <a:pt x="100" y="397"/>
                </a:cubicBezTo>
                <a:cubicBezTo>
                  <a:pt x="102" y="397"/>
                  <a:pt x="104" y="399"/>
                  <a:pt x="105" y="400"/>
                </a:cubicBezTo>
                <a:cubicBezTo>
                  <a:pt x="106" y="402"/>
                  <a:pt x="109" y="403"/>
                  <a:pt x="111" y="402"/>
                </a:cubicBezTo>
                <a:cubicBezTo>
                  <a:pt x="112" y="401"/>
                  <a:pt x="113" y="404"/>
                  <a:pt x="113" y="406"/>
                </a:cubicBezTo>
                <a:cubicBezTo>
                  <a:pt x="114" y="408"/>
                  <a:pt x="117" y="407"/>
                  <a:pt x="118" y="407"/>
                </a:cubicBezTo>
                <a:cubicBezTo>
                  <a:pt x="120" y="407"/>
                  <a:pt x="121" y="410"/>
                  <a:pt x="123" y="409"/>
                </a:cubicBezTo>
                <a:cubicBezTo>
                  <a:pt x="125" y="408"/>
                  <a:pt x="126" y="413"/>
                  <a:pt x="128" y="416"/>
                </a:cubicBezTo>
                <a:cubicBezTo>
                  <a:pt x="318" y="414"/>
                  <a:pt x="318" y="414"/>
                  <a:pt x="318" y="414"/>
                </a:cubicBezTo>
                <a:cubicBezTo>
                  <a:pt x="318" y="414"/>
                  <a:pt x="318" y="410"/>
                  <a:pt x="320" y="411"/>
                </a:cubicBezTo>
                <a:cubicBezTo>
                  <a:pt x="322" y="413"/>
                  <a:pt x="320" y="416"/>
                  <a:pt x="323" y="417"/>
                </a:cubicBezTo>
                <a:cubicBezTo>
                  <a:pt x="325" y="418"/>
                  <a:pt x="327" y="419"/>
                  <a:pt x="329" y="419"/>
                </a:cubicBezTo>
                <a:cubicBezTo>
                  <a:pt x="330" y="418"/>
                  <a:pt x="333" y="416"/>
                  <a:pt x="335" y="419"/>
                </a:cubicBezTo>
                <a:cubicBezTo>
                  <a:pt x="337" y="422"/>
                  <a:pt x="339" y="419"/>
                  <a:pt x="341" y="421"/>
                </a:cubicBezTo>
                <a:cubicBezTo>
                  <a:pt x="342" y="423"/>
                  <a:pt x="345" y="424"/>
                  <a:pt x="347" y="422"/>
                </a:cubicBezTo>
                <a:cubicBezTo>
                  <a:pt x="348" y="420"/>
                  <a:pt x="354" y="423"/>
                  <a:pt x="356" y="424"/>
                </a:cubicBezTo>
                <a:cubicBezTo>
                  <a:pt x="360" y="421"/>
                  <a:pt x="362" y="415"/>
                  <a:pt x="365" y="415"/>
                </a:cubicBezTo>
                <a:cubicBezTo>
                  <a:pt x="369" y="415"/>
                  <a:pt x="380" y="416"/>
                  <a:pt x="380" y="421"/>
                </a:cubicBezTo>
                <a:cubicBezTo>
                  <a:pt x="381" y="426"/>
                  <a:pt x="387" y="422"/>
                  <a:pt x="387" y="426"/>
                </a:cubicBezTo>
                <a:cubicBezTo>
                  <a:pt x="388" y="431"/>
                  <a:pt x="392" y="434"/>
                  <a:pt x="391" y="436"/>
                </a:cubicBezTo>
                <a:cubicBezTo>
                  <a:pt x="392" y="437"/>
                  <a:pt x="394" y="438"/>
                  <a:pt x="395" y="439"/>
                </a:cubicBezTo>
                <a:cubicBezTo>
                  <a:pt x="397" y="438"/>
                  <a:pt x="402" y="439"/>
                  <a:pt x="406" y="440"/>
                </a:cubicBezTo>
                <a:cubicBezTo>
                  <a:pt x="410" y="442"/>
                  <a:pt x="416" y="438"/>
                  <a:pt x="419" y="444"/>
                </a:cubicBezTo>
                <a:cubicBezTo>
                  <a:pt x="421" y="449"/>
                  <a:pt x="426" y="453"/>
                  <a:pt x="421" y="453"/>
                </a:cubicBezTo>
                <a:cubicBezTo>
                  <a:pt x="417" y="453"/>
                  <a:pt x="412" y="448"/>
                  <a:pt x="412" y="451"/>
                </a:cubicBezTo>
                <a:cubicBezTo>
                  <a:pt x="412" y="454"/>
                  <a:pt x="410" y="452"/>
                  <a:pt x="410" y="457"/>
                </a:cubicBezTo>
                <a:cubicBezTo>
                  <a:pt x="410" y="462"/>
                  <a:pt x="407" y="468"/>
                  <a:pt x="405" y="468"/>
                </a:cubicBezTo>
                <a:cubicBezTo>
                  <a:pt x="405" y="468"/>
                  <a:pt x="405" y="468"/>
                  <a:pt x="405" y="468"/>
                </a:cubicBezTo>
                <a:cubicBezTo>
                  <a:pt x="405" y="469"/>
                  <a:pt x="405" y="472"/>
                  <a:pt x="406" y="473"/>
                </a:cubicBezTo>
                <a:cubicBezTo>
                  <a:pt x="408" y="471"/>
                  <a:pt x="412" y="468"/>
                  <a:pt x="415" y="469"/>
                </a:cubicBezTo>
                <a:cubicBezTo>
                  <a:pt x="419" y="469"/>
                  <a:pt x="420" y="472"/>
                  <a:pt x="423" y="470"/>
                </a:cubicBezTo>
                <a:cubicBezTo>
                  <a:pt x="427" y="467"/>
                  <a:pt x="427" y="466"/>
                  <a:pt x="428" y="468"/>
                </a:cubicBezTo>
                <a:cubicBezTo>
                  <a:pt x="428" y="468"/>
                  <a:pt x="428" y="468"/>
                  <a:pt x="428" y="469"/>
                </a:cubicBezTo>
                <a:cubicBezTo>
                  <a:pt x="429" y="468"/>
                  <a:pt x="430" y="467"/>
                  <a:pt x="430" y="467"/>
                </a:cubicBezTo>
                <a:cubicBezTo>
                  <a:pt x="430" y="466"/>
                  <a:pt x="430" y="465"/>
                  <a:pt x="429" y="464"/>
                </a:cubicBezTo>
                <a:cubicBezTo>
                  <a:pt x="426" y="465"/>
                  <a:pt x="425" y="465"/>
                  <a:pt x="424" y="463"/>
                </a:cubicBezTo>
                <a:cubicBezTo>
                  <a:pt x="423" y="460"/>
                  <a:pt x="434" y="457"/>
                  <a:pt x="438" y="457"/>
                </a:cubicBezTo>
                <a:cubicBezTo>
                  <a:pt x="443" y="458"/>
                  <a:pt x="446" y="455"/>
                  <a:pt x="448" y="457"/>
                </a:cubicBezTo>
                <a:cubicBezTo>
                  <a:pt x="451" y="454"/>
                  <a:pt x="456" y="450"/>
                  <a:pt x="457" y="450"/>
                </a:cubicBezTo>
                <a:cubicBezTo>
                  <a:pt x="459" y="450"/>
                  <a:pt x="481" y="449"/>
                  <a:pt x="481" y="449"/>
                </a:cubicBezTo>
                <a:cubicBezTo>
                  <a:pt x="481" y="449"/>
                  <a:pt x="488" y="445"/>
                  <a:pt x="489" y="441"/>
                </a:cubicBezTo>
                <a:cubicBezTo>
                  <a:pt x="490" y="436"/>
                  <a:pt x="495" y="426"/>
                  <a:pt x="498" y="428"/>
                </a:cubicBezTo>
                <a:cubicBezTo>
                  <a:pt x="501" y="431"/>
                  <a:pt x="507" y="429"/>
                  <a:pt x="507" y="431"/>
                </a:cubicBezTo>
                <a:cubicBezTo>
                  <a:pt x="507" y="433"/>
                  <a:pt x="505" y="440"/>
                  <a:pt x="513" y="450"/>
                </a:cubicBezTo>
                <a:cubicBezTo>
                  <a:pt x="516" y="448"/>
                  <a:pt x="519" y="447"/>
                  <a:pt x="520" y="447"/>
                </a:cubicBezTo>
                <a:cubicBezTo>
                  <a:pt x="523" y="447"/>
                  <a:pt x="527" y="444"/>
                  <a:pt x="528" y="441"/>
                </a:cubicBezTo>
                <a:cubicBezTo>
                  <a:pt x="530" y="439"/>
                  <a:pt x="531" y="443"/>
                  <a:pt x="529" y="444"/>
                </a:cubicBezTo>
                <a:cubicBezTo>
                  <a:pt x="526" y="445"/>
                  <a:pt x="531" y="447"/>
                  <a:pt x="535" y="447"/>
                </a:cubicBezTo>
                <a:cubicBezTo>
                  <a:pt x="539" y="446"/>
                  <a:pt x="533" y="448"/>
                  <a:pt x="530" y="448"/>
                </a:cubicBezTo>
                <a:cubicBezTo>
                  <a:pt x="527" y="448"/>
                  <a:pt x="525" y="448"/>
                  <a:pt x="521" y="453"/>
                </a:cubicBezTo>
                <a:cubicBezTo>
                  <a:pt x="517" y="457"/>
                  <a:pt x="518" y="458"/>
                  <a:pt x="520" y="460"/>
                </a:cubicBezTo>
                <a:cubicBezTo>
                  <a:pt x="523" y="462"/>
                  <a:pt x="526" y="461"/>
                  <a:pt x="529" y="459"/>
                </a:cubicBezTo>
                <a:cubicBezTo>
                  <a:pt x="533" y="456"/>
                  <a:pt x="532" y="453"/>
                  <a:pt x="536" y="453"/>
                </a:cubicBezTo>
                <a:cubicBezTo>
                  <a:pt x="539" y="453"/>
                  <a:pt x="548" y="450"/>
                  <a:pt x="552" y="449"/>
                </a:cubicBezTo>
                <a:cubicBezTo>
                  <a:pt x="556" y="447"/>
                  <a:pt x="553" y="447"/>
                  <a:pt x="553" y="445"/>
                </a:cubicBezTo>
                <a:cubicBezTo>
                  <a:pt x="553" y="443"/>
                  <a:pt x="560" y="443"/>
                  <a:pt x="562" y="442"/>
                </a:cubicBezTo>
                <a:cubicBezTo>
                  <a:pt x="565" y="440"/>
                  <a:pt x="562" y="439"/>
                  <a:pt x="560" y="439"/>
                </a:cubicBezTo>
                <a:close/>
                <a:moveTo>
                  <a:pt x="162" y="241"/>
                </a:moveTo>
                <a:cubicBezTo>
                  <a:pt x="158" y="246"/>
                  <a:pt x="157" y="247"/>
                  <a:pt x="153" y="246"/>
                </a:cubicBezTo>
                <a:cubicBezTo>
                  <a:pt x="149" y="245"/>
                  <a:pt x="146" y="247"/>
                  <a:pt x="148" y="249"/>
                </a:cubicBezTo>
                <a:cubicBezTo>
                  <a:pt x="150" y="250"/>
                  <a:pt x="150" y="252"/>
                  <a:pt x="146" y="253"/>
                </a:cubicBezTo>
                <a:cubicBezTo>
                  <a:pt x="142" y="253"/>
                  <a:pt x="139" y="257"/>
                  <a:pt x="137" y="256"/>
                </a:cubicBezTo>
                <a:cubicBezTo>
                  <a:pt x="136" y="256"/>
                  <a:pt x="145" y="250"/>
                  <a:pt x="142" y="248"/>
                </a:cubicBezTo>
                <a:cubicBezTo>
                  <a:pt x="140" y="246"/>
                  <a:pt x="134" y="251"/>
                  <a:pt x="134" y="253"/>
                </a:cubicBezTo>
                <a:cubicBezTo>
                  <a:pt x="134" y="255"/>
                  <a:pt x="130" y="255"/>
                  <a:pt x="128" y="255"/>
                </a:cubicBezTo>
                <a:cubicBezTo>
                  <a:pt x="126" y="255"/>
                  <a:pt x="123" y="253"/>
                  <a:pt x="125" y="252"/>
                </a:cubicBezTo>
                <a:cubicBezTo>
                  <a:pt x="127" y="252"/>
                  <a:pt x="126" y="250"/>
                  <a:pt x="129" y="248"/>
                </a:cubicBezTo>
                <a:cubicBezTo>
                  <a:pt x="132" y="247"/>
                  <a:pt x="128" y="245"/>
                  <a:pt x="129" y="244"/>
                </a:cubicBezTo>
                <a:cubicBezTo>
                  <a:pt x="130" y="243"/>
                  <a:pt x="137" y="245"/>
                  <a:pt x="137" y="243"/>
                </a:cubicBezTo>
                <a:cubicBezTo>
                  <a:pt x="137" y="240"/>
                  <a:pt x="130" y="238"/>
                  <a:pt x="128" y="240"/>
                </a:cubicBezTo>
                <a:cubicBezTo>
                  <a:pt x="126" y="241"/>
                  <a:pt x="121" y="245"/>
                  <a:pt x="115" y="242"/>
                </a:cubicBezTo>
                <a:cubicBezTo>
                  <a:pt x="113" y="241"/>
                  <a:pt x="130" y="239"/>
                  <a:pt x="133" y="237"/>
                </a:cubicBezTo>
                <a:cubicBezTo>
                  <a:pt x="136" y="234"/>
                  <a:pt x="149" y="231"/>
                  <a:pt x="150" y="233"/>
                </a:cubicBezTo>
                <a:cubicBezTo>
                  <a:pt x="151" y="236"/>
                  <a:pt x="143" y="237"/>
                  <a:pt x="147" y="240"/>
                </a:cubicBezTo>
                <a:cubicBezTo>
                  <a:pt x="151" y="242"/>
                  <a:pt x="157" y="240"/>
                  <a:pt x="159" y="238"/>
                </a:cubicBezTo>
                <a:cubicBezTo>
                  <a:pt x="160" y="236"/>
                  <a:pt x="166" y="236"/>
                  <a:pt x="162" y="241"/>
                </a:cubicBezTo>
                <a:close/>
                <a:moveTo>
                  <a:pt x="201" y="290"/>
                </a:moveTo>
                <a:cubicBezTo>
                  <a:pt x="196" y="294"/>
                  <a:pt x="197" y="293"/>
                  <a:pt x="192" y="294"/>
                </a:cubicBezTo>
                <a:cubicBezTo>
                  <a:pt x="188" y="295"/>
                  <a:pt x="192" y="299"/>
                  <a:pt x="187" y="299"/>
                </a:cubicBezTo>
                <a:cubicBezTo>
                  <a:pt x="182" y="299"/>
                  <a:pt x="170" y="300"/>
                  <a:pt x="168" y="297"/>
                </a:cubicBezTo>
                <a:cubicBezTo>
                  <a:pt x="167" y="296"/>
                  <a:pt x="174" y="297"/>
                  <a:pt x="175" y="295"/>
                </a:cubicBezTo>
                <a:cubicBezTo>
                  <a:pt x="175" y="293"/>
                  <a:pt x="177" y="290"/>
                  <a:pt x="180" y="290"/>
                </a:cubicBezTo>
                <a:cubicBezTo>
                  <a:pt x="183" y="290"/>
                  <a:pt x="183" y="286"/>
                  <a:pt x="178" y="283"/>
                </a:cubicBezTo>
                <a:cubicBezTo>
                  <a:pt x="173" y="281"/>
                  <a:pt x="185" y="279"/>
                  <a:pt x="188" y="283"/>
                </a:cubicBezTo>
                <a:cubicBezTo>
                  <a:pt x="191" y="287"/>
                  <a:pt x="196" y="290"/>
                  <a:pt x="199" y="287"/>
                </a:cubicBezTo>
                <a:cubicBezTo>
                  <a:pt x="201" y="284"/>
                  <a:pt x="217" y="276"/>
                  <a:pt x="217" y="280"/>
                </a:cubicBezTo>
                <a:cubicBezTo>
                  <a:pt x="217" y="284"/>
                  <a:pt x="206" y="286"/>
                  <a:pt x="201" y="290"/>
                </a:cubicBezTo>
                <a:close/>
                <a:moveTo>
                  <a:pt x="307" y="401"/>
                </a:moveTo>
                <a:cubicBezTo>
                  <a:pt x="304" y="402"/>
                  <a:pt x="307" y="392"/>
                  <a:pt x="301" y="389"/>
                </a:cubicBezTo>
                <a:cubicBezTo>
                  <a:pt x="294" y="385"/>
                  <a:pt x="291" y="378"/>
                  <a:pt x="291" y="374"/>
                </a:cubicBezTo>
                <a:cubicBezTo>
                  <a:pt x="291" y="370"/>
                  <a:pt x="297" y="368"/>
                  <a:pt x="299" y="371"/>
                </a:cubicBezTo>
                <a:cubicBezTo>
                  <a:pt x="302" y="374"/>
                  <a:pt x="306" y="386"/>
                  <a:pt x="308" y="390"/>
                </a:cubicBezTo>
                <a:cubicBezTo>
                  <a:pt x="310" y="394"/>
                  <a:pt x="310" y="401"/>
                  <a:pt x="307" y="40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6" name="Freeform 132"/>
          <p:cNvSpPr>
            <a:spLocks noEditPoints="1"/>
          </p:cNvSpPr>
          <p:nvPr/>
        </p:nvSpPr>
        <p:spPr bwMode="auto">
          <a:xfrm>
            <a:off x="899592" y="1421260"/>
            <a:ext cx="1993900" cy="1352550"/>
          </a:xfrm>
          <a:custGeom>
            <a:avLst/>
            <a:gdLst>
              <a:gd name="T0" fmla="*/ 214 w 700"/>
              <a:gd name="T1" fmla="*/ 140 h 475"/>
              <a:gd name="T2" fmla="*/ 187 w 700"/>
              <a:gd name="T3" fmla="*/ 21 h 475"/>
              <a:gd name="T4" fmla="*/ 113 w 700"/>
              <a:gd name="T5" fmla="*/ 12 h 475"/>
              <a:gd name="T6" fmla="*/ 82 w 700"/>
              <a:gd name="T7" fmla="*/ 6 h 475"/>
              <a:gd name="T8" fmla="*/ 57 w 700"/>
              <a:gd name="T9" fmla="*/ 13 h 475"/>
              <a:gd name="T10" fmla="*/ 11 w 700"/>
              <a:gd name="T11" fmla="*/ 36 h 475"/>
              <a:gd name="T12" fmla="*/ 43 w 700"/>
              <a:gd name="T13" fmla="*/ 63 h 475"/>
              <a:gd name="T14" fmla="*/ 10 w 700"/>
              <a:gd name="T15" fmla="*/ 64 h 475"/>
              <a:gd name="T16" fmla="*/ 36 w 700"/>
              <a:gd name="T17" fmla="*/ 83 h 475"/>
              <a:gd name="T18" fmla="*/ 26 w 700"/>
              <a:gd name="T19" fmla="*/ 96 h 475"/>
              <a:gd name="T20" fmla="*/ 28 w 700"/>
              <a:gd name="T21" fmla="*/ 133 h 475"/>
              <a:gd name="T22" fmla="*/ 58 w 700"/>
              <a:gd name="T23" fmla="*/ 144 h 475"/>
              <a:gd name="T24" fmla="*/ 62 w 700"/>
              <a:gd name="T25" fmla="*/ 164 h 475"/>
              <a:gd name="T26" fmla="*/ 51 w 700"/>
              <a:gd name="T27" fmla="*/ 175 h 475"/>
              <a:gd name="T28" fmla="*/ 89 w 700"/>
              <a:gd name="T29" fmla="*/ 152 h 475"/>
              <a:gd name="T30" fmla="*/ 105 w 700"/>
              <a:gd name="T31" fmla="*/ 130 h 475"/>
              <a:gd name="T32" fmla="*/ 116 w 700"/>
              <a:gd name="T33" fmla="*/ 122 h 475"/>
              <a:gd name="T34" fmla="*/ 138 w 700"/>
              <a:gd name="T35" fmla="*/ 131 h 475"/>
              <a:gd name="T36" fmla="*/ 152 w 700"/>
              <a:gd name="T37" fmla="*/ 123 h 475"/>
              <a:gd name="T38" fmla="*/ 168 w 700"/>
              <a:gd name="T39" fmla="*/ 130 h 475"/>
              <a:gd name="T40" fmla="*/ 208 w 700"/>
              <a:gd name="T41" fmla="*/ 141 h 475"/>
              <a:gd name="T42" fmla="*/ 229 w 700"/>
              <a:gd name="T43" fmla="*/ 151 h 475"/>
              <a:gd name="T44" fmla="*/ 230 w 700"/>
              <a:gd name="T45" fmla="*/ 159 h 475"/>
              <a:gd name="T46" fmla="*/ 237 w 700"/>
              <a:gd name="T47" fmla="*/ 160 h 475"/>
              <a:gd name="T48" fmla="*/ 245 w 700"/>
              <a:gd name="T49" fmla="*/ 167 h 475"/>
              <a:gd name="T50" fmla="*/ 242 w 700"/>
              <a:gd name="T51" fmla="*/ 183 h 475"/>
              <a:gd name="T52" fmla="*/ 257 w 700"/>
              <a:gd name="T53" fmla="*/ 183 h 475"/>
              <a:gd name="T54" fmla="*/ 9 w 700"/>
              <a:gd name="T55" fmla="*/ 191 h 475"/>
              <a:gd name="T56" fmla="*/ 109 w 700"/>
              <a:gd name="T57" fmla="*/ 146 h 475"/>
              <a:gd name="T58" fmla="*/ 108 w 700"/>
              <a:gd name="T59" fmla="*/ 156 h 475"/>
              <a:gd name="T60" fmla="*/ 15 w 700"/>
              <a:gd name="T61" fmla="*/ 133 h 475"/>
              <a:gd name="T62" fmla="*/ 86 w 700"/>
              <a:gd name="T63" fmla="*/ 465 h 475"/>
              <a:gd name="T64" fmla="*/ 57 w 700"/>
              <a:gd name="T65" fmla="*/ 452 h 475"/>
              <a:gd name="T66" fmla="*/ 676 w 700"/>
              <a:gd name="T67" fmla="*/ 262 h 475"/>
              <a:gd name="T68" fmla="*/ 616 w 700"/>
              <a:gd name="T69" fmla="*/ 285 h 475"/>
              <a:gd name="T70" fmla="*/ 593 w 700"/>
              <a:gd name="T71" fmla="*/ 294 h 475"/>
              <a:gd name="T72" fmla="*/ 567 w 700"/>
              <a:gd name="T73" fmla="*/ 273 h 475"/>
              <a:gd name="T74" fmla="*/ 581 w 700"/>
              <a:gd name="T75" fmla="*/ 261 h 475"/>
              <a:gd name="T76" fmla="*/ 553 w 700"/>
              <a:gd name="T77" fmla="*/ 254 h 475"/>
              <a:gd name="T78" fmla="*/ 534 w 700"/>
              <a:gd name="T79" fmla="*/ 243 h 475"/>
              <a:gd name="T80" fmla="*/ 505 w 700"/>
              <a:gd name="T81" fmla="*/ 235 h 475"/>
              <a:gd name="T82" fmla="*/ 313 w 700"/>
              <a:gd name="T83" fmla="*/ 244 h 475"/>
              <a:gd name="T84" fmla="*/ 307 w 700"/>
              <a:gd name="T85" fmla="*/ 260 h 475"/>
              <a:gd name="T86" fmla="*/ 308 w 700"/>
              <a:gd name="T87" fmla="*/ 323 h 475"/>
              <a:gd name="T88" fmla="*/ 331 w 700"/>
              <a:gd name="T89" fmla="*/ 356 h 475"/>
              <a:gd name="T90" fmla="*/ 377 w 700"/>
              <a:gd name="T91" fmla="*/ 375 h 475"/>
              <a:gd name="T92" fmla="*/ 440 w 700"/>
              <a:gd name="T93" fmla="*/ 391 h 475"/>
              <a:gd name="T94" fmla="*/ 476 w 700"/>
              <a:gd name="T95" fmla="*/ 414 h 475"/>
              <a:gd name="T96" fmla="*/ 495 w 700"/>
              <a:gd name="T97" fmla="*/ 403 h 475"/>
              <a:gd name="T98" fmla="*/ 520 w 700"/>
              <a:gd name="T99" fmla="*/ 393 h 475"/>
              <a:gd name="T100" fmla="*/ 544 w 700"/>
              <a:gd name="T101" fmla="*/ 395 h 475"/>
              <a:gd name="T102" fmla="*/ 572 w 700"/>
              <a:gd name="T103" fmla="*/ 393 h 475"/>
              <a:gd name="T104" fmla="*/ 596 w 700"/>
              <a:gd name="T105" fmla="*/ 421 h 475"/>
              <a:gd name="T106" fmla="*/ 599 w 700"/>
              <a:gd name="T107" fmla="*/ 386 h 475"/>
              <a:gd name="T108" fmla="*/ 631 w 700"/>
              <a:gd name="T109" fmla="*/ 351 h 475"/>
              <a:gd name="T110" fmla="*/ 634 w 700"/>
              <a:gd name="T111" fmla="*/ 335 h 475"/>
              <a:gd name="T112" fmla="*/ 637 w 700"/>
              <a:gd name="T113" fmla="*/ 332 h 475"/>
              <a:gd name="T114" fmla="*/ 654 w 700"/>
              <a:gd name="T115" fmla="*/ 308 h 475"/>
              <a:gd name="T116" fmla="*/ 672 w 700"/>
              <a:gd name="T117" fmla="*/ 293 h 475"/>
              <a:gd name="T118" fmla="*/ 700 w 700"/>
              <a:gd name="T119" fmla="*/ 271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0" h="475">
                <a:moveTo>
                  <a:pt x="263" y="174"/>
                </a:moveTo>
                <a:cubicBezTo>
                  <a:pt x="264" y="172"/>
                  <a:pt x="264" y="170"/>
                  <a:pt x="256" y="167"/>
                </a:cubicBezTo>
                <a:cubicBezTo>
                  <a:pt x="249" y="164"/>
                  <a:pt x="249" y="162"/>
                  <a:pt x="244" y="152"/>
                </a:cubicBezTo>
                <a:cubicBezTo>
                  <a:pt x="239" y="143"/>
                  <a:pt x="229" y="139"/>
                  <a:pt x="229" y="136"/>
                </a:cubicBezTo>
                <a:cubicBezTo>
                  <a:pt x="229" y="132"/>
                  <a:pt x="220" y="132"/>
                  <a:pt x="220" y="135"/>
                </a:cubicBezTo>
                <a:cubicBezTo>
                  <a:pt x="220" y="138"/>
                  <a:pt x="216" y="139"/>
                  <a:pt x="214" y="140"/>
                </a:cubicBezTo>
                <a:cubicBezTo>
                  <a:pt x="211" y="141"/>
                  <a:pt x="210" y="139"/>
                  <a:pt x="208" y="137"/>
                </a:cubicBezTo>
                <a:cubicBezTo>
                  <a:pt x="206" y="134"/>
                  <a:pt x="201" y="131"/>
                  <a:pt x="201" y="130"/>
                </a:cubicBezTo>
                <a:cubicBezTo>
                  <a:pt x="201" y="128"/>
                  <a:pt x="200" y="125"/>
                  <a:pt x="197" y="126"/>
                </a:cubicBezTo>
                <a:cubicBezTo>
                  <a:pt x="193" y="128"/>
                  <a:pt x="191" y="126"/>
                  <a:pt x="190" y="127"/>
                </a:cubicBezTo>
                <a:cubicBezTo>
                  <a:pt x="189" y="129"/>
                  <a:pt x="187" y="127"/>
                  <a:pt x="187" y="127"/>
                </a:cubicBezTo>
                <a:cubicBezTo>
                  <a:pt x="187" y="21"/>
                  <a:pt x="187" y="21"/>
                  <a:pt x="187" y="21"/>
                </a:cubicBezTo>
                <a:cubicBezTo>
                  <a:pt x="186" y="21"/>
                  <a:pt x="184" y="21"/>
                  <a:pt x="184" y="20"/>
                </a:cubicBezTo>
                <a:cubicBezTo>
                  <a:pt x="179" y="19"/>
                  <a:pt x="173" y="16"/>
                  <a:pt x="169" y="16"/>
                </a:cubicBezTo>
                <a:cubicBezTo>
                  <a:pt x="166" y="17"/>
                  <a:pt x="159" y="18"/>
                  <a:pt x="156" y="17"/>
                </a:cubicBezTo>
                <a:cubicBezTo>
                  <a:pt x="154" y="16"/>
                  <a:pt x="150" y="15"/>
                  <a:pt x="145" y="15"/>
                </a:cubicBezTo>
                <a:cubicBezTo>
                  <a:pt x="140" y="16"/>
                  <a:pt x="137" y="13"/>
                  <a:pt x="131" y="11"/>
                </a:cubicBezTo>
                <a:cubicBezTo>
                  <a:pt x="124" y="10"/>
                  <a:pt x="115" y="12"/>
                  <a:pt x="113" y="12"/>
                </a:cubicBezTo>
                <a:cubicBezTo>
                  <a:pt x="111" y="13"/>
                  <a:pt x="111" y="10"/>
                  <a:pt x="109" y="10"/>
                </a:cubicBezTo>
                <a:cubicBezTo>
                  <a:pt x="106" y="11"/>
                  <a:pt x="108" y="9"/>
                  <a:pt x="106" y="7"/>
                </a:cubicBezTo>
                <a:cubicBezTo>
                  <a:pt x="105" y="5"/>
                  <a:pt x="97" y="7"/>
                  <a:pt x="95" y="7"/>
                </a:cubicBezTo>
                <a:cubicBezTo>
                  <a:pt x="92" y="7"/>
                  <a:pt x="91" y="6"/>
                  <a:pt x="91" y="4"/>
                </a:cubicBezTo>
                <a:cubicBezTo>
                  <a:pt x="91" y="3"/>
                  <a:pt x="89" y="3"/>
                  <a:pt x="88" y="5"/>
                </a:cubicBezTo>
                <a:cubicBezTo>
                  <a:pt x="87" y="7"/>
                  <a:pt x="84" y="7"/>
                  <a:pt x="82" y="6"/>
                </a:cubicBezTo>
                <a:cubicBezTo>
                  <a:pt x="81" y="5"/>
                  <a:pt x="85" y="4"/>
                  <a:pt x="85" y="3"/>
                </a:cubicBezTo>
                <a:cubicBezTo>
                  <a:pt x="85" y="2"/>
                  <a:pt x="81" y="1"/>
                  <a:pt x="80" y="0"/>
                </a:cubicBezTo>
                <a:cubicBezTo>
                  <a:pt x="78" y="0"/>
                  <a:pt x="76" y="2"/>
                  <a:pt x="72" y="5"/>
                </a:cubicBezTo>
                <a:cubicBezTo>
                  <a:pt x="69" y="8"/>
                  <a:pt x="64" y="7"/>
                  <a:pt x="62" y="7"/>
                </a:cubicBezTo>
                <a:cubicBezTo>
                  <a:pt x="59" y="7"/>
                  <a:pt x="55" y="7"/>
                  <a:pt x="55" y="9"/>
                </a:cubicBezTo>
                <a:cubicBezTo>
                  <a:pt x="55" y="11"/>
                  <a:pt x="59" y="11"/>
                  <a:pt x="57" y="13"/>
                </a:cubicBezTo>
                <a:cubicBezTo>
                  <a:pt x="55" y="15"/>
                  <a:pt x="54" y="10"/>
                  <a:pt x="52" y="12"/>
                </a:cubicBezTo>
                <a:cubicBezTo>
                  <a:pt x="50" y="14"/>
                  <a:pt x="43" y="14"/>
                  <a:pt x="42" y="14"/>
                </a:cubicBezTo>
                <a:cubicBezTo>
                  <a:pt x="40" y="14"/>
                  <a:pt x="35" y="19"/>
                  <a:pt x="33" y="21"/>
                </a:cubicBezTo>
                <a:cubicBezTo>
                  <a:pt x="32" y="22"/>
                  <a:pt x="35" y="24"/>
                  <a:pt x="31" y="28"/>
                </a:cubicBezTo>
                <a:cubicBezTo>
                  <a:pt x="26" y="32"/>
                  <a:pt x="15" y="32"/>
                  <a:pt x="13" y="32"/>
                </a:cubicBezTo>
                <a:cubicBezTo>
                  <a:pt x="11" y="32"/>
                  <a:pt x="13" y="34"/>
                  <a:pt x="11" y="36"/>
                </a:cubicBezTo>
                <a:cubicBezTo>
                  <a:pt x="10" y="38"/>
                  <a:pt x="13" y="39"/>
                  <a:pt x="19" y="41"/>
                </a:cubicBezTo>
                <a:cubicBezTo>
                  <a:pt x="25" y="42"/>
                  <a:pt x="30" y="51"/>
                  <a:pt x="30" y="53"/>
                </a:cubicBezTo>
                <a:cubicBezTo>
                  <a:pt x="31" y="55"/>
                  <a:pt x="39" y="53"/>
                  <a:pt x="42" y="53"/>
                </a:cubicBezTo>
                <a:cubicBezTo>
                  <a:pt x="45" y="53"/>
                  <a:pt x="42" y="58"/>
                  <a:pt x="44" y="59"/>
                </a:cubicBezTo>
                <a:cubicBezTo>
                  <a:pt x="47" y="60"/>
                  <a:pt x="51" y="58"/>
                  <a:pt x="51" y="60"/>
                </a:cubicBezTo>
                <a:cubicBezTo>
                  <a:pt x="52" y="63"/>
                  <a:pt x="46" y="60"/>
                  <a:pt x="43" y="63"/>
                </a:cubicBezTo>
                <a:cubicBezTo>
                  <a:pt x="40" y="65"/>
                  <a:pt x="39" y="66"/>
                  <a:pt x="37" y="64"/>
                </a:cubicBezTo>
                <a:cubicBezTo>
                  <a:pt x="36" y="63"/>
                  <a:pt x="31" y="64"/>
                  <a:pt x="29" y="64"/>
                </a:cubicBezTo>
                <a:cubicBezTo>
                  <a:pt x="26" y="64"/>
                  <a:pt x="28" y="61"/>
                  <a:pt x="29" y="59"/>
                </a:cubicBezTo>
                <a:cubicBezTo>
                  <a:pt x="29" y="58"/>
                  <a:pt x="25" y="57"/>
                  <a:pt x="20" y="60"/>
                </a:cubicBezTo>
                <a:cubicBezTo>
                  <a:pt x="15" y="63"/>
                  <a:pt x="17" y="62"/>
                  <a:pt x="16" y="64"/>
                </a:cubicBezTo>
                <a:cubicBezTo>
                  <a:pt x="16" y="66"/>
                  <a:pt x="13" y="62"/>
                  <a:pt x="10" y="64"/>
                </a:cubicBezTo>
                <a:cubicBezTo>
                  <a:pt x="7" y="66"/>
                  <a:pt x="2" y="68"/>
                  <a:pt x="1" y="70"/>
                </a:cubicBezTo>
                <a:cubicBezTo>
                  <a:pt x="0" y="72"/>
                  <a:pt x="8" y="73"/>
                  <a:pt x="11" y="74"/>
                </a:cubicBezTo>
                <a:cubicBezTo>
                  <a:pt x="14" y="74"/>
                  <a:pt x="7" y="76"/>
                  <a:pt x="10" y="77"/>
                </a:cubicBezTo>
                <a:cubicBezTo>
                  <a:pt x="12" y="78"/>
                  <a:pt x="11" y="80"/>
                  <a:pt x="15" y="82"/>
                </a:cubicBezTo>
                <a:cubicBezTo>
                  <a:pt x="19" y="84"/>
                  <a:pt x="27" y="82"/>
                  <a:pt x="30" y="82"/>
                </a:cubicBezTo>
                <a:cubicBezTo>
                  <a:pt x="32" y="82"/>
                  <a:pt x="34" y="85"/>
                  <a:pt x="36" y="83"/>
                </a:cubicBezTo>
                <a:cubicBezTo>
                  <a:pt x="38" y="81"/>
                  <a:pt x="44" y="75"/>
                  <a:pt x="48" y="79"/>
                </a:cubicBezTo>
                <a:cubicBezTo>
                  <a:pt x="51" y="82"/>
                  <a:pt x="44" y="81"/>
                  <a:pt x="46" y="83"/>
                </a:cubicBezTo>
                <a:cubicBezTo>
                  <a:pt x="48" y="85"/>
                  <a:pt x="50" y="90"/>
                  <a:pt x="47" y="93"/>
                </a:cubicBezTo>
                <a:cubicBezTo>
                  <a:pt x="43" y="95"/>
                  <a:pt x="40" y="93"/>
                  <a:pt x="38" y="93"/>
                </a:cubicBezTo>
                <a:cubicBezTo>
                  <a:pt x="37" y="93"/>
                  <a:pt x="38" y="96"/>
                  <a:pt x="35" y="99"/>
                </a:cubicBezTo>
                <a:cubicBezTo>
                  <a:pt x="32" y="101"/>
                  <a:pt x="30" y="96"/>
                  <a:pt x="26" y="96"/>
                </a:cubicBezTo>
                <a:cubicBezTo>
                  <a:pt x="22" y="96"/>
                  <a:pt x="23" y="101"/>
                  <a:pt x="23" y="103"/>
                </a:cubicBezTo>
                <a:cubicBezTo>
                  <a:pt x="23" y="106"/>
                  <a:pt x="18" y="103"/>
                  <a:pt x="16" y="108"/>
                </a:cubicBezTo>
                <a:cubicBezTo>
                  <a:pt x="15" y="114"/>
                  <a:pt x="9" y="109"/>
                  <a:pt x="13" y="115"/>
                </a:cubicBezTo>
                <a:cubicBezTo>
                  <a:pt x="17" y="120"/>
                  <a:pt x="16" y="116"/>
                  <a:pt x="19" y="119"/>
                </a:cubicBezTo>
                <a:cubicBezTo>
                  <a:pt x="22" y="121"/>
                  <a:pt x="16" y="125"/>
                  <a:pt x="19" y="125"/>
                </a:cubicBezTo>
                <a:cubicBezTo>
                  <a:pt x="22" y="126"/>
                  <a:pt x="25" y="131"/>
                  <a:pt x="28" y="133"/>
                </a:cubicBezTo>
                <a:cubicBezTo>
                  <a:pt x="30" y="135"/>
                  <a:pt x="32" y="132"/>
                  <a:pt x="36" y="132"/>
                </a:cubicBezTo>
                <a:cubicBezTo>
                  <a:pt x="39" y="132"/>
                  <a:pt x="37" y="127"/>
                  <a:pt x="39" y="129"/>
                </a:cubicBezTo>
                <a:cubicBezTo>
                  <a:pt x="41" y="131"/>
                  <a:pt x="44" y="136"/>
                  <a:pt x="42" y="137"/>
                </a:cubicBezTo>
                <a:cubicBezTo>
                  <a:pt x="40" y="138"/>
                  <a:pt x="42" y="142"/>
                  <a:pt x="41" y="144"/>
                </a:cubicBezTo>
                <a:cubicBezTo>
                  <a:pt x="41" y="146"/>
                  <a:pt x="48" y="145"/>
                  <a:pt x="49" y="143"/>
                </a:cubicBezTo>
                <a:cubicBezTo>
                  <a:pt x="49" y="141"/>
                  <a:pt x="55" y="140"/>
                  <a:pt x="58" y="144"/>
                </a:cubicBezTo>
                <a:cubicBezTo>
                  <a:pt x="61" y="147"/>
                  <a:pt x="62" y="148"/>
                  <a:pt x="62" y="145"/>
                </a:cubicBezTo>
                <a:cubicBezTo>
                  <a:pt x="62" y="142"/>
                  <a:pt x="65" y="139"/>
                  <a:pt x="65" y="142"/>
                </a:cubicBezTo>
                <a:cubicBezTo>
                  <a:pt x="66" y="144"/>
                  <a:pt x="68" y="144"/>
                  <a:pt x="73" y="142"/>
                </a:cubicBezTo>
                <a:cubicBezTo>
                  <a:pt x="78" y="140"/>
                  <a:pt x="75" y="142"/>
                  <a:pt x="73" y="145"/>
                </a:cubicBezTo>
                <a:cubicBezTo>
                  <a:pt x="70" y="150"/>
                  <a:pt x="73" y="156"/>
                  <a:pt x="71" y="156"/>
                </a:cubicBezTo>
                <a:cubicBezTo>
                  <a:pt x="68" y="157"/>
                  <a:pt x="66" y="163"/>
                  <a:pt x="62" y="164"/>
                </a:cubicBezTo>
                <a:cubicBezTo>
                  <a:pt x="58" y="164"/>
                  <a:pt x="51" y="172"/>
                  <a:pt x="51" y="173"/>
                </a:cubicBezTo>
                <a:cubicBezTo>
                  <a:pt x="50" y="174"/>
                  <a:pt x="41" y="171"/>
                  <a:pt x="40" y="174"/>
                </a:cubicBezTo>
                <a:cubicBezTo>
                  <a:pt x="39" y="178"/>
                  <a:pt x="34" y="180"/>
                  <a:pt x="35" y="182"/>
                </a:cubicBezTo>
                <a:cubicBezTo>
                  <a:pt x="36" y="182"/>
                  <a:pt x="43" y="179"/>
                  <a:pt x="43" y="177"/>
                </a:cubicBezTo>
                <a:cubicBezTo>
                  <a:pt x="43" y="175"/>
                  <a:pt x="44" y="176"/>
                  <a:pt x="46" y="177"/>
                </a:cubicBezTo>
                <a:cubicBezTo>
                  <a:pt x="47" y="178"/>
                  <a:pt x="50" y="176"/>
                  <a:pt x="51" y="175"/>
                </a:cubicBezTo>
                <a:cubicBezTo>
                  <a:pt x="53" y="174"/>
                  <a:pt x="55" y="174"/>
                  <a:pt x="56" y="175"/>
                </a:cubicBezTo>
                <a:cubicBezTo>
                  <a:pt x="58" y="175"/>
                  <a:pt x="58" y="173"/>
                  <a:pt x="62" y="172"/>
                </a:cubicBezTo>
                <a:cubicBezTo>
                  <a:pt x="66" y="171"/>
                  <a:pt x="66" y="170"/>
                  <a:pt x="66" y="168"/>
                </a:cubicBezTo>
                <a:cubicBezTo>
                  <a:pt x="67" y="166"/>
                  <a:pt x="77" y="161"/>
                  <a:pt x="79" y="161"/>
                </a:cubicBezTo>
                <a:cubicBezTo>
                  <a:pt x="81" y="160"/>
                  <a:pt x="80" y="157"/>
                  <a:pt x="82" y="157"/>
                </a:cubicBezTo>
                <a:cubicBezTo>
                  <a:pt x="84" y="157"/>
                  <a:pt x="87" y="154"/>
                  <a:pt x="89" y="152"/>
                </a:cubicBezTo>
                <a:cubicBezTo>
                  <a:pt x="92" y="150"/>
                  <a:pt x="93" y="151"/>
                  <a:pt x="95" y="150"/>
                </a:cubicBezTo>
                <a:cubicBezTo>
                  <a:pt x="97" y="150"/>
                  <a:pt x="95" y="146"/>
                  <a:pt x="97" y="145"/>
                </a:cubicBezTo>
                <a:cubicBezTo>
                  <a:pt x="99" y="145"/>
                  <a:pt x="101" y="144"/>
                  <a:pt x="101" y="142"/>
                </a:cubicBezTo>
                <a:cubicBezTo>
                  <a:pt x="101" y="140"/>
                  <a:pt x="95" y="140"/>
                  <a:pt x="95" y="139"/>
                </a:cubicBezTo>
                <a:cubicBezTo>
                  <a:pt x="95" y="138"/>
                  <a:pt x="99" y="134"/>
                  <a:pt x="101" y="134"/>
                </a:cubicBezTo>
                <a:cubicBezTo>
                  <a:pt x="102" y="134"/>
                  <a:pt x="105" y="133"/>
                  <a:pt x="105" y="130"/>
                </a:cubicBezTo>
                <a:cubicBezTo>
                  <a:pt x="105" y="128"/>
                  <a:pt x="108" y="127"/>
                  <a:pt x="110" y="125"/>
                </a:cubicBezTo>
                <a:cubicBezTo>
                  <a:pt x="112" y="123"/>
                  <a:pt x="111" y="121"/>
                  <a:pt x="113" y="121"/>
                </a:cubicBezTo>
                <a:cubicBezTo>
                  <a:pt x="115" y="121"/>
                  <a:pt x="117" y="118"/>
                  <a:pt x="119" y="117"/>
                </a:cubicBezTo>
                <a:cubicBezTo>
                  <a:pt x="121" y="116"/>
                  <a:pt x="119" y="118"/>
                  <a:pt x="123" y="118"/>
                </a:cubicBezTo>
                <a:cubicBezTo>
                  <a:pt x="128" y="119"/>
                  <a:pt x="127" y="122"/>
                  <a:pt x="124" y="121"/>
                </a:cubicBezTo>
                <a:cubicBezTo>
                  <a:pt x="121" y="120"/>
                  <a:pt x="119" y="120"/>
                  <a:pt x="116" y="122"/>
                </a:cubicBezTo>
                <a:cubicBezTo>
                  <a:pt x="114" y="125"/>
                  <a:pt x="116" y="126"/>
                  <a:pt x="114" y="129"/>
                </a:cubicBezTo>
                <a:cubicBezTo>
                  <a:pt x="112" y="132"/>
                  <a:pt x="111" y="133"/>
                  <a:pt x="114" y="134"/>
                </a:cubicBezTo>
                <a:cubicBezTo>
                  <a:pt x="117" y="134"/>
                  <a:pt x="114" y="136"/>
                  <a:pt x="112" y="137"/>
                </a:cubicBezTo>
                <a:cubicBezTo>
                  <a:pt x="109" y="138"/>
                  <a:pt x="111" y="139"/>
                  <a:pt x="114" y="139"/>
                </a:cubicBezTo>
                <a:cubicBezTo>
                  <a:pt x="118" y="139"/>
                  <a:pt x="123" y="134"/>
                  <a:pt x="128" y="132"/>
                </a:cubicBezTo>
                <a:cubicBezTo>
                  <a:pt x="133" y="129"/>
                  <a:pt x="137" y="132"/>
                  <a:pt x="138" y="131"/>
                </a:cubicBezTo>
                <a:cubicBezTo>
                  <a:pt x="139" y="131"/>
                  <a:pt x="136" y="128"/>
                  <a:pt x="138" y="128"/>
                </a:cubicBezTo>
                <a:cubicBezTo>
                  <a:pt x="140" y="127"/>
                  <a:pt x="136" y="126"/>
                  <a:pt x="135" y="124"/>
                </a:cubicBezTo>
                <a:cubicBezTo>
                  <a:pt x="134" y="121"/>
                  <a:pt x="137" y="122"/>
                  <a:pt x="137" y="120"/>
                </a:cubicBezTo>
                <a:cubicBezTo>
                  <a:pt x="138" y="118"/>
                  <a:pt x="140" y="119"/>
                  <a:pt x="141" y="120"/>
                </a:cubicBezTo>
                <a:cubicBezTo>
                  <a:pt x="143" y="121"/>
                  <a:pt x="145" y="119"/>
                  <a:pt x="146" y="122"/>
                </a:cubicBezTo>
                <a:cubicBezTo>
                  <a:pt x="148" y="125"/>
                  <a:pt x="149" y="121"/>
                  <a:pt x="152" y="123"/>
                </a:cubicBezTo>
                <a:cubicBezTo>
                  <a:pt x="154" y="125"/>
                  <a:pt x="151" y="125"/>
                  <a:pt x="148" y="125"/>
                </a:cubicBezTo>
                <a:cubicBezTo>
                  <a:pt x="146" y="126"/>
                  <a:pt x="147" y="129"/>
                  <a:pt x="149" y="128"/>
                </a:cubicBezTo>
                <a:cubicBezTo>
                  <a:pt x="151" y="126"/>
                  <a:pt x="153" y="125"/>
                  <a:pt x="155" y="127"/>
                </a:cubicBezTo>
                <a:cubicBezTo>
                  <a:pt x="157" y="128"/>
                  <a:pt x="157" y="127"/>
                  <a:pt x="159" y="126"/>
                </a:cubicBezTo>
                <a:cubicBezTo>
                  <a:pt x="160" y="124"/>
                  <a:pt x="160" y="126"/>
                  <a:pt x="160" y="127"/>
                </a:cubicBezTo>
                <a:cubicBezTo>
                  <a:pt x="160" y="129"/>
                  <a:pt x="164" y="129"/>
                  <a:pt x="168" y="130"/>
                </a:cubicBezTo>
                <a:cubicBezTo>
                  <a:pt x="173" y="131"/>
                  <a:pt x="181" y="129"/>
                  <a:pt x="183" y="129"/>
                </a:cubicBezTo>
                <a:cubicBezTo>
                  <a:pt x="185" y="129"/>
                  <a:pt x="185" y="133"/>
                  <a:pt x="189" y="133"/>
                </a:cubicBezTo>
                <a:cubicBezTo>
                  <a:pt x="194" y="134"/>
                  <a:pt x="195" y="129"/>
                  <a:pt x="198" y="131"/>
                </a:cubicBezTo>
                <a:cubicBezTo>
                  <a:pt x="200" y="133"/>
                  <a:pt x="198" y="133"/>
                  <a:pt x="196" y="135"/>
                </a:cubicBezTo>
                <a:cubicBezTo>
                  <a:pt x="195" y="136"/>
                  <a:pt x="198" y="137"/>
                  <a:pt x="200" y="137"/>
                </a:cubicBezTo>
                <a:cubicBezTo>
                  <a:pt x="201" y="138"/>
                  <a:pt x="206" y="139"/>
                  <a:pt x="208" y="141"/>
                </a:cubicBezTo>
                <a:cubicBezTo>
                  <a:pt x="210" y="143"/>
                  <a:pt x="211" y="145"/>
                  <a:pt x="216" y="148"/>
                </a:cubicBezTo>
                <a:cubicBezTo>
                  <a:pt x="221" y="150"/>
                  <a:pt x="216" y="142"/>
                  <a:pt x="220" y="145"/>
                </a:cubicBezTo>
                <a:cubicBezTo>
                  <a:pt x="224" y="147"/>
                  <a:pt x="222" y="145"/>
                  <a:pt x="225" y="147"/>
                </a:cubicBezTo>
                <a:cubicBezTo>
                  <a:pt x="228" y="150"/>
                  <a:pt x="227" y="146"/>
                  <a:pt x="226" y="142"/>
                </a:cubicBezTo>
                <a:cubicBezTo>
                  <a:pt x="225" y="137"/>
                  <a:pt x="227" y="140"/>
                  <a:pt x="229" y="142"/>
                </a:cubicBezTo>
                <a:cubicBezTo>
                  <a:pt x="230" y="144"/>
                  <a:pt x="230" y="149"/>
                  <a:pt x="229" y="151"/>
                </a:cubicBezTo>
                <a:cubicBezTo>
                  <a:pt x="228" y="154"/>
                  <a:pt x="224" y="152"/>
                  <a:pt x="224" y="150"/>
                </a:cubicBezTo>
                <a:cubicBezTo>
                  <a:pt x="225" y="149"/>
                  <a:pt x="219" y="149"/>
                  <a:pt x="219" y="151"/>
                </a:cubicBezTo>
                <a:cubicBezTo>
                  <a:pt x="219" y="154"/>
                  <a:pt x="223" y="158"/>
                  <a:pt x="225" y="158"/>
                </a:cubicBezTo>
                <a:cubicBezTo>
                  <a:pt x="227" y="159"/>
                  <a:pt x="226" y="162"/>
                  <a:pt x="227" y="163"/>
                </a:cubicBezTo>
                <a:cubicBezTo>
                  <a:pt x="229" y="164"/>
                  <a:pt x="229" y="167"/>
                  <a:pt x="230" y="167"/>
                </a:cubicBezTo>
                <a:cubicBezTo>
                  <a:pt x="232" y="166"/>
                  <a:pt x="231" y="162"/>
                  <a:pt x="230" y="159"/>
                </a:cubicBezTo>
                <a:cubicBezTo>
                  <a:pt x="228" y="157"/>
                  <a:pt x="229" y="154"/>
                  <a:pt x="231" y="155"/>
                </a:cubicBezTo>
                <a:cubicBezTo>
                  <a:pt x="233" y="155"/>
                  <a:pt x="231" y="159"/>
                  <a:pt x="232" y="160"/>
                </a:cubicBezTo>
                <a:cubicBezTo>
                  <a:pt x="233" y="161"/>
                  <a:pt x="234" y="159"/>
                  <a:pt x="236" y="157"/>
                </a:cubicBezTo>
                <a:cubicBezTo>
                  <a:pt x="238" y="156"/>
                  <a:pt x="235" y="153"/>
                  <a:pt x="236" y="151"/>
                </a:cubicBezTo>
                <a:cubicBezTo>
                  <a:pt x="236" y="149"/>
                  <a:pt x="239" y="152"/>
                  <a:pt x="240" y="156"/>
                </a:cubicBezTo>
                <a:cubicBezTo>
                  <a:pt x="241" y="159"/>
                  <a:pt x="237" y="159"/>
                  <a:pt x="237" y="160"/>
                </a:cubicBezTo>
                <a:cubicBezTo>
                  <a:pt x="237" y="162"/>
                  <a:pt x="235" y="161"/>
                  <a:pt x="234" y="162"/>
                </a:cubicBezTo>
                <a:cubicBezTo>
                  <a:pt x="233" y="163"/>
                  <a:pt x="233" y="169"/>
                  <a:pt x="234" y="169"/>
                </a:cubicBezTo>
                <a:cubicBezTo>
                  <a:pt x="236" y="169"/>
                  <a:pt x="236" y="164"/>
                  <a:pt x="237" y="167"/>
                </a:cubicBezTo>
                <a:cubicBezTo>
                  <a:pt x="238" y="169"/>
                  <a:pt x="241" y="164"/>
                  <a:pt x="242" y="166"/>
                </a:cubicBezTo>
                <a:cubicBezTo>
                  <a:pt x="242" y="168"/>
                  <a:pt x="246" y="171"/>
                  <a:pt x="247" y="171"/>
                </a:cubicBezTo>
                <a:cubicBezTo>
                  <a:pt x="249" y="170"/>
                  <a:pt x="247" y="167"/>
                  <a:pt x="245" y="167"/>
                </a:cubicBezTo>
                <a:cubicBezTo>
                  <a:pt x="243" y="167"/>
                  <a:pt x="243" y="164"/>
                  <a:pt x="245" y="163"/>
                </a:cubicBezTo>
                <a:cubicBezTo>
                  <a:pt x="247" y="163"/>
                  <a:pt x="250" y="168"/>
                  <a:pt x="250" y="170"/>
                </a:cubicBezTo>
                <a:cubicBezTo>
                  <a:pt x="250" y="172"/>
                  <a:pt x="248" y="172"/>
                  <a:pt x="247" y="174"/>
                </a:cubicBezTo>
                <a:cubicBezTo>
                  <a:pt x="245" y="176"/>
                  <a:pt x="243" y="171"/>
                  <a:pt x="241" y="171"/>
                </a:cubicBezTo>
                <a:cubicBezTo>
                  <a:pt x="239" y="171"/>
                  <a:pt x="241" y="174"/>
                  <a:pt x="242" y="176"/>
                </a:cubicBezTo>
                <a:cubicBezTo>
                  <a:pt x="243" y="178"/>
                  <a:pt x="239" y="181"/>
                  <a:pt x="242" y="183"/>
                </a:cubicBezTo>
                <a:cubicBezTo>
                  <a:pt x="244" y="185"/>
                  <a:pt x="244" y="182"/>
                  <a:pt x="244" y="181"/>
                </a:cubicBezTo>
                <a:cubicBezTo>
                  <a:pt x="244" y="179"/>
                  <a:pt x="246" y="181"/>
                  <a:pt x="248" y="182"/>
                </a:cubicBezTo>
                <a:cubicBezTo>
                  <a:pt x="249" y="183"/>
                  <a:pt x="249" y="180"/>
                  <a:pt x="249" y="178"/>
                </a:cubicBezTo>
                <a:cubicBezTo>
                  <a:pt x="249" y="177"/>
                  <a:pt x="252" y="178"/>
                  <a:pt x="253" y="179"/>
                </a:cubicBezTo>
                <a:cubicBezTo>
                  <a:pt x="254" y="181"/>
                  <a:pt x="254" y="177"/>
                  <a:pt x="256" y="178"/>
                </a:cubicBezTo>
                <a:cubicBezTo>
                  <a:pt x="258" y="178"/>
                  <a:pt x="257" y="181"/>
                  <a:pt x="257" y="183"/>
                </a:cubicBezTo>
                <a:cubicBezTo>
                  <a:pt x="257" y="184"/>
                  <a:pt x="260" y="181"/>
                  <a:pt x="260" y="183"/>
                </a:cubicBezTo>
                <a:cubicBezTo>
                  <a:pt x="260" y="183"/>
                  <a:pt x="260" y="184"/>
                  <a:pt x="260" y="184"/>
                </a:cubicBezTo>
                <a:cubicBezTo>
                  <a:pt x="261" y="183"/>
                  <a:pt x="263" y="181"/>
                  <a:pt x="264" y="181"/>
                </a:cubicBezTo>
                <a:cubicBezTo>
                  <a:pt x="268" y="178"/>
                  <a:pt x="262" y="177"/>
                  <a:pt x="263" y="174"/>
                </a:cubicBezTo>
                <a:close/>
                <a:moveTo>
                  <a:pt x="5" y="196"/>
                </a:moveTo>
                <a:cubicBezTo>
                  <a:pt x="9" y="194"/>
                  <a:pt x="10" y="193"/>
                  <a:pt x="9" y="191"/>
                </a:cubicBezTo>
                <a:cubicBezTo>
                  <a:pt x="7" y="189"/>
                  <a:pt x="2" y="197"/>
                  <a:pt x="5" y="196"/>
                </a:cubicBezTo>
                <a:close/>
                <a:moveTo>
                  <a:pt x="31" y="182"/>
                </a:moveTo>
                <a:cubicBezTo>
                  <a:pt x="28" y="181"/>
                  <a:pt x="19" y="186"/>
                  <a:pt x="22" y="187"/>
                </a:cubicBezTo>
                <a:cubicBezTo>
                  <a:pt x="24" y="187"/>
                  <a:pt x="25" y="185"/>
                  <a:pt x="28" y="185"/>
                </a:cubicBezTo>
                <a:cubicBezTo>
                  <a:pt x="30" y="185"/>
                  <a:pt x="35" y="183"/>
                  <a:pt x="31" y="182"/>
                </a:cubicBezTo>
                <a:close/>
                <a:moveTo>
                  <a:pt x="109" y="146"/>
                </a:moveTo>
                <a:cubicBezTo>
                  <a:pt x="109" y="145"/>
                  <a:pt x="106" y="145"/>
                  <a:pt x="103" y="148"/>
                </a:cubicBezTo>
                <a:cubicBezTo>
                  <a:pt x="100" y="152"/>
                  <a:pt x="98" y="154"/>
                  <a:pt x="97" y="155"/>
                </a:cubicBezTo>
                <a:cubicBezTo>
                  <a:pt x="97" y="157"/>
                  <a:pt x="93" y="155"/>
                  <a:pt x="92" y="157"/>
                </a:cubicBezTo>
                <a:cubicBezTo>
                  <a:pt x="91" y="159"/>
                  <a:pt x="93" y="164"/>
                  <a:pt x="95" y="162"/>
                </a:cubicBezTo>
                <a:cubicBezTo>
                  <a:pt x="97" y="161"/>
                  <a:pt x="97" y="162"/>
                  <a:pt x="99" y="162"/>
                </a:cubicBezTo>
                <a:cubicBezTo>
                  <a:pt x="100" y="162"/>
                  <a:pt x="106" y="158"/>
                  <a:pt x="108" y="156"/>
                </a:cubicBezTo>
                <a:cubicBezTo>
                  <a:pt x="109" y="154"/>
                  <a:pt x="105" y="153"/>
                  <a:pt x="105" y="152"/>
                </a:cubicBezTo>
                <a:cubicBezTo>
                  <a:pt x="105" y="151"/>
                  <a:pt x="108" y="151"/>
                  <a:pt x="110" y="150"/>
                </a:cubicBezTo>
                <a:cubicBezTo>
                  <a:pt x="112" y="149"/>
                  <a:pt x="108" y="148"/>
                  <a:pt x="109" y="146"/>
                </a:cubicBezTo>
                <a:close/>
                <a:moveTo>
                  <a:pt x="11" y="128"/>
                </a:moveTo>
                <a:cubicBezTo>
                  <a:pt x="11" y="126"/>
                  <a:pt x="4" y="128"/>
                  <a:pt x="5" y="130"/>
                </a:cubicBezTo>
                <a:cubicBezTo>
                  <a:pt x="6" y="133"/>
                  <a:pt x="12" y="134"/>
                  <a:pt x="15" y="133"/>
                </a:cubicBezTo>
                <a:cubicBezTo>
                  <a:pt x="17" y="133"/>
                  <a:pt x="18" y="130"/>
                  <a:pt x="16" y="129"/>
                </a:cubicBezTo>
                <a:cubicBezTo>
                  <a:pt x="15" y="127"/>
                  <a:pt x="12" y="131"/>
                  <a:pt x="11" y="128"/>
                </a:cubicBezTo>
                <a:close/>
                <a:moveTo>
                  <a:pt x="86" y="465"/>
                </a:moveTo>
                <a:cubicBezTo>
                  <a:pt x="82" y="466"/>
                  <a:pt x="84" y="475"/>
                  <a:pt x="86" y="474"/>
                </a:cubicBezTo>
                <a:cubicBezTo>
                  <a:pt x="88" y="473"/>
                  <a:pt x="90" y="472"/>
                  <a:pt x="91" y="471"/>
                </a:cubicBezTo>
                <a:cubicBezTo>
                  <a:pt x="92" y="469"/>
                  <a:pt x="90" y="465"/>
                  <a:pt x="86" y="465"/>
                </a:cubicBezTo>
                <a:close/>
                <a:moveTo>
                  <a:pt x="81" y="460"/>
                </a:moveTo>
                <a:cubicBezTo>
                  <a:pt x="78" y="460"/>
                  <a:pt x="80" y="464"/>
                  <a:pt x="81" y="463"/>
                </a:cubicBezTo>
                <a:cubicBezTo>
                  <a:pt x="84" y="461"/>
                  <a:pt x="83" y="459"/>
                  <a:pt x="81" y="460"/>
                </a:cubicBezTo>
                <a:close/>
                <a:moveTo>
                  <a:pt x="57" y="452"/>
                </a:moveTo>
                <a:cubicBezTo>
                  <a:pt x="59" y="454"/>
                  <a:pt x="60" y="453"/>
                  <a:pt x="61" y="451"/>
                </a:cubicBezTo>
                <a:cubicBezTo>
                  <a:pt x="61" y="450"/>
                  <a:pt x="55" y="449"/>
                  <a:pt x="57" y="452"/>
                </a:cubicBezTo>
                <a:close/>
                <a:moveTo>
                  <a:pt x="68" y="456"/>
                </a:moveTo>
                <a:cubicBezTo>
                  <a:pt x="69" y="459"/>
                  <a:pt x="71" y="459"/>
                  <a:pt x="72" y="457"/>
                </a:cubicBezTo>
                <a:cubicBezTo>
                  <a:pt x="73" y="455"/>
                  <a:pt x="66" y="454"/>
                  <a:pt x="68" y="456"/>
                </a:cubicBezTo>
                <a:close/>
                <a:moveTo>
                  <a:pt x="694" y="252"/>
                </a:moveTo>
                <a:cubicBezTo>
                  <a:pt x="694" y="250"/>
                  <a:pt x="688" y="252"/>
                  <a:pt x="685" y="249"/>
                </a:cubicBezTo>
                <a:cubicBezTo>
                  <a:pt x="682" y="247"/>
                  <a:pt x="677" y="257"/>
                  <a:pt x="676" y="262"/>
                </a:cubicBezTo>
                <a:cubicBezTo>
                  <a:pt x="675" y="266"/>
                  <a:pt x="668" y="270"/>
                  <a:pt x="668" y="270"/>
                </a:cubicBezTo>
                <a:cubicBezTo>
                  <a:pt x="668" y="270"/>
                  <a:pt x="646" y="271"/>
                  <a:pt x="644" y="271"/>
                </a:cubicBezTo>
                <a:cubicBezTo>
                  <a:pt x="643" y="271"/>
                  <a:pt x="638" y="275"/>
                  <a:pt x="635" y="278"/>
                </a:cubicBezTo>
                <a:cubicBezTo>
                  <a:pt x="635" y="278"/>
                  <a:pt x="635" y="278"/>
                  <a:pt x="635" y="278"/>
                </a:cubicBezTo>
                <a:cubicBezTo>
                  <a:pt x="637" y="282"/>
                  <a:pt x="629" y="284"/>
                  <a:pt x="622" y="285"/>
                </a:cubicBezTo>
                <a:cubicBezTo>
                  <a:pt x="619" y="285"/>
                  <a:pt x="618" y="285"/>
                  <a:pt x="616" y="285"/>
                </a:cubicBezTo>
                <a:cubicBezTo>
                  <a:pt x="617" y="286"/>
                  <a:pt x="617" y="287"/>
                  <a:pt x="617" y="288"/>
                </a:cubicBezTo>
                <a:cubicBezTo>
                  <a:pt x="617" y="288"/>
                  <a:pt x="616" y="289"/>
                  <a:pt x="615" y="290"/>
                </a:cubicBezTo>
                <a:cubicBezTo>
                  <a:pt x="613" y="292"/>
                  <a:pt x="604" y="297"/>
                  <a:pt x="599" y="299"/>
                </a:cubicBezTo>
                <a:cubicBezTo>
                  <a:pt x="593" y="302"/>
                  <a:pt x="585" y="301"/>
                  <a:pt x="585" y="296"/>
                </a:cubicBezTo>
                <a:cubicBezTo>
                  <a:pt x="585" y="292"/>
                  <a:pt x="589" y="293"/>
                  <a:pt x="590" y="295"/>
                </a:cubicBezTo>
                <a:cubicBezTo>
                  <a:pt x="591" y="296"/>
                  <a:pt x="592" y="295"/>
                  <a:pt x="593" y="294"/>
                </a:cubicBezTo>
                <a:cubicBezTo>
                  <a:pt x="592" y="293"/>
                  <a:pt x="592" y="290"/>
                  <a:pt x="592" y="289"/>
                </a:cubicBezTo>
                <a:cubicBezTo>
                  <a:pt x="590" y="288"/>
                  <a:pt x="593" y="281"/>
                  <a:pt x="589" y="280"/>
                </a:cubicBezTo>
                <a:cubicBezTo>
                  <a:pt x="586" y="279"/>
                  <a:pt x="581" y="285"/>
                  <a:pt x="582" y="281"/>
                </a:cubicBezTo>
                <a:cubicBezTo>
                  <a:pt x="583" y="277"/>
                  <a:pt x="588" y="274"/>
                  <a:pt x="585" y="269"/>
                </a:cubicBezTo>
                <a:cubicBezTo>
                  <a:pt x="581" y="263"/>
                  <a:pt x="575" y="263"/>
                  <a:pt x="574" y="267"/>
                </a:cubicBezTo>
                <a:cubicBezTo>
                  <a:pt x="573" y="271"/>
                  <a:pt x="569" y="269"/>
                  <a:pt x="567" y="273"/>
                </a:cubicBezTo>
                <a:cubicBezTo>
                  <a:pt x="566" y="276"/>
                  <a:pt x="564" y="282"/>
                  <a:pt x="565" y="287"/>
                </a:cubicBezTo>
                <a:cubicBezTo>
                  <a:pt x="567" y="292"/>
                  <a:pt x="565" y="295"/>
                  <a:pt x="560" y="297"/>
                </a:cubicBezTo>
                <a:cubicBezTo>
                  <a:pt x="556" y="300"/>
                  <a:pt x="553" y="293"/>
                  <a:pt x="555" y="284"/>
                </a:cubicBezTo>
                <a:cubicBezTo>
                  <a:pt x="556" y="278"/>
                  <a:pt x="560" y="272"/>
                  <a:pt x="557" y="272"/>
                </a:cubicBezTo>
                <a:cubicBezTo>
                  <a:pt x="554" y="272"/>
                  <a:pt x="561" y="265"/>
                  <a:pt x="567" y="263"/>
                </a:cubicBezTo>
                <a:cubicBezTo>
                  <a:pt x="574" y="262"/>
                  <a:pt x="581" y="262"/>
                  <a:pt x="581" y="261"/>
                </a:cubicBezTo>
                <a:cubicBezTo>
                  <a:pt x="581" y="260"/>
                  <a:pt x="582" y="260"/>
                  <a:pt x="582" y="260"/>
                </a:cubicBezTo>
                <a:cubicBezTo>
                  <a:pt x="581" y="259"/>
                  <a:pt x="579" y="258"/>
                  <a:pt x="578" y="257"/>
                </a:cubicBezTo>
                <a:cubicBezTo>
                  <a:pt x="578" y="257"/>
                  <a:pt x="578" y="258"/>
                  <a:pt x="577" y="258"/>
                </a:cubicBezTo>
                <a:cubicBezTo>
                  <a:pt x="575" y="260"/>
                  <a:pt x="576" y="255"/>
                  <a:pt x="571" y="255"/>
                </a:cubicBezTo>
                <a:cubicBezTo>
                  <a:pt x="567" y="255"/>
                  <a:pt x="562" y="260"/>
                  <a:pt x="558" y="258"/>
                </a:cubicBezTo>
                <a:cubicBezTo>
                  <a:pt x="555" y="256"/>
                  <a:pt x="556" y="254"/>
                  <a:pt x="553" y="254"/>
                </a:cubicBezTo>
                <a:cubicBezTo>
                  <a:pt x="550" y="254"/>
                  <a:pt x="556" y="247"/>
                  <a:pt x="551" y="250"/>
                </a:cubicBezTo>
                <a:cubicBezTo>
                  <a:pt x="546" y="253"/>
                  <a:pt x="538" y="259"/>
                  <a:pt x="535" y="256"/>
                </a:cubicBezTo>
                <a:cubicBezTo>
                  <a:pt x="532" y="253"/>
                  <a:pt x="529" y="257"/>
                  <a:pt x="526" y="255"/>
                </a:cubicBezTo>
                <a:cubicBezTo>
                  <a:pt x="524" y="252"/>
                  <a:pt x="535" y="246"/>
                  <a:pt x="540" y="246"/>
                </a:cubicBezTo>
                <a:cubicBezTo>
                  <a:pt x="541" y="246"/>
                  <a:pt x="542" y="245"/>
                  <a:pt x="543" y="245"/>
                </a:cubicBezTo>
                <a:cubicBezTo>
                  <a:pt x="541" y="244"/>
                  <a:pt x="535" y="241"/>
                  <a:pt x="534" y="243"/>
                </a:cubicBezTo>
                <a:cubicBezTo>
                  <a:pt x="532" y="245"/>
                  <a:pt x="529" y="244"/>
                  <a:pt x="528" y="242"/>
                </a:cubicBezTo>
                <a:cubicBezTo>
                  <a:pt x="526" y="240"/>
                  <a:pt x="524" y="243"/>
                  <a:pt x="522" y="240"/>
                </a:cubicBezTo>
                <a:cubicBezTo>
                  <a:pt x="520" y="237"/>
                  <a:pt x="517" y="239"/>
                  <a:pt x="516" y="240"/>
                </a:cubicBezTo>
                <a:cubicBezTo>
                  <a:pt x="514" y="240"/>
                  <a:pt x="512" y="239"/>
                  <a:pt x="510" y="238"/>
                </a:cubicBezTo>
                <a:cubicBezTo>
                  <a:pt x="507" y="237"/>
                  <a:pt x="509" y="234"/>
                  <a:pt x="507" y="232"/>
                </a:cubicBezTo>
                <a:cubicBezTo>
                  <a:pt x="505" y="231"/>
                  <a:pt x="505" y="235"/>
                  <a:pt x="505" y="235"/>
                </a:cubicBezTo>
                <a:cubicBezTo>
                  <a:pt x="315" y="237"/>
                  <a:pt x="315" y="237"/>
                  <a:pt x="315" y="237"/>
                </a:cubicBezTo>
                <a:cubicBezTo>
                  <a:pt x="315" y="237"/>
                  <a:pt x="315" y="237"/>
                  <a:pt x="316" y="237"/>
                </a:cubicBezTo>
                <a:cubicBezTo>
                  <a:pt x="318" y="240"/>
                  <a:pt x="316" y="242"/>
                  <a:pt x="317" y="245"/>
                </a:cubicBezTo>
                <a:cubicBezTo>
                  <a:pt x="317" y="247"/>
                  <a:pt x="317" y="252"/>
                  <a:pt x="315" y="252"/>
                </a:cubicBezTo>
                <a:cubicBezTo>
                  <a:pt x="312" y="252"/>
                  <a:pt x="312" y="249"/>
                  <a:pt x="314" y="248"/>
                </a:cubicBezTo>
                <a:cubicBezTo>
                  <a:pt x="315" y="247"/>
                  <a:pt x="314" y="244"/>
                  <a:pt x="313" y="244"/>
                </a:cubicBezTo>
                <a:cubicBezTo>
                  <a:pt x="312" y="244"/>
                  <a:pt x="311" y="243"/>
                  <a:pt x="311" y="241"/>
                </a:cubicBezTo>
                <a:cubicBezTo>
                  <a:pt x="308" y="242"/>
                  <a:pt x="305" y="242"/>
                  <a:pt x="301" y="241"/>
                </a:cubicBezTo>
                <a:cubicBezTo>
                  <a:pt x="301" y="241"/>
                  <a:pt x="301" y="242"/>
                  <a:pt x="301" y="242"/>
                </a:cubicBezTo>
                <a:cubicBezTo>
                  <a:pt x="301" y="244"/>
                  <a:pt x="302" y="248"/>
                  <a:pt x="304" y="251"/>
                </a:cubicBezTo>
                <a:cubicBezTo>
                  <a:pt x="307" y="254"/>
                  <a:pt x="305" y="256"/>
                  <a:pt x="307" y="257"/>
                </a:cubicBezTo>
                <a:cubicBezTo>
                  <a:pt x="310" y="259"/>
                  <a:pt x="309" y="260"/>
                  <a:pt x="307" y="260"/>
                </a:cubicBezTo>
                <a:cubicBezTo>
                  <a:pt x="305" y="259"/>
                  <a:pt x="307" y="261"/>
                  <a:pt x="306" y="266"/>
                </a:cubicBezTo>
                <a:cubicBezTo>
                  <a:pt x="305" y="271"/>
                  <a:pt x="305" y="280"/>
                  <a:pt x="305" y="283"/>
                </a:cubicBezTo>
                <a:cubicBezTo>
                  <a:pt x="304" y="286"/>
                  <a:pt x="301" y="291"/>
                  <a:pt x="303" y="294"/>
                </a:cubicBezTo>
                <a:cubicBezTo>
                  <a:pt x="305" y="297"/>
                  <a:pt x="306" y="301"/>
                  <a:pt x="305" y="305"/>
                </a:cubicBezTo>
                <a:cubicBezTo>
                  <a:pt x="304" y="309"/>
                  <a:pt x="304" y="311"/>
                  <a:pt x="306" y="314"/>
                </a:cubicBezTo>
                <a:cubicBezTo>
                  <a:pt x="308" y="317"/>
                  <a:pt x="306" y="322"/>
                  <a:pt x="308" y="323"/>
                </a:cubicBezTo>
                <a:cubicBezTo>
                  <a:pt x="310" y="324"/>
                  <a:pt x="312" y="326"/>
                  <a:pt x="313" y="329"/>
                </a:cubicBezTo>
                <a:cubicBezTo>
                  <a:pt x="315" y="331"/>
                  <a:pt x="317" y="330"/>
                  <a:pt x="317" y="333"/>
                </a:cubicBezTo>
                <a:cubicBezTo>
                  <a:pt x="317" y="335"/>
                  <a:pt x="317" y="336"/>
                  <a:pt x="320" y="337"/>
                </a:cubicBezTo>
                <a:cubicBezTo>
                  <a:pt x="322" y="338"/>
                  <a:pt x="321" y="341"/>
                  <a:pt x="321" y="342"/>
                </a:cubicBezTo>
                <a:cubicBezTo>
                  <a:pt x="321" y="344"/>
                  <a:pt x="324" y="346"/>
                  <a:pt x="328" y="350"/>
                </a:cubicBezTo>
                <a:cubicBezTo>
                  <a:pt x="332" y="353"/>
                  <a:pt x="328" y="356"/>
                  <a:pt x="331" y="356"/>
                </a:cubicBezTo>
                <a:cubicBezTo>
                  <a:pt x="334" y="356"/>
                  <a:pt x="337" y="358"/>
                  <a:pt x="340" y="360"/>
                </a:cubicBezTo>
                <a:cubicBezTo>
                  <a:pt x="343" y="362"/>
                  <a:pt x="344" y="361"/>
                  <a:pt x="346" y="361"/>
                </a:cubicBezTo>
                <a:cubicBezTo>
                  <a:pt x="348" y="362"/>
                  <a:pt x="351" y="366"/>
                  <a:pt x="352" y="369"/>
                </a:cubicBezTo>
                <a:cubicBezTo>
                  <a:pt x="352" y="370"/>
                  <a:pt x="353" y="372"/>
                  <a:pt x="354" y="373"/>
                </a:cubicBezTo>
                <a:cubicBezTo>
                  <a:pt x="369" y="371"/>
                  <a:pt x="369" y="371"/>
                  <a:pt x="369" y="371"/>
                </a:cubicBezTo>
                <a:cubicBezTo>
                  <a:pt x="369" y="371"/>
                  <a:pt x="374" y="374"/>
                  <a:pt x="377" y="375"/>
                </a:cubicBezTo>
                <a:cubicBezTo>
                  <a:pt x="380" y="376"/>
                  <a:pt x="395" y="381"/>
                  <a:pt x="395" y="381"/>
                </a:cubicBezTo>
                <a:cubicBezTo>
                  <a:pt x="414" y="381"/>
                  <a:pt x="414" y="381"/>
                  <a:pt x="414" y="381"/>
                </a:cubicBezTo>
                <a:cubicBezTo>
                  <a:pt x="417" y="378"/>
                  <a:pt x="417" y="378"/>
                  <a:pt x="417" y="378"/>
                </a:cubicBezTo>
                <a:cubicBezTo>
                  <a:pt x="427" y="378"/>
                  <a:pt x="427" y="378"/>
                  <a:pt x="427" y="378"/>
                </a:cubicBezTo>
                <a:cubicBezTo>
                  <a:pt x="427" y="378"/>
                  <a:pt x="434" y="385"/>
                  <a:pt x="435" y="385"/>
                </a:cubicBezTo>
                <a:cubicBezTo>
                  <a:pt x="436" y="386"/>
                  <a:pt x="440" y="389"/>
                  <a:pt x="440" y="391"/>
                </a:cubicBezTo>
                <a:cubicBezTo>
                  <a:pt x="440" y="393"/>
                  <a:pt x="440" y="394"/>
                  <a:pt x="442" y="395"/>
                </a:cubicBezTo>
                <a:cubicBezTo>
                  <a:pt x="444" y="396"/>
                  <a:pt x="449" y="399"/>
                  <a:pt x="450" y="399"/>
                </a:cubicBezTo>
                <a:cubicBezTo>
                  <a:pt x="451" y="399"/>
                  <a:pt x="453" y="393"/>
                  <a:pt x="455" y="393"/>
                </a:cubicBezTo>
                <a:cubicBezTo>
                  <a:pt x="458" y="393"/>
                  <a:pt x="466" y="395"/>
                  <a:pt x="468" y="400"/>
                </a:cubicBezTo>
                <a:cubicBezTo>
                  <a:pt x="469" y="404"/>
                  <a:pt x="473" y="408"/>
                  <a:pt x="474" y="409"/>
                </a:cubicBezTo>
                <a:cubicBezTo>
                  <a:pt x="476" y="410"/>
                  <a:pt x="475" y="413"/>
                  <a:pt x="476" y="414"/>
                </a:cubicBezTo>
                <a:cubicBezTo>
                  <a:pt x="477" y="416"/>
                  <a:pt x="477" y="418"/>
                  <a:pt x="478" y="418"/>
                </a:cubicBezTo>
                <a:cubicBezTo>
                  <a:pt x="479" y="418"/>
                  <a:pt x="485" y="422"/>
                  <a:pt x="487" y="422"/>
                </a:cubicBezTo>
                <a:cubicBezTo>
                  <a:pt x="488" y="422"/>
                  <a:pt x="489" y="422"/>
                  <a:pt x="490" y="423"/>
                </a:cubicBezTo>
                <a:cubicBezTo>
                  <a:pt x="491" y="417"/>
                  <a:pt x="485" y="417"/>
                  <a:pt x="488" y="414"/>
                </a:cubicBezTo>
                <a:cubicBezTo>
                  <a:pt x="492" y="411"/>
                  <a:pt x="488" y="409"/>
                  <a:pt x="490" y="408"/>
                </a:cubicBezTo>
                <a:cubicBezTo>
                  <a:pt x="492" y="406"/>
                  <a:pt x="495" y="405"/>
                  <a:pt x="495" y="403"/>
                </a:cubicBezTo>
                <a:cubicBezTo>
                  <a:pt x="495" y="401"/>
                  <a:pt x="497" y="401"/>
                  <a:pt x="499" y="402"/>
                </a:cubicBezTo>
                <a:cubicBezTo>
                  <a:pt x="502" y="402"/>
                  <a:pt x="506" y="398"/>
                  <a:pt x="506" y="396"/>
                </a:cubicBezTo>
                <a:cubicBezTo>
                  <a:pt x="506" y="394"/>
                  <a:pt x="506" y="394"/>
                  <a:pt x="509" y="395"/>
                </a:cubicBezTo>
                <a:cubicBezTo>
                  <a:pt x="512" y="395"/>
                  <a:pt x="512" y="391"/>
                  <a:pt x="514" y="392"/>
                </a:cubicBezTo>
                <a:cubicBezTo>
                  <a:pt x="515" y="393"/>
                  <a:pt x="517" y="394"/>
                  <a:pt x="517" y="392"/>
                </a:cubicBezTo>
                <a:cubicBezTo>
                  <a:pt x="517" y="391"/>
                  <a:pt x="519" y="391"/>
                  <a:pt x="520" y="393"/>
                </a:cubicBezTo>
                <a:cubicBezTo>
                  <a:pt x="522" y="395"/>
                  <a:pt x="526" y="395"/>
                  <a:pt x="526" y="393"/>
                </a:cubicBezTo>
                <a:cubicBezTo>
                  <a:pt x="526" y="391"/>
                  <a:pt x="529" y="393"/>
                  <a:pt x="531" y="395"/>
                </a:cubicBezTo>
                <a:cubicBezTo>
                  <a:pt x="533" y="397"/>
                  <a:pt x="534" y="397"/>
                  <a:pt x="536" y="397"/>
                </a:cubicBezTo>
                <a:cubicBezTo>
                  <a:pt x="539" y="397"/>
                  <a:pt x="539" y="396"/>
                  <a:pt x="539" y="395"/>
                </a:cubicBezTo>
                <a:cubicBezTo>
                  <a:pt x="540" y="393"/>
                  <a:pt x="543" y="398"/>
                  <a:pt x="546" y="399"/>
                </a:cubicBezTo>
                <a:cubicBezTo>
                  <a:pt x="548" y="399"/>
                  <a:pt x="546" y="397"/>
                  <a:pt x="544" y="395"/>
                </a:cubicBezTo>
                <a:cubicBezTo>
                  <a:pt x="542" y="394"/>
                  <a:pt x="545" y="393"/>
                  <a:pt x="543" y="391"/>
                </a:cubicBezTo>
                <a:cubicBezTo>
                  <a:pt x="541" y="390"/>
                  <a:pt x="545" y="388"/>
                  <a:pt x="549" y="388"/>
                </a:cubicBezTo>
                <a:cubicBezTo>
                  <a:pt x="552" y="389"/>
                  <a:pt x="552" y="389"/>
                  <a:pt x="554" y="387"/>
                </a:cubicBezTo>
                <a:cubicBezTo>
                  <a:pt x="555" y="385"/>
                  <a:pt x="556" y="387"/>
                  <a:pt x="556" y="389"/>
                </a:cubicBezTo>
                <a:cubicBezTo>
                  <a:pt x="556" y="391"/>
                  <a:pt x="562" y="388"/>
                  <a:pt x="565" y="388"/>
                </a:cubicBezTo>
                <a:cubicBezTo>
                  <a:pt x="569" y="388"/>
                  <a:pt x="572" y="391"/>
                  <a:pt x="572" y="393"/>
                </a:cubicBezTo>
                <a:cubicBezTo>
                  <a:pt x="572" y="395"/>
                  <a:pt x="574" y="395"/>
                  <a:pt x="577" y="393"/>
                </a:cubicBezTo>
                <a:cubicBezTo>
                  <a:pt x="579" y="391"/>
                  <a:pt x="581" y="389"/>
                  <a:pt x="583" y="391"/>
                </a:cubicBezTo>
                <a:cubicBezTo>
                  <a:pt x="585" y="393"/>
                  <a:pt x="587" y="396"/>
                  <a:pt x="590" y="399"/>
                </a:cubicBezTo>
                <a:cubicBezTo>
                  <a:pt x="592" y="402"/>
                  <a:pt x="589" y="405"/>
                  <a:pt x="590" y="407"/>
                </a:cubicBezTo>
                <a:cubicBezTo>
                  <a:pt x="591" y="409"/>
                  <a:pt x="590" y="411"/>
                  <a:pt x="593" y="414"/>
                </a:cubicBezTo>
                <a:cubicBezTo>
                  <a:pt x="596" y="416"/>
                  <a:pt x="593" y="420"/>
                  <a:pt x="596" y="421"/>
                </a:cubicBezTo>
                <a:cubicBezTo>
                  <a:pt x="598" y="421"/>
                  <a:pt x="600" y="425"/>
                  <a:pt x="600" y="427"/>
                </a:cubicBezTo>
                <a:cubicBezTo>
                  <a:pt x="601" y="428"/>
                  <a:pt x="605" y="430"/>
                  <a:pt x="606" y="428"/>
                </a:cubicBezTo>
                <a:cubicBezTo>
                  <a:pt x="606" y="425"/>
                  <a:pt x="608" y="422"/>
                  <a:pt x="609" y="420"/>
                </a:cubicBezTo>
                <a:cubicBezTo>
                  <a:pt x="609" y="417"/>
                  <a:pt x="607" y="408"/>
                  <a:pt x="605" y="406"/>
                </a:cubicBezTo>
                <a:cubicBezTo>
                  <a:pt x="603" y="403"/>
                  <a:pt x="605" y="402"/>
                  <a:pt x="603" y="399"/>
                </a:cubicBezTo>
                <a:cubicBezTo>
                  <a:pt x="600" y="396"/>
                  <a:pt x="599" y="390"/>
                  <a:pt x="599" y="386"/>
                </a:cubicBezTo>
                <a:cubicBezTo>
                  <a:pt x="599" y="381"/>
                  <a:pt x="605" y="374"/>
                  <a:pt x="607" y="371"/>
                </a:cubicBezTo>
                <a:cubicBezTo>
                  <a:pt x="610" y="369"/>
                  <a:pt x="613" y="370"/>
                  <a:pt x="613" y="368"/>
                </a:cubicBezTo>
                <a:cubicBezTo>
                  <a:pt x="614" y="365"/>
                  <a:pt x="617" y="362"/>
                  <a:pt x="619" y="362"/>
                </a:cubicBezTo>
                <a:cubicBezTo>
                  <a:pt x="621" y="362"/>
                  <a:pt x="623" y="363"/>
                  <a:pt x="623" y="361"/>
                </a:cubicBezTo>
                <a:cubicBezTo>
                  <a:pt x="623" y="359"/>
                  <a:pt x="626" y="356"/>
                  <a:pt x="630" y="356"/>
                </a:cubicBezTo>
                <a:cubicBezTo>
                  <a:pt x="634" y="355"/>
                  <a:pt x="632" y="353"/>
                  <a:pt x="631" y="351"/>
                </a:cubicBezTo>
                <a:cubicBezTo>
                  <a:pt x="630" y="349"/>
                  <a:pt x="632" y="347"/>
                  <a:pt x="633" y="349"/>
                </a:cubicBezTo>
                <a:cubicBezTo>
                  <a:pt x="633" y="350"/>
                  <a:pt x="636" y="350"/>
                  <a:pt x="637" y="349"/>
                </a:cubicBezTo>
                <a:cubicBezTo>
                  <a:pt x="639" y="348"/>
                  <a:pt x="642" y="345"/>
                  <a:pt x="639" y="345"/>
                </a:cubicBezTo>
                <a:cubicBezTo>
                  <a:pt x="636" y="345"/>
                  <a:pt x="635" y="343"/>
                  <a:pt x="637" y="343"/>
                </a:cubicBezTo>
                <a:cubicBezTo>
                  <a:pt x="639" y="342"/>
                  <a:pt x="637" y="338"/>
                  <a:pt x="634" y="338"/>
                </a:cubicBezTo>
                <a:cubicBezTo>
                  <a:pt x="632" y="338"/>
                  <a:pt x="633" y="336"/>
                  <a:pt x="634" y="335"/>
                </a:cubicBezTo>
                <a:cubicBezTo>
                  <a:pt x="636" y="333"/>
                  <a:pt x="632" y="330"/>
                  <a:pt x="630" y="329"/>
                </a:cubicBezTo>
                <a:cubicBezTo>
                  <a:pt x="628" y="327"/>
                  <a:pt x="631" y="327"/>
                  <a:pt x="633" y="326"/>
                </a:cubicBezTo>
                <a:cubicBezTo>
                  <a:pt x="634" y="326"/>
                  <a:pt x="633" y="319"/>
                  <a:pt x="634" y="317"/>
                </a:cubicBezTo>
                <a:cubicBezTo>
                  <a:pt x="634" y="316"/>
                  <a:pt x="637" y="316"/>
                  <a:pt x="636" y="317"/>
                </a:cubicBezTo>
                <a:cubicBezTo>
                  <a:pt x="635" y="319"/>
                  <a:pt x="633" y="322"/>
                  <a:pt x="635" y="324"/>
                </a:cubicBezTo>
                <a:cubicBezTo>
                  <a:pt x="637" y="326"/>
                  <a:pt x="638" y="329"/>
                  <a:pt x="637" y="332"/>
                </a:cubicBezTo>
                <a:cubicBezTo>
                  <a:pt x="636" y="336"/>
                  <a:pt x="638" y="335"/>
                  <a:pt x="640" y="330"/>
                </a:cubicBezTo>
                <a:cubicBezTo>
                  <a:pt x="643" y="326"/>
                  <a:pt x="643" y="322"/>
                  <a:pt x="641" y="321"/>
                </a:cubicBezTo>
                <a:cubicBezTo>
                  <a:pt x="640" y="321"/>
                  <a:pt x="640" y="316"/>
                  <a:pt x="642" y="318"/>
                </a:cubicBezTo>
                <a:cubicBezTo>
                  <a:pt x="643" y="320"/>
                  <a:pt x="644" y="321"/>
                  <a:pt x="647" y="318"/>
                </a:cubicBezTo>
                <a:cubicBezTo>
                  <a:pt x="649" y="315"/>
                  <a:pt x="652" y="311"/>
                  <a:pt x="650" y="309"/>
                </a:cubicBezTo>
                <a:cubicBezTo>
                  <a:pt x="648" y="308"/>
                  <a:pt x="651" y="307"/>
                  <a:pt x="654" y="308"/>
                </a:cubicBezTo>
                <a:cubicBezTo>
                  <a:pt x="657" y="308"/>
                  <a:pt x="664" y="306"/>
                  <a:pt x="664" y="305"/>
                </a:cubicBezTo>
                <a:cubicBezTo>
                  <a:pt x="666" y="302"/>
                  <a:pt x="654" y="306"/>
                  <a:pt x="654" y="304"/>
                </a:cubicBezTo>
                <a:cubicBezTo>
                  <a:pt x="654" y="303"/>
                  <a:pt x="661" y="301"/>
                  <a:pt x="665" y="301"/>
                </a:cubicBezTo>
                <a:cubicBezTo>
                  <a:pt x="668" y="301"/>
                  <a:pt x="667" y="296"/>
                  <a:pt x="668" y="298"/>
                </a:cubicBezTo>
                <a:cubicBezTo>
                  <a:pt x="670" y="300"/>
                  <a:pt x="672" y="300"/>
                  <a:pt x="674" y="298"/>
                </a:cubicBezTo>
                <a:cubicBezTo>
                  <a:pt x="676" y="297"/>
                  <a:pt x="674" y="294"/>
                  <a:pt x="672" y="293"/>
                </a:cubicBezTo>
                <a:cubicBezTo>
                  <a:pt x="670" y="293"/>
                  <a:pt x="674" y="291"/>
                  <a:pt x="673" y="290"/>
                </a:cubicBezTo>
                <a:cubicBezTo>
                  <a:pt x="672" y="288"/>
                  <a:pt x="674" y="283"/>
                  <a:pt x="677" y="282"/>
                </a:cubicBezTo>
                <a:cubicBezTo>
                  <a:pt x="680" y="282"/>
                  <a:pt x="679" y="280"/>
                  <a:pt x="681" y="280"/>
                </a:cubicBezTo>
                <a:cubicBezTo>
                  <a:pt x="684" y="280"/>
                  <a:pt x="684" y="277"/>
                  <a:pt x="686" y="275"/>
                </a:cubicBezTo>
                <a:cubicBezTo>
                  <a:pt x="689" y="273"/>
                  <a:pt x="692" y="278"/>
                  <a:pt x="695" y="275"/>
                </a:cubicBezTo>
                <a:cubicBezTo>
                  <a:pt x="696" y="274"/>
                  <a:pt x="698" y="272"/>
                  <a:pt x="700" y="271"/>
                </a:cubicBezTo>
                <a:cubicBezTo>
                  <a:pt x="692" y="261"/>
                  <a:pt x="694" y="254"/>
                  <a:pt x="694" y="252"/>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27" name="Freeform 133"/>
          <p:cNvSpPr>
            <a:spLocks noEditPoints="1"/>
          </p:cNvSpPr>
          <p:nvPr/>
        </p:nvSpPr>
        <p:spPr bwMode="auto">
          <a:xfrm>
            <a:off x="4033317" y="2221360"/>
            <a:ext cx="254000" cy="179388"/>
          </a:xfrm>
          <a:custGeom>
            <a:avLst/>
            <a:gdLst>
              <a:gd name="T0" fmla="*/ 88 w 89"/>
              <a:gd name="T1" fmla="*/ 11 h 63"/>
              <a:gd name="T2" fmla="*/ 81 w 89"/>
              <a:gd name="T3" fmla="*/ 11 h 63"/>
              <a:gd name="T4" fmla="*/ 73 w 89"/>
              <a:gd name="T5" fmla="*/ 9 h 63"/>
              <a:gd name="T6" fmla="*/ 69 w 89"/>
              <a:gd name="T7" fmla="*/ 8 h 63"/>
              <a:gd name="T8" fmla="*/ 64 w 89"/>
              <a:gd name="T9" fmla="*/ 9 h 63"/>
              <a:gd name="T10" fmla="*/ 57 w 89"/>
              <a:gd name="T11" fmla="*/ 6 h 63"/>
              <a:gd name="T12" fmla="*/ 53 w 89"/>
              <a:gd name="T13" fmla="*/ 4 h 63"/>
              <a:gd name="T14" fmla="*/ 41 w 89"/>
              <a:gd name="T15" fmla="*/ 3 h 63"/>
              <a:gd name="T16" fmla="*/ 19 w 89"/>
              <a:gd name="T17" fmla="*/ 2 h 63"/>
              <a:gd name="T18" fmla="*/ 10 w 89"/>
              <a:gd name="T19" fmla="*/ 0 h 63"/>
              <a:gd name="T20" fmla="*/ 5 w 89"/>
              <a:gd name="T21" fmla="*/ 4 h 63"/>
              <a:gd name="T22" fmla="*/ 3 w 89"/>
              <a:gd name="T23" fmla="*/ 9 h 63"/>
              <a:gd name="T24" fmla="*/ 4 w 89"/>
              <a:gd name="T25" fmla="*/ 15 h 63"/>
              <a:gd name="T26" fmla="*/ 6 w 89"/>
              <a:gd name="T27" fmla="*/ 15 h 63"/>
              <a:gd name="T28" fmla="*/ 9 w 89"/>
              <a:gd name="T29" fmla="*/ 15 h 63"/>
              <a:gd name="T30" fmla="*/ 13 w 89"/>
              <a:gd name="T31" fmla="*/ 16 h 63"/>
              <a:gd name="T32" fmla="*/ 16 w 89"/>
              <a:gd name="T33" fmla="*/ 16 h 63"/>
              <a:gd name="T34" fmla="*/ 20 w 89"/>
              <a:gd name="T35" fmla="*/ 17 h 63"/>
              <a:gd name="T36" fmla="*/ 22 w 89"/>
              <a:gd name="T37" fmla="*/ 19 h 63"/>
              <a:gd name="T38" fmla="*/ 17 w 89"/>
              <a:gd name="T39" fmla="*/ 23 h 63"/>
              <a:gd name="T40" fmla="*/ 18 w 89"/>
              <a:gd name="T41" fmla="*/ 30 h 63"/>
              <a:gd name="T42" fmla="*/ 16 w 89"/>
              <a:gd name="T43" fmla="*/ 35 h 63"/>
              <a:gd name="T44" fmla="*/ 15 w 89"/>
              <a:gd name="T45" fmla="*/ 37 h 63"/>
              <a:gd name="T46" fmla="*/ 17 w 89"/>
              <a:gd name="T47" fmla="*/ 41 h 63"/>
              <a:gd name="T48" fmla="*/ 15 w 89"/>
              <a:gd name="T49" fmla="*/ 45 h 63"/>
              <a:gd name="T50" fmla="*/ 16 w 89"/>
              <a:gd name="T51" fmla="*/ 48 h 63"/>
              <a:gd name="T52" fmla="*/ 14 w 89"/>
              <a:gd name="T53" fmla="*/ 52 h 63"/>
              <a:gd name="T54" fmla="*/ 15 w 89"/>
              <a:gd name="T55" fmla="*/ 55 h 63"/>
              <a:gd name="T56" fmla="*/ 18 w 89"/>
              <a:gd name="T57" fmla="*/ 55 h 63"/>
              <a:gd name="T58" fmla="*/ 27 w 89"/>
              <a:gd name="T59" fmla="*/ 63 h 63"/>
              <a:gd name="T60" fmla="*/ 28 w 89"/>
              <a:gd name="T61" fmla="*/ 61 h 63"/>
              <a:gd name="T62" fmla="*/ 32 w 89"/>
              <a:gd name="T63" fmla="*/ 60 h 63"/>
              <a:gd name="T64" fmla="*/ 39 w 89"/>
              <a:gd name="T65" fmla="*/ 58 h 63"/>
              <a:gd name="T66" fmla="*/ 47 w 89"/>
              <a:gd name="T67" fmla="*/ 58 h 63"/>
              <a:gd name="T68" fmla="*/ 52 w 89"/>
              <a:gd name="T69" fmla="*/ 55 h 63"/>
              <a:gd name="T70" fmla="*/ 58 w 89"/>
              <a:gd name="T71" fmla="*/ 51 h 63"/>
              <a:gd name="T72" fmla="*/ 60 w 89"/>
              <a:gd name="T73" fmla="*/ 47 h 63"/>
              <a:gd name="T74" fmla="*/ 65 w 89"/>
              <a:gd name="T75" fmla="*/ 41 h 63"/>
              <a:gd name="T76" fmla="*/ 65 w 89"/>
              <a:gd name="T77" fmla="*/ 31 h 63"/>
              <a:gd name="T78" fmla="*/ 71 w 89"/>
              <a:gd name="T79" fmla="*/ 25 h 63"/>
              <a:gd name="T80" fmla="*/ 77 w 89"/>
              <a:gd name="T81" fmla="*/ 21 h 63"/>
              <a:gd name="T82" fmla="*/ 85 w 89"/>
              <a:gd name="T83" fmla="*/ 17 h 63"/>
              <a:gd name="T84" fmla="*/ 88 w 89"/>
              <a:gd name="T85" fmla="*/ 11 h 63"/>
              <a:gd name="T86" fmla="*/ 88 w 89"/>
              <a:gd name="T87" fmla="*/ 34 h 63"/>
              <a:gd name="T88" fmla="*/ 82 w 89"/>
              <a:gd name="T89" fmla="*/ 36 h 63"/>
              <a:gd name="T90" fmla="*/ 88 w 89"/>
              <a:gd name="T91"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9" h="63">
                <a:moveTo>
                  <a:pt x="88" y="11"/>
                </a:moveTo>
                <a:cubicBezTo>
                  <a:pt x="85" y="11"/>
                  <a:pt x="83" y="12"/>
                  <a:pt x="81" y="11"/>
                </a:cubicBezTo>
                <a:cubicBezTo>
                  <a:pt x="79" y="11"/>
                  <a:pt x="74" y="10"/>
                  <a:pt x="73" y="9"/>
                </a:cubicBezTo>
                <a:cubicBezTo>
                  <a:pt x="71" y="8"/>
                  <a:pt x="69" y="7"/>
                  <a:pt x="69" y="8"/>
                </a:cubicBezTo>
                <a:cubicBezTo>
                  <a:pt x="69" y="10"/>
                  <a:pt x="66" y="10"/>
                  <a:pt x="64" y="9"/>
                </a:cubicBezTo>
                <a:cubicBezTo>
                  <a:pt x="62" y="8"/>
                  <a:pt x="59" y="7"/>
                  <a:pt x="57" y="6"/>
                </a:cubicBezTo>
                <a:cubicBezTo>
                  <a:pt x="56" y="5"/>
                  <a:pt x="55" y="5"/>
                  <a:pt x="53" y="4"/>
                </a:cubicBezTo>
                <a:cubicBezTo>
                  <a:pt x="51" y="4"/>
                  <a:pt x="45" y="2"/>
                  <a:pt x="41" y="3"/>
                </a:cubicBezTo>
                <a:cubicBezTo>
                  <a:pt x="37" y="3"/>
                  <a:pt x="24" y="2"/>
                  <a:pt x="19" y="2"/>
                </a:cubicBezTo>
                <a:cubicBezTo>
                  <a:pt x="14" y="3"/>
                  <a:pt x="13" y="0"/>
                  <a:pt x="10" y="0"/>
                </a:cubicBezTo>
                <a:cubicBezTo>
                  <a:pt x="8" y="0"/>
                  <a:pt x="9" y="4"/>
                  <a:pt x="5" y="4"/>
                </a:cubicBezTo>
                <a:cubicBezTo>
                  <a:pt x="1" y="4"/>
                  <a:pt x="0" y="6"/>
                  <a:pt x="3" y="9"/>
                </a:cubicBezTo>
                <a:cubicBezTo>
                  <a:pt x="5" y="10"/>
                  <a:pt x="5" y="13"/>
                  <a:pt x="4" y="15"/>
                </a:cubicBezTo>
                <a:cubicBezTo>
                  <a:pt x="5" y="15"/>
                  <a:pt x="6" y="15"/>
                  <a:pt x="6" y="15"/>
                </a:cubicBezTo>
                <a:cubicBezTo>
                  <a:pt x="7" y="13"/>
                  <a:pt x="9" y="13"/>
                  <a:pt x="9" y="15"/>
                </a:cubicBezTo>
                <a:cubicBezTo>
                  <a:pt x="9" y="16"/>
                  <a:pt x="11" y="16"/>
                  <a:pt x="13" y="16"/>
                </a:cubicBezTo>
                <a:cubicBezTo>
                  <a:pt x="14" y="16"/>
                  <a:pt x="14" y="17"/>
                  <a:pt x="16" y="16"/>
                </a:cubicBezTo>
                <a:cubicBezTo>
                  <a:pt x="17" y="15"/>
                  <a:pt x="20" y="15"/>
                  <a:pt x="20" y="17"/>
                </a:cubicBezTo>
                <a:cubicBezTo>
                  <a:pt x="20" y="18"/>
                  <a:pt x="24" y="17"/>
                  <a:pt x="22" y="19"/>
                </a:cubicBezTo>
                <a:cubicBezTo>
                  <a:pt x="20" y="21"/>
                  <a:pt x="17" y="22"/>
                  <a:pt x="17" y="23"/>
                </a:cubicBezTo>
                <a:cubicBezTo>
                  <a:pt x="17" y="25"/>
                  <a:pt x="19" y="28"/>
                  <a:pt x="18" y="30"/>
                </a:cubicBezTo>
                <a:cubicBezTo>
                  <a:pt x="16" y="32"/>
                  <a:pt x="18" y="35"/>
                  <a:pt x="16" y="35"/>
                </a:cubicBezTo>
                <a:cubicBezTo>
                  <a:pt x="15" y="35"/>
                  <a:pt x="13" y="35"/>
                  <a:pt x="15" y="37"/>
                </a:cubicBezTo>
                <a:cubicBezTo>
                  <a:pt x="17" y="39"/>
                  <a:pt x="18" y="41"/>
                  <a:pt x="17" y="41"/>
                </a:cubicBezTo>
                <a:cubicBezTo>
                  <a:pt x="15" y="41"/>
                  <a:pt x="14" y="44"/>
                  <a:pt x="15" y="45"/>
                </a:cubicBezTo>
                <a:cubicBezTo>
                  <a:pt x="16" y="45"/>
                  <a:pt x="19" y="48"/>
                  <a:pt x="16" y="48"/>
                </a:cubicBezTo>
                <a:cubicBezTo>
                  <a:pt x="14" y="49"/>
                  <a:pt x="14" y="51"/>
                  <a:pt x="14" y="52"/>
                </a:cubicBezTo>
                <a:cubicBezTo>
                  <a:pt x="14" y="53"/>
                  <a:pt x="14" y="54"/>
                  <a:pt x="15" y="55"/>
                </a:cubicBezTo>
                <a:cubicBezTo>
                  <a:pt x="16" y="54"/>
                  <a:pt x="17" y="54"/>
                  <a:pt x="18" y="55"/>
                </a:cubicBezTo>
                <a:cubicBezTo>
                  <a:pt x="21" y="56"/>
                  <a:pt x="23" y="63"/>
                  <a:pt x="27" y="63"/>
                </a:cubicBezTo>
                <a:cubicBezTo>
                  <a:pt x="28" y="63"/>
                  <a:pt x="27" y="61"/>
                  <a:pt x="28" y="61"/>
                </a:cubicBezTo>
                <a:cubicBezTo>
                  <a:pt x="29" y="60"/>
                  <a:pt x="31" y="60"/>
                  <a:pt x="32" y="60"/>
                </a:cubicBezTo>
                <a:cubicBezTo>
                  <a:pt x="34" y="60"/>
                  <a:pt x="35" y="58"/>
                  <a:pt x="39" y="58"/>
                </a:cubicBezTo>
                <a:cubicBezTo>
                  <a:pt x="42" y="58"/>
                  <a:pt x="45" y="57"/>
                  <a:pt x="47" y="58"/>
                </a:cubicBezTo>
                <a:cubicBezTo>
                  <a:pt x="50" y="58"/>
                  <a:pt x="52" y="57"/>
                  <a:pt x="52" y="55"/>
                </a:cubicBezTo>
                <a:cubicBezTo>
                  <a:pt x="53" y="53"/>
                  <a:pt x="55" y="52"/>
                  <a:pt x="58" y="51"/>
                </a:cubicBezTo>
                <a:cubicBezTo>
                  <a:pt x="60" y="51"/>
                  <a:pt x="60" y="48"/>
                  <a:pt x="60" y="47"/>
                </a:cubicBezTo>
                <a:cubicBezTo>
                  <a:pt x="60" y="45"/>
                  <a:pt x="65" y="43"/>
                  <a:pt x="65" y="41"/>
                </a:cubicBezTo>
                <a:cubicBezTo>
                  <a:pt x="66" y="40"/>
                  <a:pt x="63" y="35"/>
                  <a:pt x="65" y="31"/>
                </a:cubicBezTo>
                <a:cubicBezTo>
                  <a:pt x="68" y="27"/>
                  <a:pt x="71" y="27"/>
                  <a:pt x="71" y="25"/>
                </a:cubicBezTo>
                <a:cubicBezTo>
                  <a:pt x="71" y="22"/>
                  <a:pt x="74" y="22"/>
                  <a:pt x="77" y="21"/>
                </a:cubicBezTo>
                <a:cubicBezTo>
                  <a:pt x="81" y="21"/>
                  <a:pt x="82" y="18"/>
                  <a:pt x="85" y="17"/>
                </a:cubicBezTo>
                <a:cubicBezTo>
                  <a:pt x="87" y="16"/>
                  <a:pt x="88" y="14"/>
                  <a:pt x="88" y="11"/>
                </a:cubicBezTo>
                <a:close/>
                <a:moveTo>
                  <a:pt x="88" y="34"/>
                </a:moveTo>
                <a:cubicBezTo>
                  <a:pt x="88" y="30"/>
                  <a:pt x="81" y="35"/>
                  <a:pt x="82" y="36"/>
                </a:cubicBezTo>
                <a:cubicBezTo>
                  <a:pt x="85" y="38"/>
                  <a:pt x="89" y="37"/>
                  <a:pt x="88" y="3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8" name="Freeform 134"/>
          <p:cNvSpPr>
            <a:spLocks noEditPoints="1"/>
          </p:cNvSpPr>
          <p:nvPr/>
        </p:nvSpPr>
        <p:spPr bwMode="auto">
          <a:xfrm>
            <a:off x="4607992" y="2270573"/>
            <a:ext cx="123825" cy="153988"/>
          </a:xfrm>
          <a:custGeom>
            <a:avLst/>
            <a:gdLst>
              <a:gd name="T0" fmla="*/ 43 w 43"/>
              <a:gd name="T1" fmla="*/ 0 h 54"/>
              <a:gd name="T2" fmla="*/ 40 w 43"/>
              <a:gd name="T3" fmla="*/ 1 h 54"/>
              <a:gd name="T4" fmla="*/ 37 w 43"/>
              <a:gd name="T5" fmla="*/ 3 h 54"/>
              <a:gd name="T6" fmla="*/ 30 w 43"/>
              <a:gd name="T7" fmla="*/ 2 h 54"/>
              <a:gd name="T8" fmla="*/ 20 w 43"/>
              <a:gd name="T9" fmla="*/ 1 h 54"/>
              <a:gd name="T10" fmla="*/ 20 w 43"/>
              <a:gd name="T11" fmla="*/ 2 h 54"/>
              <a:gd name="T12" fmla="*/ 14 w 43"/>
              <a:gd name="T13" fmla="*/ 5 h 54"/>
              <a:gd name="T14" fmla="*/ 11 w 43"/>
              <a:gd name="T15" fmla="*/ 7 h 54"/>
              <a:gd name="T16" fmla="*/ 6 w 43"/>
              <a:gd name="T17" fmla="*/ 7 h 54"/>
              <a:gd name="T18" fmla="*/ 3 w 43"/>
              <a:gd name="T19" fmla="*/ 11 h 54"/>
              <a:gd name="T20" fmla="*/ 2 w 43"/>
              <a:gd name="T21" fmla="*/ 14 h 54"/>
              <a:gd name="T22" fmla="*/ 0 w 43"/>
              <a:gd name="T23" fmla="*/ 18 h 54"/>
              <a:gd name="T24" fmla="*/ 0 w 43"/>
              <a:gd name="T25" fmla="*/ 18 h 54"/>
              <a:gd name="T26" fmla="*/ 4 w 43"/>
              <a:gd name="T27" fmla="*/ 24 h 54"/>
              <a:gd name="T28" fmla="*/ 9 w 43"/>
              <a:gd name="T29" fmla="*/ 25 h 54"/>
              <a:gd name="T30" fmla="*/ 15 w 43"/>
              <a:gd name="T31" fmla="*/ 28 h 54"/>
              <a:gd name="T32" fmla="*/ 8 w 43"/>
              <a:gd name="T33" fmla="*/ 28 h 54"/>
              <a:gd name="T34" fmla="*/ 9 w 43"/>
              <a:gd name="T35" fmla="*/ 34 h 54"/>
              <a:gd name="T36" fmla="*/ 13 w 43"/>
              <a:gd name="T37" fmla="*/ 39 h 54"/>
              <a:gd name="T38" fmla="*/ 19 w 43"/>
              <a:gd name="T39" fmla="*/ 42 h 54"/>
              <a:gd name="T40" fmla="*/ 18 w 43"/>
              <a:gd name="T41" fmla="*/ 35 h 54"/>
              <a:gd name="T42" fmla="*/ 23 w 43"/>
              <a:gd name="T43" fmla="*/ 35 h 54"/>
              <a:gd name="T44" fmla="*/ 19 w 43"/>
              <a:gd name="T45" fmla="*/ 32 h 54"/>
              <a:gd name="T46" fmla="*/ 22 w 43"/>
              <a:gd name="T47" fmla="*/ 31 h 54"/>
              <a:gd name="T48" fmla="*/ 27 w 43"/>
              <a:gd name="T49" fmla="*/ 30 h 54"/>
              <a:gd name="T50" fmla="*/ 25 w 43"/>
              <a:gd name="T51" fmla="*/ 24 h 54"/>
              <a:gd name="T52" fmla="*/ 19 w 43"/>
              <a:gd name="T53" fmla="*/ 25 h 54"/>
              <a:gd name="T54" fmla="*/ 21 w 43"/>
              <a:gd name="T55" fmla="*/ 21 h 54"/>
              <a:gd name="T56" fmla="*/ 15 w 43"/>
              <a:gd name="T57" fmla="*/ 13 h 54"/>
              <a:gd name="T58" fmla="*/ 19 w 43"/>
              <a:gd name="T59" fmla="*/ 11 h 54"/>
              <a:gd name="T60" fmla="*/ 25 w 43"/>
              <a:gd name="T61" fmla="*/ 12 h 54"/>
              <a:gd name="T62" fmla="*/ 26 w 43"/>
              <a:gd name="T63" fmla="*/ 7 h 54"/>
              <a:gd name="T64" fmla="*/ 30 w 43"/>
              <a:gd name="T65" fmla="*/ 8 h 54"/>
              <a:gd name="T66" fmla="*/ 35 w 43"/>
              <a:gd name="T67" fmla="*/ 6 h 54"/>
              <a:gd name="T68" fmla="*/ 40 w 43"/>
              <a:gd name="T69" fmla="*/ 8 h 54"/>
              <a:gd name="T70" fmla="*/ 42 w 43"/>
              <a:gd name="T71" fmla="*/ 6 h 54"/>
              <a:gd name="T72" fmla="*/ 43 w 43"/>
              <a:gd name="T73" fmla="*/ 2 h 54"/>
              <a:gd name="T74" fmla="*/ 43 w 43"/>
              <a:gd name="T75" fmla="*/ 0 h 54"/>
              <a:gd name="T76" fmla="*/ 37 w 43"/>
              <a:gd name="T77" fmla="*/ 51 h 54"/>
              <a:gd name="T78" fmla="*/ 26 w 43"/>
              <a:gd name="T79" fmla="*/ 50 h 54"/>
              <a:gd name="T80" fmla="*/ 22 w 43"/>
              <a:gd name="T81" fmla="*/ 51 h 54"/>
              <a:gd name="T82" fmla="*/ 32 w 43"/>
              <a:gd name="T83" fmla="*/ 54 h 54"/>
              <a:gd name="T84" fmla="*/ 41 w 43"/>
              <a:gd name="T85" fmla="*/ 51 h 54"/>
              <a:gd name="T86" fmla="*/ 37 w 43"/>
              <a:gd name="T87" fmla="*/ 5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 h="54">
                <a:moveTo>
                  <a:pt x="43" y="0"/>
                </a:moveTo>
                <a:cubicBezTo>
                  <a:pt x="41" y="0"/>
                  <a:pt x="39" y="0"/>
                  <a:pt x="40" y="1"/>
                </a:cubicBezTo>
                <a:cubicBezTo>
                  <a:pt x="40" y="2"/>
                  <a:pt x="39" y="3"/>
                  <a:pt x="37" y="3"/>
                </a:cubicBezTo>
                <a:cubicBezTo>
                  <a:pt x="37" y="3"/>
                  <a:pt x="31" y="2"/>
                  <a:pt x="30" y="2"/>
                </a:cubicBezTo>
                <a:cubicBezTo>
                  <a:pt x="28" y="1"/>
                  <a:pt x="23" y="1"/>
                  <a:pt x="20" y="1"/>
                </a:cubicBezTo>
                <a:cubicBezTo>
                  <a:pt x="20" y="2"/>
                  <a:pt x="20" y="2"/>
                  <a:pt x="20" y="2"/>
                </a:cubicBezTo>
                <a:cubicBezTo>
                  <a:pt x="20" y="3"/>
                  <a:pt x="15" y="5"/>
                  <a:pt x="14" y="5"/>
                </a:cubicBezTo>
                <a:cubicBezTo>
                  <a:pt x="13" y="4"/>
                  <a:pt x="13" y="6"/>
                  <a:pt x="11" y="7"/>
                </a:cubicBezTo>
                <a:cubicBezTo>
                  <a:pt x="9" y="7"/>
                  <a:pt x="6" y="7"/>
                  <a:pt x="6" y="7"/>
                </a:cubicBezTo>
                <a:cubicBezTo>
                  <a:pt x="6" y="8"/>
                  <a:pt x="5" y="10"/>
                  <a:pt x="3" y="11"/>
                </a:cubicBezTo>
                <a:cubicBezTo>
                  <a:pt x="2" y="12"/>
                  <a:pt x="3" y="14"/>
                  <a:pt x="2" y="14"/>
                </a:cubicBezTo>
                <a:cubicBezTo>
                  <a:pt x="1" y="14"/>
                  <a:pt x="0" y="16"/>
                  <a:pt x="0" y="18"/>
                </a:cubicBezTo>
                <a:cubicBezTo>
                  <a:pt x="0" y="18"/>
                  <a:pt x="0" y="18"/>
                  <a:pt x="0" y="18"/>
                </a:cubicBezTo>
                <a:cubicBezTo>
                  <a:pt x="2" y="18"/>
                  <a:pt x="4" y="21"/>
                  <a:pt x="4" y="24"/>
                </a:cubicBezTo>
                <a:cubicBezTo>
                  <a:pt x="3" y="26"/>
                  <a:pt x="7" y="27"/>
                  <a:pt x="9" y="25"/>
                </a:cubicBezTo>
                <a:cubicBezTo>
                  <a:pt x="10" y="23"/>
                  <a:pt x="15" y="26"/>
                  <a:pt x="15" y="28"/>
                </a:cubicBezTo>
                <a:cubicBezTo>
                  <a:pt x="15" y="29"/>
                  <a:pt x="10" y="26"/>
                  <a:pt x="8" y="28"/>
                </a:cubicBezTo>
                <a:cubicBezTo>
                  <a:pt x="5" y="30"/>
                  <a:pt x="10" y="32"/>
                  <a:pt x="9" y="34"/>
                </a:cubicBezTo>
                <a:cubicBezTo>
                  <a:pt x="8" y="36"/>
                  <a:pt x="10" y="39"/>
                  <a:pt x="13" y="39"/>
                </a:cubicBezTo>
                <a:cubicBezTo>
                  <a:pt x="15" y="39"/>
                  <a:pt x="18" y="43"/>
                  <a:pt x="19" y="42"/>
                </a:cubicBezTo>
                <a:cubicBezTo>
                  <a:pt x="20" y="41"/>
                  <a:pt x="17" y="36"/>
                  <a:pt x="18" y="35"/>
                </a:cubicBezTo>
                <a:cubicBezTo>
                  <a:pt x="18" y="34"/>
                  <a:pt x="21" y="36"/>
                  <a:pt x="23" y="35"/>
                </a:cubicBezTo>
                <a:cubicBezTo>
                  <a:pt x="24" y="33"/>
                  <a:pt x="22" y="32"/>
                  <a:pt x="19" y="32"/>
                </a:cubicBezTo>
                <a:cubicBezTo>
                  <a:pt x="17" y="32"/>
                  <a:pt x="19" y="29"/>
                  <a:pt x="22" y="31"/>
                </a:cubicBezTo>
                <a:cubicBezTo>
                  <a:pt x="24" y="32"/>
                  <a:pt x="26" y="30"/>
                  <a:pt x="27" y="30"/>
                </a:cubicBezTo>
                <a:cubicBezTo>
                  <a:pt x="28" y="30"/>
                  <a:pt x="28" y="25"/>
                  <a:pt x="25" y="24"/>
                </a:cubicBezTo>
                <a:cubicBezTo>
                  <a:pt x="21" y="23"/>
                  <a:pt x="21" y="27"/>
                  <a:pt x="19" y="25"/>
                </a:cubicBezTo>
                <a:cubicBezTo>
                  <a:pt x="16" y="22"/>
                  <a:pt x="21" y="23"/>
                  <a:pt x="21" y="21"/>
                </a:cubicBezTo>
                <a:cubicBezTo>
                  <a:pt x="21" y="19"/>
                  <a:pt x="17" y="16"/>
                  <a:pt x="15" y="13"/>
                </a:cubicBezTo>
                <a:cubicBezTo>
                  <a:pt x="14" y="11"/>
                  <a:pt x="18" y="9"/>
                  <a:pt x="19" y="11"/>
                </a:cubicBezTo>
                <a:cubicBezTo>
                  <a:pt x="20" y="13"/>
                  <a:pt x="23" y="13"/>
                  <a:pt x="25" y="12"/>
                </a:cubicBezTo>
                <a:cubicBezTo>
                  <a:pt x="26" y="11"/>
                  <a:pt x="23" y="8"/>
                  <a:pt x="26" y="7"/>
                </a:cubicBezTo>
                <a:cubicBezTo>
                  <a:pt x="29" y="6"/>
                  <a:pt x="29" y="8"/>
                  <a:pt x="30" y="8"/>
                </a:cubicBezTo>
                <a:cubicBezTo>
                  <a:pt x="31" y="9"/>
                  <a:pt x="32" y="6"/>
                  <a:pt x="35" y="6"/>
                </a:cubicBezTo>
                <a:cubicBezTo>
                  <a:pt x="37" y="6"/>
                  <a:pt x="38" y="7"/>
                  <a:pt x="40" y="8"/>
                </a:cubicBezTo>
                <a:cubicBezTo>
                  <a:pt x="41" y="7"/>
                  <a:pt x="42" y="6"/>
                  <a:pt x="42" y="6"/>
                </a:cubicBezTo>
                <a:cubicBezTo>
                  <a:pt x="42" y="4"/>
                  <a:pt x="43" y="4"/>
                  <a:pt x="43" y="2"/>
                </a:cubicBezTo>
                <a:cubicBezTo>
                  <a:pt x="43" y="1"/>
                  <a:pt x="43" y="0"/>
                  <a:pt x="43" y="0"/>
                </a:cubicBezTo>
                <a:close/>
                <a:moveTo>
                  <a:pt x="37" y="51"/>
                </a:moveTo>
                <a:cubicBezTo>
                  <a:pt x="36" y="50"/>
                  <a:pt x="28" y="52"/>
                  <a:pt x="26" y="50"/>
                </a:cubicBezTo>
                <a:cubicBezTo>
                  <a:pt x="24" y="48"/>
                  <a:pt x="20" y="51"/>
                  <a:pt x="22" y="51"/>
                </a:cubicBezTo>
                <a:cubicBezTo>
                  <a:pt x="25" y="52"/>
                  <a:pt x="28" y="54"/>
                  <a:pt x="32" y="54"/>
                </a:cubicBezTo>
                <a:cubicBezTo>
                  <a:pt x="36" y="54"/>
                  <a:pt x="42" y="52"/>
                  <a:pt x="41" y="51"/>
                </a:cubicBezTo>
                <a:cubicBezTo>
                  <a:pt x="41" y="50"/>
                  <a:pt x="39" y="52"/>
                  <a:pt x="37" y="5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9" name="Freeform 135"/>
          <p:cNvSpPr/>
          <p:nvPr/>
        </p:nvSpPr>
        <p:spPr bwMode="auto">
          <a:xfrm>
            <a:off x="4839767" y="2403923"/>
            <a:ext cx="50800" cy="31750"/>
          </a:xfrm>
          <a:custGeom>
            <a:avLst/>
            <a:gdLst>
              <a:gd name="T0" fmla="*/ 12 w 18"/>
              <a:gd name="T1" fmla="*/ 7 h 11"/>
              <a:gd name="T2" fmla="*/ 16 w 18"/>
              <a:gd name="T3" fmla="*/ 2 h 11"/>
              <a:gd name="T4" fmla="*/ 16 w 18"/>
              <a:gd name="T5" fmla="*/ 1 h 11"/>
              <a:gd name="T6" fmla="*/ 6 w 18"/>
              <a:gd name="T7" fmla="*/ 4 h 11"/>
              <a:gd name="T8" fmla="*/ 3 w 18"/>
              <a:gd name="T9" fmla="*/ 9 h 11"/>
              <a:gd name="T10" fmla="*/ 12 w 18"/>
              <a:gd name="T11" fmla="*/ 7 h 11"/>
            </a:gdLst>
            <a:ahLst/>
            <a:cxnLst>
              <a:cxn ang="0">
                <a:pos x="T0" y="T1"/>
              </a:cxn>
              <a:cxn ang="0">
                <a:pos x="T2" y="T3"/>
              </a:cxn>
              <a:cxn ang="0">
                <a:pos x="T4" y="T5"/>
              </a:cxn>
              <a:cxn ang="0">
                <a:pos x="T6" y="T7"/>
              </a:cxn>
              <a:cxn ang="0">
                <a:pos x="T8" y="T9"/>
              </a:cxn>
              <a:cxn ang="0">
                <a:pos x="T10" y="T11"/>
              </a:cxn>
            </a:cxnLst>
            <a:rect l="0" t="0" r="r" b="b"/>
            <a:pathLst>
              <a:path w="18" h="11">
                <a:moveTo>
                  <a:pt x="12" y="7"/>
                </a:moveTo>
                <a:cubicBezTo>
                  <a:pt x="12" y="6"/>
                  <a:pt x="13" y="3"/>
                  <a:pt x="16" y="2"/>
                </a:cubicBezTo>
                <a:cubicBezTo>
                  <a:pt x="18" y="2"/>
                  <a:pt x="17" y="0"/>
                  <a:pt x="16" y="1"/>
                </a:cubicBezTo>
                <a:cubicBezTo>
                  <a:pt x="14" y="2"/>
                  <a:pt x="10" y="4"/>
                  <a:pt x="6" y="4"/>
                </a:cubicBezTo>
                <a:cubicBezTo>
                  <a:pt x="1" y="4"/>
                  <a:pt x="0" y="7"/>
                  <a:pt x="3" y="9"/>
                </a:cubicBezTo>
                <a:cubicBezTo>
                  <a:pt x="6" y="11"/>
                  <a:pt x="12" y="8"/>
                  <a:pt x="12" y="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0" name="Freeform 136"/>
          <p:cNvSpPr/>
          <p:nvPr/>
        </p:nvSpPr>
        <p:spPr bwMode="auto">
          <a:xfrm>
            <a:off x="3742805" y="1583185"/>
            <a:ext cx="211138" cy="109538"/>
          </a:xfrm>
          <a:custGeom>
            <a:avLst/>
            <a:gdLst>
              <a:gd name="T0" fmla="*/ 62 w 74"/>
              <a:gd name="T1" fmla="*/ 27 h 38"/>
              <a:gd name="T2" fmla="*/ 68 w 74"/>
              <a:gd name="T3" fmla="*/ 22 h 38"/>
              <a:gd name="T4" fmla="*/ 73 w 74"/>
              <a:gd name="T5" fmla="*/ 17 h 38"/>
              <a:gd name="T6" fmla="*/ 69 w 74"/>
              <a:gd name="T7" fmla="*/ 12 h 38"/>
              <a:gd name="T8" fmla="*/ 66 w 74"/>
              <a:gd name="T9" fmla="*/ 8 h 38"/>
              <a:gd name="T10" fmla="*/ 64 w 74"/>
              <a:gd name="T11" fmla="*/ 4 h 38"/>
              <a:gd name="T12" fmla="*/ 60 w 74"/>
              <a:gd name="T13" fmla="*/ 4 h 38"/>
              <a:gd name="T14" fmla="*/ 53 w 74"/>
              <a:gd name="T15" fmla="*/ 1 h 38"/>
              <a:gd name="T16" fmla="*/ 52 w 74"/>
              <a:gd name="T17" fmla="*/ 5 h 38"/>
              <a:gd name="T18" fmla="*/ 48 w 74"/>
              <a:gd name="T19" fmla="*/ 6 h 38"/>
              <a:gd name="T20" fmla="*/ 45 w 74"/>
              <a:gd name="T21" fmla="*/ 6 h 38"/>
              <a:gd name="T22" fmla="*/ 41 w 74"/>
              <a:gd name="T23" fmla="*/ 6 h 38"/>
              <a:gd name="T24" fmla="*/ 38 w 74"/>
              <a:gd name="T25" fmla="*/ 5 h 38"/>
              <a:gd name="T26" fmla="*/ 33 w 74"/>
              <a:gd name="T27" fmla="*/ 8 h 38"/>
              <a:gd name="T28" fmla="*/ 31 w 74"/>
              <a:gd name="T29" fmla="*/ 7 h 38"/>
              <a:gd name="T30" fmla="*/ 27 w 74"/>
              <a:gd name="T31" fmla="*/ 9 h 38"/>
              <a:gd name="T32" fmla="*/ 26 w 74"/>
              <a:gd name="T33" fmla="*/ 12 h 38"/>
              <a:gd name="T34" fmla="*/ 22 w 74"/>
              <a:gd name="T35" fmla="*/ 14 h 38"/>
              <a:gd name="T36" fmla="*/ 20 w 74"/>
              <a:gd name="T37" fmla="*/ 9 h 38"/>
              <a:gd name="T38" fmla="*/ 10 w 74"/>
              <a:gd name="T39" fmla="*/ 2 h 38"/>
              <a:gd name="T40" fmla="*/ 11 w 74"/>
              <a:gd name="T41" fmla="*/ 6 h 38"/>
              <a:gd name="T42" fmla="*/ 8 w 74"/>
              <a:gd name="T43" fmla="*/ 5 h 38"/>
              <a:gd name="T44" fmla="*/ 4 w 74"/>
              <a:gd name="T45" fmla="*/ 7 h 38"/>
              <a:gd name="T46" fmla="*/ 0 w 74"/>
              <a:gd name="T47" fmla="*/ 12 h 38"/>
              <a:gd name="T48" fmla="*/ 7 w 74"/>
              <a:gd name="T49" fmla="*/ 13 h 38"/>
              <a:gd name="T50" fmla="*/ 15 w 74"/>
              <a:gd name="T51" fmla="*/ 13 h 38"/>
              <a:gd name="T52" fmla="*/ 14 w 74"/>
              <a:gd name="T53" fmla="*/ 17 h 38"/>
              <a:gd name="T54" fmla="*/ 10 w 74"/>
              <a:gd name="T55" fmla="*/ 19 h 38"/>
              <a:gd name="T56" fmla="*/ 2 w 74"/>
              <a:gd name="T57" fmla="*/ 21 h 38"/>
              <a:gd name="T58" fmla="*/ 12 w 74"/>
              <a:gd name="T59" fmla="*/ 21 h 38"/>
              <a:gd name="T60" fmla="*/ 15 w 74"/>
              <a:gd name="T61" fmla="*/ 24 h 38"/>
              <a:gd name="T62" fmla="*/ 17 w 74"/>
              <a:gd name="T63" fmla="*/ 26 h 38"/>
              <a:gd name="T64" fmla="*/ 15 w 74"/>
              <a:gd name="T65" fmla="*/ 29 h 38"/>
              <a:gd name="T66" fmla="*/ 11 w 74"/>
              <a:gd name="T67" fmla="*/ 31 h 38"/>
              <a:gd name="T68" fmla="*/ 20 w 74"/>
              <a:gd name="T69" fmla="*/ 31 h 38"/>
              <a:gd name="T70" fmla="*/ 32 w 74"/>
              <a:gd name="T71" fmla="*/ 36 h 38"/>
              <a:gd name="T72" fmla="*/ 44 w 74"/>
              <a:gd name="T73" fmla="*/ 33 h 38"/>
              <a:gd name="T74" fmla="*/ 53 w 74"/>
              <a:gd name="T75" fmla="*/ 30 h 38"/>
              <a:gd name="T76" fmla="*/ 62 w 74"/>
              <a:gd name="T77"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4" h="38">
                <a:moveTo>
                  <a:pt x="62" y="27"/>
                </a:moveTo>
                <a:cubicBezTo>
                  <a:pt x="66" y="27"/>
                  <a:pt x="66" y="22"/>
                  <a:pt x="68" y="22"/>
                </a:cubicBezTo>
                <a:cubicBezTo>
                  <a:pt x="69" y="23"/>
                  <a:pt x="72" y="19"/>
                  <a:pt x="73" y="17"/>
                </a:cubicBezTo>
                <a:cubicBezTo>
                  <a:pt x="74" y="15"/>
                  <a:pt x="72" y="12"/>
                  <a:pt x="69" y="12"/>
                </a:cubicBezTo>
                <a:cubicBezTo>
                  <a:pt x="67" y="12"/>
                  <a:pt x="65" y="10"/>
                  <a:pt x="66" y="8"/>
                </a:cubicBezTo>
                <a:cubicBezTo>
                  <a:pt x="66" y="7"/>
                  <a:pt x="64" y="5"/>
                  <a:pt x="64" y="4"/>
                </a:cubicBezTo>
                <a:cubicBezTo>
                  <a:pt x="64" y="3"/>
                  <a:pt x="61" y="4"/>
                  <a:pt x="60" y="4"/>
                </a:cubicBezTo>
                <a:cubicBezTo>
                  <a:pt x="58" y="5"/>
                  <a:pt x="55" y="0"/>
                  <a:pt x="53" y="1"/>
                </a:cubicBezTo>
                <a:cubicBezTo>
                  <a:pt x="51" y="2"/>
                  <a:pt x="53" y="4"/>
                  <a:pt x="52" y="5"/>
                </a:cubicBezTo>
                <a:cubicBezTo>
                  <a:pt x="52" y="7"/>
                  <a:pt x="48" y="4"/>
                  <a:pt x="48" y="6"/>
                </a:cubicBezTo>
                <a:cubicBezTo>
                  <a:pt x="48" y="7"/>
                  <a:pt x="47" y="7"/>
                  <a:pt x="45" y="6"/>
                </a:cubicBezTo>
                <a:cubicBezTo>
                  <a:pt x="44" y="4"/>
                  <a:pt x="41" y="5"/>
                  <a:pt x="41" y="6"/>
                </a:cubicBezTo>
                <a:cubicBezTo>
                  <a:pt x="42" y="8"/>
                  <a:pt x="40" y="7"/>
                  <a:pt x="38" y="5"/>
                </a:cubicBezTo>
                <a:cubicBezTo>
                  <a:pt x="35" y="4"/>
                  <a:pt x="33" y="7"/>
                  <a:pt x="33" y="8"/>
                </a:cubicBezTo>
                <a:cubicBezTo>
                  <a:pt x="33" y="10"/>
                  <a:pt x="32" y="10"/>
                  <a:pt x="31" y="7"/>
                </a:cubicBezTo>
                <a:cubicBezTo>
                  <a:pt x="29" y="3"/>
                  <a:pt x="26" y="7"/>
                  <a:pt x="27" y="9"/>
                </a:cubicBezTo>
                <a:cubicBezTo>
                  <a:pt x="28" y="11"/>
                  <a:pt x="28" y="13"/>
                  <a:pt x="26" y="12"/>
                </a:cubicBezTo>
                <a:cubicBezTo>
                  <a:pt x="25" y="11"/>
                  <a:pt x="23" y="13"/>
                  <a:pt x="22" y="14"/>
                </a:cubicBezTo>
                <a:cubicBezTo>
                  <a:pt x="21" y="16"/>
                  <a:pt x="18" y="10"/>
                  <a:pt x="20" y="9"/>
                </a:cubicBezTo>
                <a:cubicBezTo>
                  <a:pt x="22" y="7"/>
                  <a:pt x="13" y="2"/>
                  <a:pt x="10" y="2"/>
                </a:cubicBezTo>
                <a:cubicBezTo>
                  <a:pt x="7" y="2"/>
                  <a:pt x="9" y="4"/>
                  <a:pt x="11" y="6"/>
                </a:cubicBezTo>
                <a:cubicBezTo>
                  <a:pt x="13" y="7"/>
                  <a:pt x="9" y="7"/>
                  <a:pt x="8" y="5"/>
                </a:cubicBezTo>
                <a:cubicBezTo>
                  <a:pt x="7" y="4"/>
                  <a:pt x="5" y="5"/>
                  <a:pt x="4" y="7"/>
                </a:cubicBezTo>
                <a:cubicBezTo>
                  <a:pt x="2" y="9"/>
                  <a:pt x="0" y="10"/>
                  <a:pt x="0" y="12"/>
                </a:cubicBezTo>
                <a:cubicBezTo>
                  <a:pt x="0" y="13"/>
                  <a:pt x="4" y="15"/>
                  <a:pt x="7" y="13"/>
                </a:cubicBezTo>
                <a:cubicBezTo>
                  <a:pt x="10" y="12"/>
                  <a:pt x="14" y="12"/>
                  <a:pt x="15" y="13"/>
                </a:cubicBezTo>
                <a:cubicBezTo>
                  <a:pt x="17" y="15"/>
                  <a:pt x="12" y="15"/>
                  <a:pt x="14" y="17"/>
                </a:cubicBezTo>
                <a:cubicBezTo>
                  <a:pt x="15" y="18"/>
                  <a:pt x="14" y="19"/>
                  <a:pt x="10" y="19"/>
                </a:cubicBezTo>
                <a:cubicBezTo>
                  <a:pt x="6" y="18"/>
                  <a:pt x="2" y="19"/>
                  <a:pt x="2" y="21"/>
                </a:cubicBezTo>
                <a:cubicBezTo>
                  <a:pt x="3" y="22"/>
                  <a:pt x="12" y="20"/>
                  <a:pt x="12" y="21"/>
                </a:cubicBezTo>
                <a:cubicBezTo>
                  <a:pt x="13" y="22"/>
                  <a:pt x="12" y="25"/>
                  <a:pt x="15" y="24"/>
                </a:cubicBezTo>
                <a:cubicBezTo>
                  <a:pt x="17" y="23"/>
                  <a:pt x="16" y="25"/>
                  <a:pt x="17" y="26"/>
                </a:cubicBezTo>
                <a:cubicBezTo>
                  <a:pt x="18" y="26"/>
                  <a:pt x="18" y="29"/>
                  <a:pt x="15" y="29"/>
                </a:cubicBezTo>
                <a:cubicBezTo>
                  <a:pt x="11" y="29"/>
                  <a:pt x="10" y="30"/>
                  <a:pt x="11" y="31"/>
                </a:cubicBezTo>
                <a:cubicBezTo>
                  <a:pt x="13" y="33"/>
                  <a:pt x="16" y="32"/>
                  <a:pt x="20" y="31"/>
                </a:cubicBezTo>
                <a:cubicBezTo>
                  <a:pt x="23" y="30"/>
                  <a:pt x="28" y="34"/>
                  <a:pt x="32" y="36"/>
                </a:cubicBezTo>
                <a:cubicBezTo>
                  <a:pt x="36" y="38"/>
                  <a:pt x="43" y="35"/>
                  <a:pt x="44" y="33"/>
                </a:cubicBezTo>
                <a:cubicBezTo>
                  <a:pt x="45" y="31"/>
                  <a:pt x="51" y="32"/>
                  <a:pt x="53" y="30"/>
                </a:cubicBezTo>
                <a:cubicBezTo>
                  <a:pt x="55" y="29"/>
                  <a:pt x="58" y="27"/>
                  <a:pt x="62" y="2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1" name="Freeform 137"/>
          <p:cNvSpPr/>
          <p:nvPr/>
        </p:nvSpPr>
        <p:spPr bwMode="auto">
          <a:xfrm>
            <a:off x="4012680" y="1927673"/>
            <a:ext cx="88900" cy="96838"/>
          </a:xfrm>
          <a:custGeom>
            <a:avLst/>
            <a:gdLst>
              <a:gd name="T0" fmla="*/ 28 w 31"/>
              <a:gd name="T1" fmla="*/ 11 h 34"/>
              <a:gd name="T2" fmla="*/ 25 w 31"/>
              <a:gd name="T3" fmla="*/ 9 h 34"/>
              <a:gd name="T4" fmla="*/ 21 w 31"/>
              <a:gd name="T5" fmla="*/ 10 h 34"/>
              <a:gd name="T6" fmla="*/ 17 w 31"/>
              <a:gd name="T7" fmla="*/ 9 h 34"/>
              <a:gd name="T8" fmla="*/ 19 w 31"/>
              <a:gd name="T9" fmla="*/ 5 h 34"/>
              <a:gd name="T10" fmla="*/ 21 w 31"/>
              <a:gd name="T11" fmla="*/ 1 h 34"/>
              <a:gd name="T12" fmla="*/ 20 w 31"/>
              <a:gd name="T13" fmla="*/ 1 h 34"/>
              <a:gd name="T14" fmla="*/ 13 w 31"/>
              <a:gd name="T15" fmla="*/ 2 h 34"/>
              <a:gd name="T16" fmla="*/ 16 w 31"/>
              <a:gd name="T17" fmla="*/ 6 h 34"/>
              <a:gd name="T18" fmla="*/ 10 w 31"/>
              <a:gd name="T19" fmla="*/ 9 h 34"/>
              <a:gd name="T20" fmla="*/ 3 w 31"/>
              <a:gd name="T21" fmla="*/ 9 h 34"/>
              <a:gd name="T22" fmla="*/ 4 w 31"/>
              <a:gd name="T23" fmla="*/ 14 h 34"/>
              <a:gd name="T24" fmla="*/ 7 w 31"/>
              <a:gd name="T25" fmla="*/ 19 h 34"/>
              <a:gd name="T26" fmla="*/ 5 w 31"/>
              <a:gd name="T27" fmla="*/ 24 h 34"/>
              <a:gd name="T28" fmla="*/ 1 w 31"/>
              <a:gd name="T29" fmla="*/ 29 h 34"/>
              <a:gd name="T30" fmla="*/ 7 w 31"/>
              <a:gd name="T31" fmla="*/ 34 h 34"/>
              <a:gd name="T32" fmla="*/ 19 w 31"/>
              <a:gd name="T33" fmla="*/ 30 h 34"/>
              <a:gd name="T34" fmla="*/ 28 w 31"/>
              <a:gd name="T35" fmla="*/ 28 h 34"/>
              <a:gd name="T36" fmla="*/ 28 w 31"/>
              <a:gd name="T37" fmla="*/ 12 h 34"/>
              <a:gd name="T38" fmla="*/ 28 w 31"/>
              <a:gd name="T3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34">
                <a:moveTo>
                  <a:pt x="28" y="11"/>
                </a:moveTo>
                <a:cubicBezTo>
                  <a:pt x="27" y="10"/>
                  <a:pt x="26" y="9"/>
                  <a:pt x="25" y="9"/>
                </a:cubicBezTo>
                <a:cubicBezTo>
                  <a:pt x="23" y="6"/>
                  <a:pt x="22" y="8"/>
                  <a:pt x="21" y="10"/>
                </a:cubicBezTo>
                <a:cubicBezTo>
                  <a:pt x="21" y="12"/>
                  <a:pt x="19" y="9"/>
                  <a:pt x="17" y="9"/>
                </a:cubicBezTo>
                <a:cubicBezTo>
                  <a:pt x="16" y="9"/>
                  <a:pt x="18" y="6"/>
                  <a:pt x="19" y="5"/>
                </a:cubicBezTo>
                <a:cubicBezTo>
                  <a:pt x="19" y="5"/>
                  <a:pt x="20" y="3"/>
                  <a:pt x="21" y="1"/>
                </a:cubicBezTo>
                <a:cubicBezTo>
                  <a:pt x="20" y="1"/>
                  <a:pt x="20" y="1"/>
                  <a:pt x="20" y="1"/>
                </a:cubicBezTo>
                <a:cubicBezTo>
                  <a:pt x="17" y="0"/>
                  <a:pt x="13" y="0"/>
                  <a:pt x="13" y="2"/>
                </a:cubicBezTo>
                <a:cubicBezTo>
                  <a:pt x="13" y="5"/>
                  <a:pt x="16" y="4"/>
                  <a:pt x="16" y="6"/>
                </a:cubicBezTo>
                <a:cubicBezTo>
                  <a:pt x="16" y="7"/>
                  <a:pt x="13" y="7"/>
                  <a:pt x="10" y="9"/>
                </a:cubicBezTo>
                <a:cubicBezTo>
                  <a:pt x="8" y="10"/>
                  <a:pt x="6" y="7"/>
                  <a:pt x="3" y="9"/>
                </a:cubicBezTo>
                <a:cubicBezTo>
                  <a:pt x="1" y="10"/>
                  <a:pt x="6" y="11"/>
                  <a:pt x="4" y="14"/>
                </a:cubicBezTo>
                <a:cubicBezTo>
                  <a:pt x="2" y="16"/>
                  <a:pt x="4" y="16"/>
                  <a:pt x="7" y="19"/>
                </a:cubicBezTo>
                <a:cubicBezTo>
                  <a:pt x="10" y="21"/>
                  <a:pt x="5" y="22"/>
                  <a:pt x="5" y="24"/>
                </a:cubicBezTo>
                <a:cubicBezTo>
                  <a:pt x="5" y="27"/>
                  <a:pt x="1" y="27"/>
                  <a:pt x="1" y="29"/>
                </a:cubicBezTo>
                <a:cubicBezTo>
                  <a:pt x="0" y="31"/>
                  <a:pt x="4" y="34"/>
                  <a:pt x="7" y="34"/>
                </a:cubicBezTo>
                <a:cubicBezTo>
                  <a:pt x="10" y="34"/>
                  <a:pt x="16" y="33"/>
                  <a:pt x="19" y="30"/>
                </a:cubicBezTo>
                <a:cubicBezTo>
                  <a:pt x="23" y="26"/>
                  <a:pt x="25" y="29"/>
                  <a:pt x="28" y="28"/>
                </a:cubicBezTo>
                <a:cubicBezTo>
                  <a:pt x="31" y="26"/>
                  <a:pt x="29" y="14"/>
                  <a:pt x="28" y="12"/>
                </a:cubicBezTo>
                <a:cubicBezTo>
                  <a:pt x="28" y="11"/>
                  <a:pt x="28" y="11"/>
                  <a:pt x="28" y="1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2" name="Freeform 138"/>
          <p:cNvSpPr>
            <a:spLocks noEditPoints="1"/>
          </p:cNvSpPr>
          <p:nvPr/>
        </p:nvSpPr>
        <p:spPr bwMode="auto">
          <a:xfrm>
            <a:off x="4058717" y="1765748"/>
            <a:ext cx="196850" cy="301625"/>
          </a:xfrm>
          <a:custGeom>
            <a:avLst/>
            <a:gdLst>
              <a:gd name="T0" fmla="*/ 5 w 69"/>
              <a:gd name="T1" fmla="*/ 58 h 106"/>
              <a:gd name="T2" fmla="*/ 1 w 69"/>
              <a:gd name="T3" fmla="*/ 66 h 106"/>
              <a:gd name="T4" fmla="*/ 9 w 69"/>
              <a:gd name="T5" fmla="*/ 66 h 106"/>
              <a:gd name="T6" fmla="*/ 17 w 69"/>
              <a:gd name="T7" fmla="*/ 64 h 106"/>
              <a:gd name="T8" fmla="*/ 69 w 69"/>
              <a:gd name="T9" fmla="*/ 82 h 106"/>
              <a:gd name="T10" fmla="*/ 58 w 69"/>
              <a:gd name="T11" fmla="*/ 78 h 106"/>
              <a:gd name="T12" fmla="*/ 56 w 69"/>
              <a:gd name="T13" fmla="*/ 71 h 106"/>
              <a:gd name="T14" fmla="*/ 46 w 69"/>
              <a:gd name="T15" fmla="*/ 54 h 106"/>
              <a:gd name="T16" fmla="*/ 35 w 69"/>
              <a:gd name="T17" fmla="*/ 49 h 106"/>
              <a:gd name="T18" fmla="*/ 43 w 69"/>
              <a:gd name="T19" fmla="*/ 33 h 106"/>
              <a:gd name="T20" fmla="*/ 28 w 69"/>
              <a:gd name="T21" fmla="*/ 30 h 106"/>
              <a:gd name="T22" fmla="*/ 34 w 69"/>
              <a:gd name="T23" fmla="*/ 20 h 106"/>
              <a:gd name="T24" fmla="*/ 24 w 69"/>
              <a:gd name="T25" fmla="*/ 23 h 106"/>
              <a:gd name="T26" fmla="*/ 16 w 69"/>
              <a:gd name="T27" fmla="*/ 34 h 106"/>
              <a:gd name="T28" fmla="*/ 11 w 69"/>
              <a:gd name="T29" fmla="*/ 34 h 106"/>
              <a:gd name="T30" fmla="*/ 13 w 69"/>
              <a:gd name="T31" fmla="*/ 43 h 106"/>
              <a:gd name="T32" fmla="*/ 11 w 69"/>
              <a:gd name="T33" fmla="*/ 51 h 106"/>
              <a:gd name="T34" fmla="*/ 19 w 69"/>
              <a:gd name="T35" fmla="*/ 54 h 106"/>
              <a:gd name="T36" fmla="*/ 23 w 69"/>
              <a:gd name="T37" fmla="*/ 53 h 106"/>
              <a:gd name="T38" fmla="*/ 31 w 69"/>
              <a:gd name="T39" fmla="*/ 59 h 106"/>
              <a:gd name="T40" fmla="*/ 34 w 69"/>
              <a:gd name="T41" fmla="*/ 65 h 106"/>
              <a:gd name="T42" fmla="*/ 35 w 69"/>
              <a:gd name="T43" fmla="*/ 74 h 106"/>
              <a:gd name="T44" fmla="*/ 26 w 69"/>
              <a:gd name="T45" fmla="*/ 75 h 106"/>
              <a:gd name="T46" fmla="*/ 28 w 69"/>
              <a:gd name="T47" fmla="*/ 82 h 106"/>
              <a:gd name="T48" fmla="*/ 24 w 69"/>
              <a:gd name="T49" fmla="*/ 90 h 106"/>
              <a:gd name="T50" fmla="*/ 35 w 69"/>
              <a:gd name="T51" fmla="*/ 92 h 106"/>
              <a:gd name="T52" fmla="*/ 28 w 69"/>
              <a:gd name="T53" fmla="*/ 95 h 106"/>
              <a:gd name="T54" fmla="*/ 24 w 69"/>
              <a:gd name="T55" fmla="*/ 102 h 106"/>
              <a:gd name="T56" fmla="*/ 32 w 69"/>
              <a:gd name="T57" fmla="*/ 100 h 106"/>
              <a:gd name="T58" fmla="*/ 43 w 69"/>
              <a:gd name="T59" fmla="*/ 98 h 106"/>
              <a:gd name="T60" fmla="*/ 56 w 69"/>
              <a:gd name="T61" fmla="*/ 98 h 106"/>
              <a:gd name="T62" fmla="*/ 63 w 69"/>
              <a:gd name="T63" fmla="*/ 93 h 106"/>
              <a:gd name="T64" fmla="*/ 69 w 69"/>
              <a:gd name="T65" fmla="*/ 82 h 106"/>
              <a:gd name="T66" fmla="*/ 8 w 69"/>
              <a:gd name="T67" fmla="*/ 31 h 106"/>
              <a:gd name="T68" fmla="*/ 47 w 69"/>
              <a:gd name="T69" fmla="*/ 9 h 106"/>
              <a:gd name="T70" fmla="*/ 47 w 69"/>
              <a:gd name="T71" fmla="*/ 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9" h="106">
                <a:moveTo>
                  <a:pt x="13" y="57"/>
                </a:moveTo>
                <a:cubicBezTo>
                  <a:pt x="11" y="54"/>
                  <a:pt x="7" y="58"/>
                  <a:pt x="5" y="58"/>
                </a:cubicBezTo>
                <a:cubicBezTo>
                  <a:pt x="4" y="60"/>
                  <a:pt x="3" y="62"/>
                  <a:pt x="3" y="62"/>
                </a:cubicBezTo>
                <a:cubicBezTo>
                  <a:pt x="2" y="63"/>
                  <a:pt x="0" y="66"/>
                  <a:pt x="1" y="66"/>
                </a:cubicBezTo>
                <a:cubicBezTo>
                  <a:pt x="3" y="66"/>
                  <a:pt x="5" y="69"/>
                  <a:pt x="5" y="67"/>
                </a:cubicBezTo>
                <a:cubicBezTo>
                  <a:pt x="6" y="65"/>
                  <a:pt x="7" y="63"/>
                  <a:pt x="9" y="66"/>
                </a:cubicBezTo>
                <a:cubicBezTo>
                  <a:pt x="10" y="66"/>
                  <a:pt x="11" y="67"/>
                  <a:pt x="12" y="68"/>
                </a:cubicBezTo>
                <a:cubicBezTo>
                  <a:pt x="12" y="66"/>
                  <a:pt x="15" y="66"/>
                  <a:pt x="17" y="64"/>
                </a:cubicBezTo>
                <a:cubicBezTo>
                  <a:pt x="19" y="62"/>
                  <a:pt x="16" y="60"/>
                  <a:pt x="13" y="57"/>
                </a:cubicBezTo>
                <a:close/>
                <a:moveTo>
                  <a:pt x="69" y="82"/>
                </a:moveTo>
                <a:cubicBezTo>
                  <a:pt x="69" y="79"/>
                  <a:pt x="62" y="77"/>
                  <a:pt x="62" y="78"/>
                </a:cubicBezTo>
                <a:cubicBezTo>
                  <a:pt x="61" y="80"/>
                  <a:pt x="59" y="80"/>
                  <a:pt x="58" y="78"/>
                </a:cubicBezTo>
                <a:cubicBezTo>
                  <a:pt x="57" y="76"/>
                  <a:pt x="59" y="74"/>
                  <a:pt x="58" y="74"/>
                </a:cubicBezTo>
                <a:cubicBezTo>
                  <a:pt x="57" y="74"/>
                  <a:pt x="56" y="72"/>
                  <a:pt x="56" y="71"/>
                </a:cubicBezTo>
                <a:cubicBezTo>
                  <a:pt x="56" y="69"/>
                  <a:pt x="54" y="63"/>
                  <a:pt x="51" y="62"/>
                </a:cubicBezTo>
                <a:cubicBezTo>
                  <a:pt x="47" y="61"/>
                  <a:pt x="47" y="56"/>
                  <a:pt x="46" y="54"/>
                </a:cubicBezTo>
                <a:cubicBezTo>
                  <a:pt x="46" y="51"/>
                  <a:pt x="43" y="53"/>
                  <a:pt x="42" y="50"/>
                </a:cubicBezTo>
                <a:cubicBezTo>
                  <a:pt x="40" y="48"/>
                  <a:pt x="37" y="49"/>
                  <a:pt x="35" y="49"/>
                </a:cubicBezTo>
                <a:cubicBezTo>
                  <a:pt x="34" y="49"/>
                  <a:pt x="35" y="46"/>
                  <a:pt x="38" y="45"/>
                </a:cubicBezTo>
                <a:cubicBezTo>
                  <a:pt x="40" y="43"/>
                  <a:pt x="43" y="35"/>
                  <a:pt x="43" y="33"/>
                </a:cubicBezTo>
                <a:cubicBezTo>
                  <a:pt x="43" y="31"/>
                  <a:pt x="32" y="31"/>
                  <a:pt x="30" y="32"/>
                </a:cubicBezTo>
                <a:cubicBezTo>
                  <a:pt x="28" y="33"/>
                  <a:pt x="26" y="31"/>
                  <a:pt x="28" y="30"/>
                </a:cubicBezTo>
                <a:cubicBezTo>
                  <a:pt x="30" y="29"/>
                  <a:pt x="33" y="26"/>
                  <a:pt x="33" y="24"/>
                </a:cubicBezTo>
                <a:cubicBezTo>
                  <a:pt x="33" y="23"/>
                  <a:pt x="36" y="22"/>
                  <a:pt x="34" y="20"/>
                </a:cubicBezTo>
                <a:cubicBezTo>
                  <a:pt x="33" y="19"/>
                  <a:pt x="33" y="22"/>
                  <a:pt x="31" y="23"/>
                </a:cubicBezTo>
                <a:cubicBezTo>
                  <a:pt x="30" y="24"/>
                  <a:pt x="27" y="24"/>
                  <a:pt x="24" y="23"/>
                </a:cubicBezTo>
                <a:cubicBezTo>
                  <a:pt x="21" y="22"/>
                  <a:pt x="19" y="27"/>
                  <a:pt x="19" y="29"/>
                </a:cubicBezTo>
                <a:cubicBezTo>
                  <a:pt x="20" y="31"/>
                  <a:pt x="16" y="32"/>
                  <a:pt x="16" y="34"/>
                </a:cubicBezTo>
                <a:cubicBezTo>
                  <a:pt x="17" y="35"/>
                  <a:pt x="16" y="36"/>
                  <a:pt x="15" y="35"/>
                </a:cubicBezTo>
                <a:cubicBezTo>
                  <a:pt x="14" y="35"/>
                  <a:pt x="13" y="32"/>
                  <a:pt x="11" y="34"/>
                </a:cubicBezTo>
                <a:cubicBezTo>
                  <a:pt x="8" y="36"/>
                  <a:pt x="13" y="38"/>
                  <a:pt x="16" y="38"/>
                </a:cubicBezTo>
                <a:cubicBezTo>
                  <a:pt x="18" y="38"/>
                  <a:pt x="13" y="40"/>
                  <a:pt x="13" y="43"/>
                </a:cubicBezTo>
                <a:cubicBezTo>
                  <a:pt x="12" y="46"/>
                  <a:pt x="16" y="45"/>
                  <a:pt x="17" y="47"/>
                </a:cubicBezTo>
                <a:cubicBezTo>
                  <a:pt x="17" y="49"/>
                  <a:pt x="11" y="49"/>
                  <a:pt x="11" y="51"/>
                </a:cubicBezTo>
                <a:cubicBezTo>
                  <a:pt x="11" y="53"/>
                  <a:pt x="14" y="50"/>
                  <a:pt x="16" y="49"/>
                </a:cubicBezTo>
                <a:cubicBezTo>
                  <a:pt x="17" y="49"/>
                  <a:pt x="15" y="54"/>
                  <a:pt x="19" y="54"/>
                </a:cubicBezTo>
                <a:cubicBezTo>
                  <a:pt x="22" y="53"/>
                  <a:pt x="21" y="48"/>
                  <a:pt x="23" y="48"/>
                </a:cubicBezTo>
                <a:cubicBezTo>
                  <a:pt x="24" y="48"/>
                  <a:pt x="22" y="51"/>
                  <a:pt x="23" y="53"/>
                </a:cubicBezTo>
                <a:cubicBezTo>
                  <a:pt x="24" y="55"/>
                  <a:pt x="21" y="58"/>
                  <a:pt x="21" y="60"/>
                </a:cubicBezTo>
                <a:cubicBezTo>
                  <a:pt x="21" y="61"/>
                  <a:pt x="28" y="61"/>
                  <a:pt x="31" y="59"/>
                </a:cubicBezTo>
                <a:cubicBezTo>
                  <a:pt x="33" y="56"/>
                  <a:pt x="34" y="59"/>
                  <a:pt x="32" y="61"/>
                </a:cubicBezTo>
                <a:cubicBezTo>
                  <a:pt x="31" y="63"/>
                  <a:pt x="32" y="64"/>
                  <a:pt x="34" y="65"/>
                </a:cubicBezTo>
                <a:cubicBezTo>
                  <a:pt x="36" y="66"/>
                  <a:pt x="36" y="66"/>
                  <a:pt x="35" y="68"/>
                </a:cubicBezTo>
                <a:cubicBezTo>
                  <a:pt x="34" y="69"/>
                  <a:pt x="35" y="72"/>
                  <a:pt x="35" y="74"/>
                </a:cubicBezTo>
                <a:cubicBezTo>
                  <a:pt x="34" y="75"/>
                  <a:pt x="28" y="75"/>
                  <a:pt x="28" y="74"/>
                </a:cubicBezTo>
                <a:cubicBezTo>
                  <a:pt x="28" y="73"/>
                  <a:pt x="25" y="74"/>
                  <a:pt x="26" y="75"/>
                </a:cubicBezTo>
                <a:cubicBezTo>
                  <a:pt x="26" y="77"/>
                  <a:pt x="23" y="78"/>
                  <a:pt x="24" y="80"/>
                </a:cubicBezTo>
                <a:cubicBezTo>
                  <a:pt x="24" y="81"/>
                  <a:pt x="28" y="81"/>
                  <a:pt x="28" y="82"/>
                </a:cubicBezTo>
                <a:cubicBezTo>
                  <a:pt x="28" y="84"/>
                  <a:pt x="25" y="86"/>
                  <a:pt x="21" y="87"/>
                </a:cubicBezTo>
                <a:cubicBezTo>
                  <a:pt x="17" y="88"/>
                  <a:pt x="22" y="91"/>
                  <a:pt x="24" y="90"/>
                </a:cubicBezTo>
                <a:cubicBezTo>
                  <a:pt x="25" y="89"/>
                  <a:pt x="25" y="91"/>
                  <a:pt x="28" y="91"/>
                </a:cubicBezTo>
                <a:cubicBezTo>
                  <a:pt x="30" y="91"/>
                  <a:pt x="32" y="93"/>
                  <a:pt x="35" y="92"/>
                </a:cubicBezTo>
                <a:cubicBezTo>
                  <a:pt x="38" y="91"/>
                  <a:pt x="38" y="92"/>
                  <a:pt x="36" y="93"/>
                </a:cubicBezTo>
                <a:cubicBezTo>
                  <a:pt x="33" y="95"/>
                  <a:pt x="30" y="93"/>
                  <a:pt x="28" y="95"/>
                </a:cubicBezTo>
                <a:cubicBezTo>
                  <a:pt x="26" y="96"/>
                  <a:pt x="18" y="103"/>
                  <a:pt x="19" y="105"/>
                </a:cubicBezTo>
                <a:cubicBezTo>
                  <a:pt x="20" y="106"/>
                  <a:pt x="21" y="104"/>
                  <a:pt x="24" y="102"/>
                </a:cubicBezTo>
                <a:cubicBezTo>
                  <a:pt x="27" y="101"/>
                  <a:pt x="28" y="103"/>
                  <a:pt x="29" y="103"/>
                </a:cubicBezTo>
                <a:cubicBezTo>
                  <a:pt x="31" y="104"/>
                  <a:pt x="31" y="100"/>
                  <a:pt x="32" y="100"/>
                </a:cubicBezTo>
                <a:cubicBezTo>
                  <a:pt x="34" y="101"/>
                  <a:pt x="35" y="99"/>
                  <a:pt x="37" y="100"/>
                </a:cubicBezTo>
                <a:cubicBezTo>
                  <a:pt x="40" y="100"/>
                  <a:pt x="42" y="99"/>
                  <a:pt x="43" y="98"/>
                </a:cubicBezTo>
                <a:cubicBezTo>
                  <a:pt x="44" y="97"/>
                  <a:pt x="47" y="100"/>
                  <a:pt x="48" y="100"/>
                </a:cubicBezTo>
                <a:cubicBezTo>
                  <a:pt x="49" y="99"/>
                  <a:pt x="54" y="98"/>
                  <a:pt x="56" y="98"/>
                </a:cubicBezTo>
                <a:cubicBezTo>
                  <a:pt x="58" y="98"/>
                  <a:pt x="64" y="96"/>
                  <a:pt x="66" y="94"/>
                </a:cubicBezTo>
                <a:cubicBezTo>
                  <a:pt x="67" y="93"/>
                  <a:pt x="65" y="92"/>
                  <a:pt x="63" y="93"/>
                </a:cubicBezTo>
                <a:cubicBezTo>
                  <a:pt x="61" y="93"/>
                  <a:pt x="61" y="91"/>
                  <a:pt x="63" y="89"/>
                </a:cubicBezTo>
                <a:cubicBezTo>
                  <a:pt x="65" y="87"/>
                  <a:pt x="69" y="85"/>
                  <a:pt x="69" y="82"/>
                </a:cubicBezTo>
                <a:close/>
                <a:moveTo>
                  <a:pt x="12" y="25"/>
                </a:moveTo>
                <a:cubicBezTo>
                  <a:pt x="11" y="23"/>
                  <a:pt x="6" y="31"/>
                  <a:pt x="8" y="31"/>
                </a:cubicBezTo>
                <a:cubicBezTo>
                  <a:pt x="10" y="31"/>
                  <a:pt x="14" y="26"/>
                  <a:pt x="12" y="25"/>
                </a:cubicBezTo>
                <a:close/>
                <a:moveTo>
                  <a:pt x="47" y="9"/>
                </a:moveTo>
                <a:cubicBezTo>
                  <a:pt x="49" y="7"/>
                  <a:pt x="51" y="0"/>
                  <a:pt x="48" y="1"/>
                </a:cubicBezTo>
                <a:cubicBezTo>
                  <a:pt x="46" y="2"/>
                  <a:pt x="46" y="10"/>
                  <a:pt x="47" y="9"/>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33" name="Freeform 139"/>
          <p:cNvSpPr>
            <a:spLocks noEditPoints="1"/>
          </p:cNvSpPr>
          <p:nvPr/>
        </p:nvSpPr>
        <p:spPr bwMode="auto">
          <a:xfrm>
            <a:off x="4377805" y="1854648"/>
            <a:ext cx="93663" cy="90488"/>
          </a:xfrm>
          <a:custGeom>
            <a:avLst/>
            <a:gdLst>
              <a:gd name="T0" fmla="*/ 16 w 33"/>
              <a:gd name="T1" fmla="*/ 12 h 32"/>
              <a:gd name="T2" fmla="*/ 16 w 33"/>
              <a:gd name="T3" fmla="*/ 7 h 32"/>
              <a:gd name="T4" fmla="*/ 17 w 33"/>
              <a:gd name="T5" fmla="*/ 1 h 32"/>
              <a:gd name="T6" fmla="*/ 12 w 33"/>
              <a:gd name="T7" fmla="*/ 4 h 32"/>
              <a:gd name="T8" fmla="*/ 8 w 33"/>
              <a:gd name="T9" fmla="*/ 6 h 32"/>
              <a:gd name="T10" fmla="*/ 8 w 33"/>
              <a:gd name="T11" fmla="*/ 9 h 32"/>
              <a:gd name="T12" fmla="*/ 4 w 33"/>
              <a:gd name="T13" fmla="*/ 7 h 32"/>
              <a:gd name="T14" fmla="*/ 1 w 33"/>
              <a:gd name="T15" fmla="*/ 12 h 32"/>
              <a:gd name="T16" fmla="*/ 1 w 33"/>
              <a:gd name="T17" fmla="*/ 20 h 32"/>
              <a:gd name="T18" fmla="*/ 3 w 33"/>
              <a:gd name="T19" fmla="*/ 26 h 32"/>
              <a:gd name="T20" fmla="*/ 4 w 33"/>
              <a:gd name="T21" fmla="*/ 29 h 32"/>
              <a:gd name="T22" fmla="*/ 11 w 33"/>
              <a:gd name="T23" fmla="*/ 30 h 32"/>
              <a:gd name="T24" fmla="*/ 13 w 33"/>
              <a:gd name="T25" fmla="*/ 29 h 32"/>
              <a:gd name="T26" fmla="*/ 10 w 33"/>
              <a:gd name="T27" fmla="*/ 26 h 32"/>
              <a:gd name="T28" fmla="*/ 14 w 33"/>
              <a:gd name="T29" fmla="*/ 26 h 32"/>
              <a:gd name="T30" fmla="*/ 19 w 33"/>
              <a:gd name="T31" fmla="*/ 26 h 32"/>
              <a:gd name="T32" fmla="*/ 16 w 33"/>
              <a:gd name="T33" fmla="*/ 22 h 32"/>
              <a:gd name="T34" fmla="*/ 13 w 33"/>
              <a:gd name="T35" fmla="*/ 22 h 32"/>
              <a:gd name="T36" fmla="*/ 15 w 33"/>
              <a:gd name="T37" fmla="*/ 17 h 32"/>
              <a:gd name="T38" fmla="*/ 20 w 33"/>
              <a:gd name="T39" fmla="*/ 15 h 32"/>
              <a:gd name="T40" fmla="*/ 16 w 33"/>
              <a:gd name="T41" fmla="*/ 12 h 32"/>
              <a:gd name="T42" fmla="*/ 32 w 33"/>
              <a:gd name="T43" fmla="*/ 18 h 32"/>
              <a:gd name="T44" fmla="*/ 29 w 33"/>
              <a:gd name="T45" fmla="*/ 20 h 32"/>
              <a:gd name="T46" fmla="*/ 27 w 33"/>
              <a:gd name="T47" fmla="*/ 18 h 32"/>
              <a:gd name="T48" fmla="*/ 23 w 33"/>
              <a:gd name="T49" fmla="*/ 20 h 32"/>
              <a:gd name="T50" fmla="*/ 25 w 33"/>
              <a:gd name="T51" fmla="*/ 26 h 32"/>
              <a:gd name="T52" fmla="*/ 23 w 33"/>
              <a:gd name="T53" fmla="*/ 28 h 32"/>
              <a:gd name="T54" fmla="*/ 25 w 33"/>
              <a:gd name="T55" fmla="*/ 31 h 32"/>
              <a:gd name="T56" fmla="*/ 30 w 33"/>
              <a:gd name="T57" fmla="*/ 25 h 32"/>
              <a:gd name="T58" fmla="*/ 32 w 33"/>
              <a:gd name="T59"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 h="32">
                <a:moveTo>
                  <a:pt x="16" y="12"/>
                </a:moveTo>
                <a:cubicBezTo>
                  <a:pt x="15" y="11"/>
                  <a:pt x="15" y="8"/>
                  <a:pt x="16" y="7"/>
                </a:cubicBezTo>
                <a:cubicBezTo>
                  <a:pt x="17" y="6"/>
                  <a:pt x="18" y="2"/>
                  <a:pt x="17" y="1"/>
                </a:cubicBezTo>
                <a:cubicBezTo>
                  <a:pt x="16" y="0"/>
                  <a:pt x="12" y="1"/>
                  <a:pt x="12" y="4"/>
                </a:cubicBezTo>
                <a:cubicBezTo>
                  <a:pt x="12" y="7"/>
                  <a:pt x="9" y="5"/>
                  <a:pt x="8" y="6"/>
                </a:cubicBezTo>
                <a:cubicBezTo>
                  <a:pt x="7" y="7"/>
                  <a:pt x="9" y="8"/>
                  <a:pt x="8" y="9"/>
                </a:cubicBezTo>
                <a:cubicBezTo>
                  <a:pt x="7" y="10"/>
                  <a:pt x="6" y="7"/>
                  <a:pt x="4" y="7"/>
                </a:cubicBezTo>
                <a:cubicBezTo>
                  <a:pt x="2" y="7"/>
                  <a:pt x="2" y="10"/>
                  <a:pt x="1" y="12"/>
                </a:cubicBezTo>
                <a:cubicBezTo>
                  <a:pt x="0" y="14"/>
                  <a:pt x="0" y="17"/>
                  <a:pt x="1" y="20"/>
                </a:cubicBezTo>
                <a:cubicBezTo>
                  <a:pt x="1" y="22"/>
                  <a:pt x="4" y="24"/>
                  <a:pt x="3" y="26"/>
                </a:cubicBezTo>
                <a:cubicBezTo>
                  <a:pt x="3" y="27"/>
                  <a:pt x="4" y="28"/>
                  <a:pt x="4" y="29"/>
                </a:cubicBezTo>
                <a:cubicBezTo>
                  <a:pt x="7" y="29"/>
                  <a:pt x="10" y="29"/>
                  <a:pt x="11" y="30"/>
                </a:cubicBezTo>
                <a:cubicBezTo>
                  <a:pt x="11" y="30"/>
                  <a:pt x="12" y="30"/>
                  <a:pt x="13" y="29"/>
                </a:cubicBezTo>
                <a:cubicBezTo>
                  <a:pt x="12" y="28"/>
                  <a:pt x="10" y="27"/>
                  <a:pt x="10" y="26"/>
                </a:cubicBezTo>
                <a:cubicBezTo>
                  <a:pt x="11" y="24"/>
                  <a:pt x="13" y="25"/>
                  <a:pt x="14" y="26"/>
                </a:cubicBezTo>
                <a:cubicBezTo>
                  <a:pt x="15" y="28"/>
                  <a:pt x="19" y="28"/>
                  <a:pt x="19" y="26"/>
                </a:cubicBezTo>
                <a:cubicBezTo>
                  <a:pt x="19" y="25"/>
                  <a:pt x="18" y="21"/>
                  <a:pt x="16" y="22"/>
                </a:cubicBezTo>
                <a:cubicBezTo>
                  <a:pt x="15" y="23"/>
                  <a:pt x="14" y="23"/>
                  <a:pt x="13" y="22"/>
                </a:cubicBezTo>
                <a:cubicBezTo>
                  <a:pt x="13" y="21"/>
                  <a:pt x="15" y="19"/>
                  <a:pt x="15" y="17"/>
                </a:cubicBezTo>
                <a:cubicBezTo>
                  <a:pt x="16" y="16"/>
                  <a:pt x="19" y="16"/>
                  <a:pt x="20" y="15"/>
                </a:cubicBezTo>
                <a:cubicBezTo>
                  <a:pt x="20" y="14"/>
                  <a:pt x="17" y="12"/>
                  <a:pt x="16" y="12"/>
                </a:cubicBezTo>
                <a:close/>
                <a:moveTo>
                  <a:pt x="32" y="18"/>
                </a:moveTo>
                <a:cubicBezTo>
                  <a:pt x="31" y="18"/>
                  <a:pt x="30" y="19"/>
                  <a:pt x="29" y="20"/>
                </a:cubicBezTo>
                <a:cubicBezTo>
                  <a:pt x="29" y="20"/>
                  <a:pt x="27" y="16"/>
                  <a:pt x="27" y="18"/>
                </a:cubicBezTo>
                <a:cubicBezTo>
                  <a:pt x="27" y="20"/>
                  <a:pt x="25" y="17"/>
                  <a:pt x="23" y="20"/>
                </a:cubicBezTo>
                <a:cubicBezTo>
                  <a:pt x="21" y="23"/>
                  <a:pt x="24" y="25"/>
                  <a:pt x="25" y="26"/>
                </a:cubicBezTo>
                <a:cubicBezTo>
                  <a:pt x="27" y="27"/>
                  <a:pt x="25" y="29"/>
                  <a:pt x="23" y="28"/>
                </a:cubicBezTo>
                <a:cubicBezTo>
                  <a:pt x="21" y="28"/>
                  <a:pt x="23" y="31"/>
                  <a:pt x="25" y="31"/>
                </a:cubicBezTo>
                <a:cubicBezTo>
                  <a:pt x="28" y="32"/>
                  <a:pt x="30" y="27"/>
                  <a:pt x="30" y="25"/>
                </a:cubicBezTo>
                <a:cubicBezTo>
                  <a:pt x="30" y="24"/>
                  <a:pt x="33" y="19"/>
                  <a:pt x="32" y="1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4" name="Freeform 140"/>
          <p:cNvSpPr>
            <a:spLocks noEditPoints="1"/>
          </p:cNvSpPr>
          <p:nvPr/>
        </p:nvSpPr>
        <p:spPr bwMode="auto">
          <a:xfrm>
            <a:off x="4441305" y="1495873"/>
            <a:ext cx="244475" cy="430213"/>
          </a:xfrm>
          <a:custGeom>
            <a:avLst/>
            <a:gdLst>
              <a:gd name="T0" fmla="*/ 84 w 86"/>
              <a:gd name="T1" fmla="*/ 32 h 151"/>
              <a:gd name="T2" fmla="*/ 82 w 86"/>
              <a:gd name="T3" fmla="*/ 20 h 151"/>
              <a:gd name="T4" fmla="*/ 72 w 86"/>
              <a:gd name="T5" fmla="*/ 8 h 151"/>
              <a:gd name="T6" fmla="*/ 60 w 86"/>
              <a:gd name="T7" fmla="*/ 7 h 151"/>
              <a:gd name="T8" fmla="*/ 48 w 86"/>
              <a:gd name="T9" fmla="*/ 7 h 151"/>
              <a:gd name="T10" fmla="*/ 42 w 86"/>
              <a:gd name="T11" fmla="*/ 14 h 151"/>
              <a:gd name="T12" fmla="*/ 34 w 86"/>
              <a:gd name="T13" fmla="*/ 23 h 151"/>
              <a:gd name="T14" fmla="*/ 29 w 86"/>
              <a:gd name="T15" fmla="*/ 31 h 151"/>
              <a:gd name="T16" fmla="*/ 23 w 86"/>
              <a:gd name="T17" fmla="*/ 37 h 151"/>
              <a:gd name="T18" fmla="*/ 18 w 86"/>
              <a:gd name="T19" fmla="*/ 52 h 151"/>
              <a:gd name="T20" fmla="*/ 19 w 86"/>
              <a:gd name="T21" fmla="*/ 59 h 151"/>
              <a:gd name="T22" fmla="*/ 8 w 86"/>
              <a:gd name="T23" fmla="*/ 64 h 151"/>
              <a:gd name="T24" fmla="*/ 7 w 86"/>
              <a:gd name="T25" fmla="*/ 78 h 151"/>
              <a:gd name="T26" fmla="*/ 12 w 86"/>
              <a:gd name="T27" fmla="*/ 89 h 151"/>
              <a:gd name="T28" fmla="*/ 9 w 86"/>
              <a:gd name="T29" fmla="*/ 96 h 151"/>
              <a:gd name="T30" fmla="*/ 5 w 86"/>
              <a:gd name="T31" fmla="*/ 104 h 151"/>
              <a:gd name="T32" fmla="*/ 2 w 86"/>
              <a:gd name="T33" fmla="*/ 115 h 151"/>
              <a:gd name="T34" fmla="*/ 0 w 86"/>
              <a:gd name="T35" fmla="*/ 115 h 151"/>
              <a:gd name="T36" fmla="*/ 6 w 86"/>
              <a:gd name="T37" fmla="*/ 129 h 151"/>
              <a:gd name="T38" fmla="*/ 11 w 86"/>
              <a:gd name="T39" fmla="*/ 140 h 151"/>
              <a:gd name="T40" fmla="*/ 13 w 86"/>
              <a:gd name="T41" fmla="*/ 149 h 151"/>
              <a:gd name="T42" fmla="*/ 21 w 86"/>
              <a:gd name="T43" fmla="*/ 145 h 151"/>
              <a:gd name="T44" fmla="*/ 28 w 86"/>
              <a:gd name="T45" fmla="*/ 142 h 151"/>
              <a:gd name="T46" fmla="*/ 35 w 86"/>
              <a:gd name="T47" fmla="*/ 140 h 151"/>
              <a:gd name="T48" fmla="*/ 36 w 86"/>
              <a:gd name="T49" fmla="*/ 134 h 151"/>
              <a:gd name="T50" fmla="*/ 37 w 86"/>
              <a:gd name="T51" fmla="*/ 120 h 151"/>
              <a:gd name="T52" fmla="*/ 47 w 86"/>
              <a:gd name="T53" fmla="*/ 110 h 151"/>
              <a:gd name="T54" fmla="*/ 45 w 86"/>
              <a:gd name="T55" fmla="*/ 97 h 151"/>
              <a:gd name="T56" fmla="*/ 39 w 86"/>
              <a:gd name="T57" fmla="*/ 88 h 151"/>
              <a:gd name="T58" fmla="*/ 44 w 86"/>
              <a:gd name="T59" fmla="*/ 76 h 151"/>
              <a:gd name="T60" fmla="*/ 52 w 86"/>
              <a:gd name="T61" fmla="*/ 67 h 151"/>
              <a:gd name="T62" fmla="*/ 69 w 86"/>
              <a:gd name="T63" fmla="*/ 55 h 151"/>
              <a:gd name="T64" fmla="*/ 71 w 86"/>
              <a:gd name="T65" fmla="*/ 43 h 151"/>
              <a:gd name="T66" fmla="*/ 82 w 86"/>
              <a:gd name="T67" fmla="*/ 39 h 151"/>
              <a:gd name="T68" fmla="*/ 85 w 86"/>
              <a:gd name="T69" fmla="*/ 36 h 151"/>
              <a:gd name="T70" fmla="*/ 46 w 86"/>
              <a:gd name="T71" fmla="*/ 13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151">
                <a:moveTo>
                  <a:pt x="85" y="36"/>
                </a:moveTo>
                <a:cubicBezTo>
                  <a:pt x="84" y="35"/>
                  <a:pt x="82" y="32"/>
                  <a:pt x="84" y="32"/>
                </a:cubicBezTo>
                <a:cubicBezTo>
                  <a:pt x="85" y="32"/>
                  <a:pt x="86" y="27"/>
                  <a:pt x="84" y="26"/>
                </a:cubicBezTo>
                <a:cubicBezTo>
                  <a:pt x="82" y="25"/>
                  <a:pt x="84" y="21"/>
                  <a:pt x="82" y="20"/>
                </a:cubicBezTo>
                <a:cubicBezTo>
                  <a:pt x="81" y="19"/>
                  <a:pt x="82" y="16"/>
                  <a:pt x="82" y="14"/>
                </a:cubicBezTo>
                <a:cubicBezTo>
                  <a:pt x="82" y="11"/>
                  <a:pt x="76" y="9"/>
                  <a:pt x="72" y="8"/>
                </a:cubicBezTo>
                <a:cubicBezTo>
                  <a:pt x="69" y="6"/>
                  <a:pt x="67" y="3"/>
                  <a:pt x="64" y="2"/>
                </a:cubicBezTo>
                <a:cubicBezTo>
                  <a:pt x="61" y="0"/>
                  <a:pt x="60" y="4"/>
                  <a:pt x="60" y="7"/>
                </a:cubicBezTo>
                <a:cubicBezTo>
                  <a:pt x="60" y="10"/>
                  <a:pt x="58" y="10"/>
                  <a:pt x="56" y="8"/>
                </a:cubicBezTo>
                <a:cubicBezTo>
                  <a:pt x="54" y="7"/>
                  <a:pt x="51" y="8"/>
                  <a:pt x="48" y="7"/>
                </a:cubicBezTo>
                <a:cubicBezTo>
                  <a:pt x="46" y="6"/>
                  <a:pt x="47" y="10"/>
                  <a:pt x="47" y="12"/>
                </a:cubicBezTo>
                <a:cubicBezTo>
                  <a:pt x="47" y="14"/>
                  <a:pt x="44" y="14"/>
                  <a:pt x="42" y="14"/>
                </a:cubicBezTo>
                <a:cubicBezTo>
                  <a:pt x="40" y="14"/>
                  <a:pt x="36" y="15"/>
                  <a:pt x="36" y="18"/>
                </a:cubicBezTo>
                <a:cubicBezTo>
                  <a:pt x="36" y="20"/>
                  <a:pt x="33" y="21"/>
                  <a:pt x="34" y="23"/>
                </a:cubicBezTo>
                <a:cubicBezTo>
                  <a:pt x="35" y="24"/>
                  <a:pt x="34" y="25"/>
                  <a:pt x="33" y="26"/>
                </a:cubicBezTo>
                <a:cubicBezTo>
                  <a:pt x="31" y="27"/>
                  <a:pt x="30" y="31"/>
                  <a:pt x="29" y="31"/>
                </a:cubicBezTo>
                <a:cubicBezTo>
                  <a:pt x="28" y="32"/>
                  <a:pt x="30" y="34"/>
                  <a:pt x="28" y="35"/>
                </a:cubicBezTo>
                <a:cubicBezTo>
                  <a:pt x="26" y="37"/>
                  <a:pt x="24" y="36"/>
                  <a:pt x="23" y="37"/>
                </a:cubicBezTo>
                <a:cubicBezTo>
                  <a:pt x="22" y="38"/>
                  <a:pt x="23" y="40"/>
                  <a:pt x="22" y="43"/>
                </a:cubicBezTo>
                <a:cubicBezTo>
                  <a:pt x="22" y="46"/>
                  <a:pt x="20" y="49"/>
                  <a:pt x="18" y="52"/>
                </a:cubicBezTo>
                <a:cubicBezTo>
                  <a:pt x="16" y="54"/>
                  <a:pt x="18" y="55"/>
                  <a:pt x="19" y="55"/>
                </a:cubicBezTo>
                <a:cubicBezTo>
                  <a:pt x="20" y="56"/>
                  <a:pt x="20" y="57"/>
                  <a:pt x="19" y="59"/>
                </a:cubicBezTo>
                <a:cubicBezTo>
                  <a:pt x="18" y="61"/>
                  <a:pt x="16" y="60"/>
                  <a:pt x="15" y="60"/>
                </a:cubicBezTo>
                <a:cubicBezTo>
                  <a:pt x="13" y="59"/>
                  <a:pt x="10" y="61"/>
                  <a:pt x="8" y="64"/>
                </a:cubicBezTo>
                <a:cubicBezTo>
                  <a:pt x="6" y="67"/>
                  <a:pt x="7" y="69"/>
                  <a:pt x="7" y="71"/>
                </a:cubicBezTo>
                <a:cubicBezTo>
                  <a:pt x="8" y="73"/>
                  <a:pt x="6" y="75"/>
                  <a:pt x="7" y="78"/>
                </a:cubicBezTo>
                <a:cubicBezTo>
                  <a:pt x="9" y="81"/>
                  <a:pt x="7" y="82"/>
                  <a:pt x="7" y="84"/>
                </a:cubicBezTo>
                <a:cubicBezTo>
                  <a:pt x="7" y="87"/>
                  <a:pt x="11" y="87"/>
                  <a:pt x="12" y="89"/>
                </a:cubicBezTo>
                <a:cubicBezTo>
                  <a:pt x="12" y="92"/>
                  <a:pt x="10" y="93"/>
                  <a:pt x="9" y="93"/>
                </a:cubicBezTo>
                <a:cubicBezTo>
                  <a:pt x="8" y="93"/>
                  <a:pt x="8" y="96"/>
                  <a:pt x="9" y="96"/>
                </a:cubicBezTo>
                <a:cubicBezTo>
                  <a:pt x="11" y="97"/>
                  <a:pt x="10" y="101"/>
                  <a:pt x="10" y="103"/>
                </a:cubicBezTo>
                <a:cubicBezTo>
                  <a:pt x="9" y="104"/>
                  <a:pt x="5" y="103"/>
                  <a:pt x="5" y="104"/>
                </a:cubicBezTo>
                <a:cubicBezTo>
                  <a:pt x="5" y="106"/>
                  <a:pt x="4" y="109"/>
                  <a:pt x="4" y="110"/>
                </a:cubicBezTo>
                <a:cubicBezTo>
                  <a:pt x="4" y="111"/>
                  <a:pt x="4" y="116"/>
                  <a:pt x="2" y="115"/>
                </a:cubicBezTo>
                <a:cubicBezTo>
                  <a:pt x="2" y="114"/>
                  <a:pt x="1" y="114"/>
                  <a:pt x="0" y="114"/>
                </a:cubicBezTo>
                <a:cubicBezTo>
                  <a:pt x="0" y="114"/>
                  <a:pt x="0" y="115"/>
                  <a:pt x="0" y="115"/>
                </a:cubicBezTo>
                <a:cubicBezTo>
                  <a:pt x="0" y="117"/>
                  <a:pt x="1" y="120"/>
                  <a:pt x="3" y="122"/>
                </a:cubicBezTo>
                <a:cubicBezTo>
                  <a:pt x="5" y="124"/>
                  <a:pt x="4" y="126"/>
                  <a:pt x="6" y="129"/>
                </a:cubicBezTo>
                <a:cubicBezTo>
                  <a:pt x="8" y="132"/>
                  <a:pt x="7" y="133"/>
                  <a:pt x="9" y="135"/>
                </a:cubicBezTo>
                <a:cubicBezTo>
                  <a:pt x="11" y="137"/>
                  <a:pt x="12" y="138"/>
                  <a:pt x="11" y="140"/>
                </a:cubicBezTo>
                <a:cubicBezTo>
                  <a:pt x="10" y="143"/>
                  <a:pt x="12" y="142"/>
                  <a:pt x="13" y="144"/>
                </a:cubicBezTo>
                <a:cubicBezTo>
                  <a:pt x="13" y="145"/>
                  <a:pt x="12" y="148"/>
                  <a:pt x="13" y="149"/>
                </a:cubicBezTo>
                <a:cubicBezTo>
                  <a:pt x="13" y="151"/>
                  <a:pt x="15" y="149"/>
                  <a:pt x="18" y="149"/>
                </a:cubicBezTo>
                <a:cubicBezTo>
                  <a:pt x="21" y="149"/>
                  <a:pt x="20" y="147"/>
                  <a:pt x="21" y="145"/>
                </a:cubicBezTo>
                <a:cubicBezTo>
                  <a:pt x="21" y="143"/>
                  <a:pt x="22" y="144"/>
                  <a:pt x="23" y="143"/>
                </a:cubicBezTo>
                <a:cubicBezTo>
                  <a:pt x="23" y="142"/>
                  <a:pt x="26" y="141"/>
                  <a:pt x="28" y="142"/>
                </a:cubicBezTo>
                <a:cubicBezTo>
                  <a:pt x="31" y="143"/>
                  <a:pt x="32" y="142"/>
                  <a:pt x="32" y="139"/>
                </a:cubicBezTo>
                <a:cubicBezTo>
                  <a:pt x="33" y="137"/>
                  <a:pt x="34" y="140"/>
                  <a:pt x="35" y="140"/>
                </a:cubicBezTo>
                <a:cubicBezTo>
                  <a:pt x="36" y="141"/>
                  <a:pt x="38" y="136"/>
                  <a:pt x="39" y="134"/>
                </a:cubicBezTo>
                <a:cubicBezTo>
                  <a:pt x="40" y="131"/>
                  <a:pt x="39" y="132"/>
                  <a:pt x="36" y="134"/>
                </a:cubicBezTo>
                <a:cubicBezTo>
                  <a:pt x="34" y="137"/>
                  <a:pt x="35" y="132"/>
                  <a:pt x="36" y="129"/>
                </a:cubicBezTo>
                <a:cubicBezTo>
                  <a:pt x="37" y="127"/>
                  <a:pt x="37" y="121"/>
                  <a:pt x="37" y="120"/>
                </a:cubicBezTo>
                <a:cubicBezTo>
                  <a:pt x="38" y="118"/>
                  <a:pt x="38" y="116"/>
                  <a:pt x="41" y="115"/>
                </a:cubicBezTo>
                <a:cubicBezTo>
                  <a:pt x="44" y="115"/>
                  <a:pt x="48" y="111"/>
                  <a:pt x="47" y="110"/>
                </a:cubicBezTo>
                <a:cubicBezTo>
                  <a:pt x="47" y="108"/>
                  <a:pt x="51" y="106"/>
                  <a:pt x="51" y="104"/>
                </a:cubicBezTo>
                <a:cubicBezTo>
                  <a:pt x="51" y="102"/>
                  <a:pt x="47" y="98"/>
                  <a:pt x="45" y="97"/>
                </a:cubicBezTo>
                <a:cubicBezTo>
                  <a:pt x="43" y="96"/>
                  <a:pt x="40" y="97"/>
                  <a:pt x="40" y="95"/>
                </a:cubicBezTo>
                <a:cubicBezTo>
                  <a:pt x="40" y="94"/>
                  <a:pt x="40" y="90"/>
                  <a:pt x="39" y="88"/>
                </a:cubicBezTo>
                <a:cubicBezTo>
                  <a:pt x="39" y="86"/>
                  <a:pt x="42" y="83"/>
                  <a:pt x="42" y="81"/>
                </a:cubicBezTo>
                <a:cubicBezTo>
                  <a:pt x="42" y="79"/>
                  <a:pt x="42" y="76"/>
                  <a:pt x="44" y="76"/>
                </a:cubicBezTo>
                <a:cubicBezTo>
                  <a:pt x="46" y="75"/>
                  <a:pt x="44" y="73"/>
                  <a:pt x="47" y="73"/>
                </a:cubicBezTo>
                <a:cubicBezTo>
                  <a:pt x="49" y="72"/>
                  <a:pt x="49" y="68"/>
                  <a:pt x="52" y="67"/>
                </a:cubicBezTo>
                <a:cubicBezTo>
                  <a:pt x="54" y="66"/>
                  <a:pt x="55" y="65"/>
                  <a:pt x="58" y="63"/>
                </a:cubicBezTo>
                <a:cubicBezTo>
                  <a:pt x="62" y="62"/>
                  <a:pt x="68" y="58"/>
                  <a:pt x="69" y="55"/>
                </a:cubicBezTo>
                <a:cubicBezTo>
                  <a:pt x="70" y="53"/>
                  <a:pt x="65" y="51"/>
                  <a:pt x="68" y="49"/>
                </a:cubicBezTo>
                <a:cubicBezTo>
                  <a:pt x="71" y="47"/>
                  <a:pt x="69" y="44"/>
                  <a:pt x="71" y="43"/>
                </a:cubicBezTo>
                <a:cubicBezTo>
                  <a:pt x="73" y="42"/>
                  <a:pt x="74" y="41"/>
                  <a:pt x="75" y="40"/>
                </a:cubicBezTo>
                <a:cubicBezTo>
                  <a:pt x="77" y="38"/>
                  <a:pt x="79" y="40"/>
                  <a:pt x="82" y="39"/>
                </a:cubicBezTo>
                <a:cubicBezTo>
                  <a:pt x="84" y="39"/>
                  <a:pt x="85" y="39"/>
                  <a:pt x="86" y="39"/>
                </a:cubicBezTo>
                <a:cubicBezTo>
                  <a:pt x="86" y="38"/>
                  <a:pt x="86" y="36"/>
                  <a:pt x="85" y="36"/>
                </a:cubicBezTo>
                <a:close/>
                <a:moveTo>
                  <a:pt x="51" y="125"/>
                </a:moveTo>
                <a:cubicBezTo>
                  <a:pt x="47" y="125"/>
                  <a:pt x="45" y="133"/>
                  <a:pt x="46" y="134"/>
                </a:cubicBezTo>
                <a:cubicBezTo>
                  <a:pt x="47" y="135"/>
                  <a:pt x="55" y="125"/>
                  <a:pt x="51" y="12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5" name="Freeform 141"/>
          <p:cNvSpPr>
            <a:spLocks noEditPoints="1"/>
          </p:cNvSpPr>
          <p:nvPr/>
        </p:nvSpPr>
        <p:spPr bwMode="auto">
          <a:xfrm>
            <a:off x="4642917" y="1797498"/>
            <a:ext cx="122238" cy="61913"/>
          </a:xfrm>
          <a:custGeom>
            <a:avLst/>
            <a:gdLst>
              <a:gd name="T0" fmla="*/ 40 w 43"/>
              <a:gd name="T1" fmla="*/ 6 h 22"/>
              <a:gd name="T2" fmla="*/ 41 w 43"/>
              <a:gd name="T3" fmla="*/ 2 h 22"/>
              <a:gd name="T4" fmla="*/ 40 w 43"/>
              <a:gd name="T5" fmla="*/ 2 h 22"/>
              <a:gd name="T6" fmla="*/ 27 w 43"/>
              <a:gd name="T7" fmla="*/ 1 h 22"/>
              <a:gd name="T8" fmla="*/ 14 w 43"/>
              <a:gd name="T9" fmla="*/ 4 h 22"/>
              <a:gd name="T10" fmla="*/ 10 w 43"/>
              <a:gd name="T11" fmla="*/ 8 h 22"/>
              <a:gd name="T12" fmla="*/ 11 w 43"/>
              <a:gd name="T13" fmla="*/ 12 h 22"/>
              <a:gd name="T14" fmla="*/ 15 w 43"/>
              <a:gd name="T15" fmla="*/ 14 h 22"/>
              <a:gd name="T16" fmla="*/ 17 w 43"/>
              <a:gd name="T17" fmla="*/ 17 h 22"/>
              <a:gd name="T18" fmla="*/ 17 w 43"/>
              <a:gd name="T19" fmla="*/ 17 h 22"/>
              <a:gd name="T20" fmla="*/ 24 w 43"/>
              <a:gd name="T21" fmla="*/ 17 h 22"/>
              <a:gd name="T22" fmla="*/ 31 w 43"/>
              <a:gd name="T23" fmla="*/ 21 h 22"/>
              <a:gd name="T24" fmla="*/ 38 w 43"/>
              <a:gd name="T25" fmla="*/ 22 h 22"/>
              <a:gd name="T26" fmla="*/ 38 w 43"/>
              <a:gd name="T27" fmla="*/ 20 h 22"/>
              <a:gd name="T28" fmla="*/ 40 w 43"/>
              <a:gd name="T29" fmla="*/ 17 h 22"/>
              <a:gd name="T30" fmla="*/ 38 w 43"/>
              <a:gd name="T31" fmla="*/ 14 h 22"/>
              <a:gd name="T32" fmla="*/ 38 w 43"/>
              <a:gd name="T33" fmla="*/ 10 h 22"/>
              <a:gd name="T34" fmla="*/ 40 w 43"/>
              <a:gd name="T35" fmla="*/ 6 h 22"/>
              <a:gd name="T36" fmla="*/ 4 w 43"/>
              <a:gd name="T37" fmla="*/ 11 h 22"/>
              <a:gd name="T38" fmla="*/ 1 w 43"/>
              <a:gd name="T39" fmla="*/ 17 h 22"/>
              <a:gd name="T40" fmla="*/ 8 w 43"/>
              <a:gd name="T41" fmla="*/ 13 h 22"/>
              <a:gd name="T42" fmla="*/ 4 w 43"/>
              <a:gd name="T43" fmla="*/ 11 h 22"/>
              <a:gd name="T44" fmla="*/ 7 w 43"/>
              <a:gd name="T45" fmla="*/ 8 h 22"/>
              <a:gd name="T46" fmla="*/ 3 w 43"/>
              <a:gd name="T47" fmla="*/ 9 h 22"/>
              <a:gd name="T48" fmla="*/ 7 w 43"/>
              <a:gd name="T49"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22">
                <a:moveTo>
                  <a:pt x="40" y="6"/>
                </a:moveTo>
                <a:cubicBezTo>
                  <a:pt x="41" y="4"/>
                  <a:pt x="43" y="4"/>
                  <a:pt x="41" y="2"/>
                </a:cubicBezTo>
                <a:cubicBezTo>
                  <a:pt x="41" y="2"/>
                  <a:pt x="41" y="2"/>
                  <a:pt x="40" y="2"/>
                </a:cubicBezTo>
                <a:cubicBezTo>
                  <a:pt x="37" y="3"/>
                  <a:pt x="31" y="0"/>
                  <a:pt x="27" y="1"/>
                </a:cubicBezTo>
                <a:cubicBezTo>
                  <a:pt x="23" y="2"/>
                  <a:pt x="16" y="2"/>
                  <a:pt x="14" y="4"/>
                </a:cubicBezTo>
                <a:cubicBezTo>
                  <a:pt x="12" y="6"/>
                  <a:pt x="8" y="6"/>
                  <a:pt x="10" y="8"/>
                </a:cubicBezTo>
                <a:cubicBezTo>
                  <a:pt x="12" y="9"/>
                  <a:pt x="10" y="10"/>
                  <a:pt x="11" y="12"/>
                </a:cubicBezTo>
                <a:cubicBezTo>
                  <a:pt x="13" y="14"/>
                  <a:pt x="13" y="15"/>
                  <a:pt x="15" y="14"/>
                </a:cubicBezTo>
                <a:cubicBezTo>
                  <a:pt x="17" y="14"/>
                  <a:pt x="19" y="15"/>
                  <a:pt x="17" y="17"/>
                </a:cubicBezTo>
                <a:cubicBezTo>
                  <a:pt x="17" y="17"/>
                  <a:pt x="17" y="17"/>
                  <a:pt x="17" y="17"/>
                </a:cubicBezTo>
                <a:cubicBezTo>
                  <a:pt x="20" y="17"/>
                  <a:pt x="24" y="17"/>
                  <a:pt x="24" y="17"/>
                </a:cubicBezTo>
                <a:cubicBezTo>
                  <a:pt x="25" y="18"/>
                  <a:pt x="30" y="22"/>
                  <a:pt x="31" y="21"/>
                </a:cubicBezTo>
                <a:cubicBezTo>
                  <a:pt x="32" y="21"/>
                  <a:pt x="35" y="21"/>
                  <a:pt x="38" y="22"/>
                </a:cubicBezTo>
                <a:cubicBezTo>
                  <a:pt x="37" y="21"/>
                  <a:pt x="37" y="20"/>
                  <a:pt x="38" y="20"/>
                </a:cubicBezTo>
                <a:cubicBezTo>
                  <a:pt x="39" y="19"/>
                  <a:pt x="41" y="19"/>
                  <a:pt x="40" y="17"/>
                </a:cubicBezTo>
                <a:cubicBezTo>
                  <a:pt x="39" y="16"/>
                  <a:pt x="38" y="16"/>
                  <a:pt x="38" y="14"/>
                </a:cubicBezTo>
                <a:cubicBezTo>
                  <a:pt x="38" y="12"/>
                  <a:pt x="38" y="11"/>
                  <a:pt x="38" y="10"/>
                </a:cubicBezTo>
                <a:cubicBezTo>
                  <a:pt x="38" y="9"/>
                  <a:pt x="39" y="8"/>
                  <a:pt x="40" y="6"/>
                </a:cubicBezTo>
                <a:close/>
                <a:moveTo>
                  <a:pt x="4" y="11"/>
                </a:moveTo>
                <a:cubicBezTo>
                  <a:pt x="0" y="12"/>
                  <a:pt x="0" y="17"/>
                  <a:pt x="1" y="17"/>
                </a:cubicBezTo>
                <a:cubicBezTo>
                  <a:pt x="3" y="17"/>
                  <a:pt x="7" y="14"/>
                  <a:pt x="8" y="13"/>
                </a:cubicBezTo>
                <a:cubicBezTo>
                  <a:pt x="10" y="11"/>
                  <a:pt x="8" y="10"/>
                  <a:pt x="4" y="11"/>
                </a:cubicBezTo>
                <a:close/>
                <a:moveTo>
                  <a:pt x="7" y="8"/>
                </a:moveTo>
                <a:cubicBezTo>
                  <a:pt x="8" y="7"/>
                  <a:pt x="1" y="7"/>
                  <a:pt x="3" y="9"/>
                </a:cubicBezTo>
                <a:cubicBezTo>
                  <a:pt x="4" y="10"/>
                  <a:pt x="6" y="10"/>
                  <a:pt x="7" y="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6" name="Freeform 142"/>
          <p:cNvSpPr/>
          <p:nvPr/>
        </p:nvSpPr>
        <p:spPr bwMode="auto">
          <a:xfrm>
            <a:off x="4869930" y="3046860"/>
            <a:ext cx="157163" cy="193675"/>
          </a:xfrm>
          <a:custGeom>
            <a:avLst/>
            <a:gdLst>
              <a:gd name="T0" fmla="*/ 48 w 55"/>
              <a:gd name="T1" fmla="*/ 16 h 68"/>
              <a:gd name="T2" fmla="*/ 52 w 55"/>
              <a:gd name="T3" fmla="*/ 11 h 68"/>
              <a:gd name="T4" fmla="*/ 55 w 55"/>
              <a:gd name="T5" fmla="*/ 6 h 68"/>
              <a:gd name="T6" fmla="*/ 52 w 55"/>
              <a:gd name="T7" fmla="*/ 7 h 68"/>
              <a:gd name="T8" fmla="*/ 48 w 55"/>
              <a:gd name="T9" fmla="*/ 6 h 68"/>
              <a:gd name="T10" fmla="*/ 42 w 55"/>
              <a:gd name="T11" fmla="*/ 7 h 68"/>
              <a:gd name="T12" fmla="*/ 38 w 55"/>
              <a:gd name="T13" fmla="*/ 10 h 68"/>
              <a:gd name="T14" fmla="*/ 30 w 55"/>
              <a:gd name="T15" fmla="*/ 9 h 68"/>
              <a:gd name="T16" fmla="*/ 22 w 55"/>
              <a:gd name="T17" fmla="*/ 4 h 68"/>
              <a:gd name="T18" fmla="*/ 15 w 55"/>
              <a:gd name="T19" fmla="*/ 3 h 68"/>
              <a:gd name="T20" fmla="*/ 11 w 55"/>
              <a:gd name="T21" fmla="*/ 1 h 68"/>
              <a:gd name="T22" fmla="*/ 7 w 55"/>
              <a:gd name="T23" fmla="*/ 1 h 68"/>
              <a:gd name="T24" fmla="*/ 1 w 55"/>
              <a:gd name="T25" fmla="*/ 4 h 68"/>
              <a:gd name="T26" fmla="*/ 0 w 55"/>
              <a:gd name="T27" fmla="*/ 5 h 68"/>
              <a:gd name="T28" fmla="*/ 3 w 55"/>
              <a:gd name="T29" fmla="*/ 8 h 68"/>
              <a:gd name="T30" fmla="*/ 4 w 55"/>
              <a:gd name="T31" fmla="*/ 13 h 68"/>
              <a:gd name="T32" fmla="*/ 7 w 55"/>
              <a:gd name="T33" fmla="*/ 16 h 68"/>
              <a:gd name="T34" fmla="*/ 7 w 55"/>
              <a:gd name="T35" fmla="*/ 21 h 68"/>
              <a:gd name="T36" fmla="*/ 2 w 55"/>
              <a:gd name="T37" fmla="*/ 29 h 68"/>
              <a:gd name="T38" fmla="*/ 0 w 55"/>
              <a:gd name="T39" fmla="*/ 34 h 68"/>
              <a:gd name="T40" fmla="*/ 4 w 55"/>
              <a:gd name="T41" fmla="*/ 36 h 68"/>
              <a:gd name="T42" fmla="*/ 0 w 55"/>
              <a:gd name="T43" fmla="*/ 41 h 68"/>
              <a:gd name="T44" fmla="*/ 0 w 55"/>
              <a:gd name="T45" fmla="*/ 41 h 68"/>
              <a:gd name="T46" fmla="*/ 26 w 55"/>
              <a:gd name="T47" fmla="*/ 55 h 68"/>
              <a:gd name="T48" fmla="*/ 25 w 55"/>
              <a:gd name="T49" fmla="*/ 59 h 68"/>
              <a:gd name="T50" fmla="*/ 37 w 55"/>
              <a:gd name="T51" fmla="*/ 68 h 68"/>
              <a:gd name="T52" fmla="*/ 44 w 55"/>
              <a:gd name="T53" fmla="*/ 53 h 68"/>
              <a:gd name="T54" fmla="*/ 48 w 55"/>
              <a:gd name="T55" fmla="*/ 49 h 68"/>
              <a:gd name="T56" fmla="*/ 52 w 55"/>
              <a:gd name="T57" fmla="*/ 47 h 68"/>
              <a:gd name="T58" fmla="*/ 52 w 55"/>
              <a:gd name="T59" fmla="*/ 46 h 68"/>
              <a:gd name="T60" fmla="*/ 49 w 55"/>
              <a:gd name="T61" fmla="*/ 40 h 68"/>
              <a:gd name="T62" fmla="*/ 48 w 55"/>
              <a:gd name="T63" fmla="*/ 1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68">
                <a:moveTo>
                  <a:pt x="48" y="16"/>
                </a:moveTo>
                <a:cubicBezTo>
                  <a:pt x="52" y="11"/>
                  <a:pt x="52" y="11"/>
                  <a:pt x="52" y="11"/>
                </a:cubicBezTo>
                <a:cubicBezTo>
                  <a:pt x="55" y="6"/>
                  <a:pt x="55" y="6"/>
                  <a:pt x="55" y="6"/>
                </a:cubicBezTo>
                <a:cubicBezTo>
                  <a:pt x="53" y="6"/>
                  <a:pt x="52" y="7"/>
                  <a:pt x="52" y="7"/>
                </a:cubicBezTo>
                <a:cubicBezTo>
                  <a:pt x="50" y="7"/>
                  <a:pt x="49" y="7"/>
                  <a:pt x="48" y="6"/>
                </a:cubicBezTo>
                <a:cubicBezTo>
                  <a:pt x="48" y="4"/>
                  <a:pt x="45" y="5"/>
                  <a:pt x="42" y="7"/>
                </a:cubicBezTo>
                <a:cubicBezTo>
                  <a:pt x="40" y="8"/>
                  <a:pt x="39" y="11"/>
                  <a:pt x="38" y="10"/>
                </a:cubicBezTo>
                <a:cubicBezTo>
                  <a:pt x="37" y="10"/>
                  <a:pt x="31" y="9"/>
                  <a:pt x="30" y="9"/>
                </a:cubicBezTo>
                <a:cubicBezTo>
                  <a:pt x="28" y="9"/>
                  <a:pt x="23" y="6"/>
                  <a:pt x="22" y="4"/>
                </a:cubicBezTo>
                <a:cubicBezTo>
                  <a:pt x="20" y="3"/>
                  <a:pt x="16" y="4"/>
                  <a:pt x="15" y="3"/>
                </a:cubicBezTo>
                <a:cubicBezTo>
                  <a:pt x="14" y="2"/>
                  <a:pt x="11" y="2"/>
                  <a:pt x="11" y="1"/>
                </a:cubicBezTo>
                <a:cubicBezTo>
                  <a:pt x="10" y="0"/>
                  <a:pt x="8" y="0"/>
                  <a:pt x="7" y="1"/>
                </a:cubicBezTo>
                <a:cubicBezTo>
                  <a:pt x="5" y="1"/>
                  <a:pt x="1" y="3"/>
                  <a:pt x="1" y="4"/>
                </a:cubicBezTo>
                <a:cubicBezTo>
                  <a:pt x="1" y="5"/>
                  <a:pt x="1" y="5"/>
                  <a:pt x="0" y="5"/>
                </a:cubicBezTo>
                <a:cubicBezTo>
                  <a:pt x="3" y="8"/>
                  <a:pt x="3" y="8"/>
                  <a:pt x="3" y="8"/>
                </a:cubicBezTo>
                <a:cubicBezTo>
                  <a:pt x="4" y="13"/>
                  <a:pt x="4" y="13"/>
                  <a:pt x="4" y="13"/>
                </a:cubicBezTo>
                <a:cubicBezTo>
                  <a:pt x="7" y="16"/>
                  <a:pt x="7" y="16"/>
                  <a:pt x="7" y="16"/>
                </a:cubicBezTo>
                <a:cubicBezTo>
                  <a:pt x="7" y="16"/>
                  <a:pt x="7" y="19"/>
                  <a:pt x="7" y="21"/>
                </a:cubicBezTo>
                <a:cubicBezTo>
                  <a:pt x="6" y="24"/>
                  <a:pt x="4" y="28"/>
                  <a:pt x="2" y="29"/>
                </a:cubicBezTo>
                <a:cubicBezTo>
                  <a:pt x="1" y="30"/>
                  <a:pt x="1" y="32"/>
                  <a:pt x="0" y="34"/>
                </a:cubicBezTo>
                <a:cubicBezTo>
                  <a:pt x="3" y="34"/>
                  <a:pt x="5" y="35"/>
                  <a:pt x="4" y="36"/>
                </a:cubicBezTo>
                <a:cubicBezTo>
                  <a:pt x="4" y="38"/>
                  <a:pt x="0" y="37"/>
                  <a:pt x="0" y="41"/>
                </a:cubicBezTo>
                <a:cubicBezTo>
                  <a:pt x="0" y="41"/>
                  <a:pt x="0" y="41"/>
                  <a:pt x="0" y="41"/>
                </a:cubicBezTo>
                <a:cubicBezTo>
                  <a:pt x="26" y="55"/>
                  <a:pt x="26" y="55"/>
                  <a:pt x="26" y="55"/>
                </a:cubicBezTo>
                <a:cubicBezTo>
                  <a:pt x="25" y="59"/>
                  <a:pt x="25" y="59"/>
                  <a:pt x="25" y="59"/>
                </a:cubicBezTo>
                <a:cubicBezTo>
                  <a:pt x="25" y="59"/>
                  <a:pt x="31" y="64"/>
                  <a:pt x="37" y="68"/>
                </a:cubicBezTo>
                <a:cubicBezTo>
                  <a:pt x="39" y="61"/>
                  <a:pt x="43" y="54"/>
                  <a:pt x="44" y="53"/>
                </a:cubicBezTo>
                <a:cubicBezTo>
                  <a:pt x="45" y="50"/>
                  <a:pt x="47" y="51"/>
                  <a:pt x="48" y="49"/>
                </a:cubicBezTo>
                <a:cubicBezTo>
                  <a:pt x="49" y="47"/>
                  <a:pt x="50" y="50"/>
                  <a:pt x="52" y="47"/>
                </a:cubicBezTo>
                <a:cubicBezTo>
                  <a:pt x="52" y="46"/>
                  <a:pt x="52" y="46"/>
                  <a:pt x="52" y="46"/>
                </a:cubicBezTo>
                <a:cubicBezTo>
                  <a:pt x="49" y="40"/>
                  <a:pt x="49" y="40"/>
                  <a:pt x="49" y="40"/>
                </a:cubicBezTo>
                <a:lnTo>
                  <a:pt x="48" y="16"/>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7" name="Freeform 143"/>
          <p:cNvSpPr/>
          <p:nvPr/>
        </p:nvSpPr>
        <p:spPr bwMode="auto">
          <a:xfrm>
            <a:off x="4782617" y="3061148"/>
            <a:ext cx="107950" cy="111125"/>
          </a:xfrm>
          <a:custGeom>
            <a:avLst/>
            <a:gdLst>
              <a:gd name="T0" fmla="*/ 35 w 38"/>
              <a:gd name="T1" fmla="*/ 8 h 39"/>
              <a:gd name="T2" fmla="*/ 34 w 38"/>
              <a:gd name="T3" fmla="*/ 3 h 39"/>
              <a:gd name="T4" fmla="*/ 31 w 38"/>
              <a:gd name="T5" fmla="*/ 0 h 39"/>
              <a:gd name="T6" fmla="*/ 29 w 38"/>
              <a:gd name="T7" fmla="*/ 3 h 39"/>
              <a:gd name="T8" fmla="*/ 25 w 38"/>
              <a:gd name="T9" fmla="*/ 3 h 39"/>
              <a:gd name="T10" fmla="*/ 20 w 38"/>
              <a:gd name="T11" fmla="*/ 5 h 39"/>
              <a:gd name="T12" fmla="*/ 15 w 38"/>
              <a:gd name="T13" fmla="*/ 3 h 39"/>
              <a:gd name="T14" fmla="*/ 10 w 38"/>
              <a:gd name="T15" fmla="*/ 5 h 39"/>
              <a:gd name="T16" fmla="*/ 10 w 38"/>
              <a:gd name="T17" fmla="*/ 11 h 39"/>
              <a:gd name="T18" fmla="*/ 12 w 38"/>
              <a:gd name="T19" fmla="*/ 14 h 39"/>
              <a:gd name="T20" fmla="*/ 10 w 38"/>
              <a:gd name="T21" fmla="*/ 17 h 39"/>
              <a:gd name="T22" fmla="*/ 7 w 38"/>
              <a:gd name="T23" fmla="*/ 19 h 39"/>
              <a:gd name="T24" fmla="*/ 4 w 38"/>
              <a:gd name="T25" fmla="*/ 23 h 39"/>
              <a:gd name="T26" fmla="*/ 3 w 38"/>
              <a:gd name="T27" fmla="*/ 28 h 39"/>
              <a:gd name="T28" fmla="*/ 1 w 38"/>
              <a:gd name="T29" fmla="*/ 34 h 39"/>
              <a:gd name="T30" fmla="*/ 0 w 38"/>
              <a:gd name="T31" fmla="*/ 39 h 39"/>
              <a:gd name="T32" fmla="*/ 4 w 38"/>
              <a:gd name="T33" fmla="*/ 39 h 39"/>
              <a:gd name="T34" fmla="*/ 11 w 38"/>
              <a:gd name="T35" fmla="*/ 36 h 39"/>
              <a:gd name="T36" fmla="*/ 17 w 38"/>
              <a:gd name="T37" fmla="*/ 36 h 39"/>
              <a:gd name="T38" fmla="*/ 22 w 38"/>
              <a:gd name="T39" fmla="*/ 28 h 39"/>
              <a:gd name="T40" fmla="*/ 31 w 38"/>
              <a:gd name="T41" fmla="*/ 29 h 39"/>
              <a:gd name="T42" fmla="*/ 33 w 38"/>
              <a:gd name="T43" fmla="*/ 24 h 39"/>
              <a:gd name="T44" fmla="*/ 38 w 38"/>
              <a:gd name="T45" fmla="*/ 16 h 39"/>
              <a:gd name="T46" fmla="*/ 38 w 38"/>
              <a:gd name="T47" fmla="*/ 11 h 39"/>
              <a:gd name="T48" fmla="*/ 35 w 38"/>
              <a:gd name="T49"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39">
                <a:moveTo>
                  <a:pt x="35" y="8"/>
                </a:moveTo>
                <a:cubicBezTo>
                  <a:pt x="34" y="3"/>
                  <a:pt x="34" y="3"/>
                  <a:pt x="34" y="3"/>
                </a:cubicBezTo>
                <a:cubicBezTo>
                  <a:pt x="31" y="0"/>
                  <a:pt x="31" y="0"/>
                  <a:pt x="31" y="0"/>
                </a:cubicBezTo>
                <a:cubicBezTo>
                  <a:pt x="30" y="1"/>
                  <a:pt x="29" y="2"/>
                  <a:pt x="29" y="3"/>
                </a:cubicBezTo>
                <a:cubicBezTo>
                  <a:pt x="29" y="4"/>
                  <a:pt x="26" y="4"/>
                  <a:pt x="25" y="3"/>
                </a:cubicBezTo>
                <a:cubicBezTo>
                  <a:pt x="23" y="2"/>
                  <a:pt x="20" y="4"/>
                  <a:pt x="20" y="5"/>
                </a:cubicBezTo>
                <a:cubicBezTo>
                  <a:pt x="19" y="6"/>
                  <a:pt x="17" y="3"/>
                  <a:pt x="15" y="3"/>
                </a:cubicBezTo>
                <a:cubicBezTo>
                  <a:pt x="14" y="3"/>
                  <a:pt x="10" y="5"/>
                  <a:pt x="10" y="5"/>
                </a:cubicBezTo>
                <a:cubicBezTo>
                  <a:pt x="10" y="5"/>
                  <a:pt x="10" y="9"/>
                  <a:pt x="10" y="11"/>
                </a:cubicBezTo>
                <a:cubicBezTo>
                  <a:pt x="10" y="12"/>
                  <a:pt x="12" y="13"/>
                  <a:pt x="12" y="14"/>
                </a:cubicBezTo>
                <a:cubicBezTo>
                  <a:pt x="12" y="15"/>
                  <a:pt x="10" y="17"/>
                  <a:pt x="10" y="17"/>
                </a:cubicBezTo>
                <a:cubicBezTo>
                  <a:pt x="10" y="18"/>
                  <a:pt x="8" y="19"/>
                  <a:pt x="7" y="19"/>
                </a:cubicBezTo>
                <a:cubicBezTo>
                  <a:pt x="5" y="20"/>
                  <a:pt x="6" y="22"/>
                  <a:pt x="4" y="23"/>
                </a:cubicBezTo>
                <a:cubicBezTo>
                  <a:pt x="3" y="24"/>
                  <a:pt x="3" y="26"/>
                  <a:pt x="3" y="28"/>
                </a:cubicBezTo>
                <a:cubicBezTo>
                  <a:pt x="2" y="30"/>
                  <a:pt x="1" y="32"/>
                  <a:pt x="1" y="34"/>
                </a:cubicBezTo>
                <a:cubicBezTo>
                  <a:pt x="1" y="36"/>
                  <a:pt x="1" y="38"/>
                  <a:pt x="0" y="39"/>
                </a:cubicBezTo>
                <a:cubicBezTo>
                  <a:pt x="2" y="39"/>
                  <a:pt x="3" y="39"/>
                  <a:pt x="4" y="39"/>
                </a:cubicBezTo>
                <a:cubicBezTo>
                  <a:pt x="5" y="38"/>
                  <a:pt x="11" y="36"/>
                  <a:pt x="11" y="36"/>
                </a:cubicBezTo>
                <a:cubicBezTo>
                  <a:pt x="17" y="36"/>
                  <a:pt x="17" y="36"/>
                  <a:pt x="17" y="36"/>
                </a:cubicBezTo>
                <a:cubicBezTo>
                  <a:pt x="18" y="32"/>
                  <a:pt x="20" y="29"/>
                  <a:pt x="22" y="28"/>
                </a:cubicBezTo>
                <a:cubicBezTo>
                  <a:pt x="24" y="28"/>
                  <a:pt x="28" y="28"/>
                  <a:pt x="31" y="29"/>
                </a:cubicBezTo>
                <a:cubicBezTo>
                  <a:pt x="32" y="27"/>
                  <a:pt x="32" y="25"/>
                  <a:pt x="33" y="24"/>
                </a:cubicBezTo>
                <a:cubicBezTo>
                  <a:pt x="35" y="23"/>
                  <a:pt x="37" y="19"/>
                  <a:pt x="38" y="16"/>
                </a:cubicBezTo>
                <a:cubicBezTo>
                  <a:pt x="38" y="14"/>
                  <a:pt x="38" y="11"/>
                  <a:pt x="38" y="11"/>
                </a:cubicBezTo>
                <a:lnTo>
                  <a:pt x="35" y="8"/>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8" name="Freeform 144"/>
          <p:cNvSpPr/>
          <p:nvPr/>
        </p:nvSpPr>
        <p:spPr bwMode="auto">
          <a:xfrm>
            <a:off x="5312842" y="2178498"/>
            <a:ext cx="346075" cy="203200"/>
          </a:xfrm>
          <a:custGeom>
            <a:avLst/>
            <a:gdLst>
              <a:gd name="T0" fmla="*/ 118 w 122"/>
              <a:gd name="T1" fmla="*/ 40 h 71"/>
              <a:gd name="T2" fmla="*/ 109 w 122"/>
              <a:gd name="T3" fmla="*/ 36 h 71"/>
              <a:gd name="T4" fmla="*/ 103 w 122"/>
              <a:gd name="T5" fmla="*/ 36 h 71"/>
              <a:gd name="T6" fmla="*/ 97 w 122"/>
              <a:gd name="T7" fmla="*/ 34 h 71"/>
              <a:gd name="T8" fmla="*/ 90 w 122"/>
              <a:gd name="T9" fmla="*/ 39 h 71"/>
              <a:gd name="T10" fmla="*/ 87 w 122"/>
              <a:gd name="T11" fmla="*/ 40 h 71"/>
              <a:gd name="T12" fmla="*/ 81 w 122"/>
              <a:gd name="T13" fmla="*/ 37 h 71"/>
              <a:gd name="T14" fmla="*/ 75 w 122"/>
              <a:gd name="T15" fmla="*/ 35 h 71"/>
              <a:gd name="T16" fmla="*/ 71 w 122"/>
              <a:gd name="T17" fmla="*/ 28 h 71"/>
              <a:gd name="T18" fmla="*/ 69 w 122"/>
              <a:gd name="T19" fmla="*/ 22 h 71"/>
              <a:gd name="T20" fmla="*/ 64 w 122"/>
              <a:gd name="T21" fmla="*/ 18 h 71"/>
              <a:gd name="T22" fmla="*/ 50 w 122"/>
              <a:gd name="T23" fmla="*/ 17 h 71"/>
              <a:gd name="T24" fmla="*/ 41 w 122"/>
              <a:gd name="T25" fmla="*/ 18 h 71"/>
              <a:gd name="T26" fmla="*/ 33 w 122"/>
              <a:gd name="T27" fmla="*/ 9 h 71"/>
              <a:gd name="T28" fmla="*/ 31 w 122"/>
              <a:gd name="T29" fmla="*/ 12 h 71"/>
              <a:gd name="T30" fmla="*/ 23 w 122"/>
              <a:gd name="T31" fmla="*/ 10 h 71"/>
              <a:gd name="T32" fmla="*/ 22 w 122"/>
              <a:gd name="T33" fmla="*/ 1 h 71"/>
              <a:gd name="T34" fmla="*/ 19 w 122"/>
              <a:gd name="T35" fmla="*/ 11 h 71"/>
              <a:gd name="T36" fmla="*/ 18 w 122"/>
              <a:gd name="T37" fmla="*/ 0 h 71"/>
              <a:gd name="T38" fmla="*/ 1 w 122"/>
              <a:gd name="T39" fmla="*/ 5 h 71"/>
              <a:gd name="T40" fmla="*/ 0 w 122"/>
              <a:gd name="T41" fmla="*/ 35 h 71"/>
              <a:gd name="T42" fmla="*/ 0 w 122"/>
              <a:gd name="T43" fmla="*/ 35 h 71"/>
              <a:gd name="T44" fmla="*/ 5 w 122"/>
              <a:gd name="T45" fmla="*/ 36 h 71"/>
              <a:gd name="T46" fmla="*/ 7 w 122"/>
              <a:gd name="T47" fmla="*/ 33 h 71"/>
              <a:gd name="T48" fmla="*/ 12 w 122"/>
              <a:gd name="T49" fmla="*/ 29 h 71"/>
              <a:gd name="T50" fmla="*/ 14 w 122"/>
              <a:gd name="T51" fmla="*/ 27 h 71"/>
              <a:gd name="T52" fmla="*/ 17 w 122"/>
              <a:gd name="T53" fmla="*/ 25 h 71"/>
              <a:gd name="T54" fmla="*/ 22 w 122"/>
              <a:gd name="T55" fmla="*/ 26 h 71"/>
              <a:gd name="T56" fmla="*/ 27 w 122"/>
              <a:gd name="T57" fmla="*/ 28 h 71"/>
              <a:gd name="T58" fmla="*/ 30 w 122"/>
              <a:gd name="T59" fmla="*/ 36 h 71"/>
              <a:gd name="T60" fmla="*/ 40 w 122"/>
              <a:gd name="T61" fmla="*/ 37 h 71"/>
              <a:gd name="T62" fmla="*/ 43 w 122"/>
              <a:gd name="T63" fmla="*/ 41 h 71"/>
              <a:gd name="T64" fmla="*/ 46 w 122"/>
              <a:gd name="T65" fmla="*/ 47 h 71"/>
              <a:gd name="T66" fmla="*/ 53 w 122"/>
              <a:gd name="T67" fmla="*/ 52 h 71"/>
              <a:gd name="T68" fmla="*/ 61 w 122"/>
              <a:gd name="T69" fmla="*/ 57 h 71"/>
              <a:gd name="T70" fmla="*/ 68 w 122"/>
              <a:gd name="T71" fmla="*/ 61 h 71"/>
              <a:gd name="T72" fmla="*/ 74 w 122"/>
              <a:gd name="T73" fmla="*/ 64 h 71"/>
              <a:gd name="T74" fmla="*/ 74 w 122"/>
              <a:gd name="T75" fmla="*/ 68 h 71"/>
              <a:gd name="T76" fmla="*/ 75 w 122"/>
              <a:gd name="T77" fmla="*/ 68 h 71"/>
              <a:gd name="T78" fmla="*/ 81 w 122"/>
              <a:gd name="T79" fmla="*/ 70 h 71"/>
              <a:gd name="T80" fmla="*/ 84 w 122"/>
              <a:gd name="T81" fmla="*/ 71 h 71"/>
              <a:gd name="T82" fmla="*/ 86 w 122"/>
              <a:gd name="T83" fmla="*/ 64 h 71"/>
              <a:gd name="T84" fmla="*/ 86 w 122"/>
              <a:gd name="T85" fmla="*/ 58 h 71"/>
              <a:gd name="T86" fmla="*/ 81 w 122"/>
              <a:gd name="T87" fmla="*/ 53 h 71"/>
              <a:gd name="T88" fmla="*/ 88 w 122"/>
              <a:gd name="T89" fmla="*/ 50 h 71"/>
              <a:gd name="T90" fmla="*/ 90 w 122"/>
              <a:gd name="T91" fmla="*/ 46 h 71"/>
              <a:gd name="T92" fmla="*/ 93 w 122"/>
              <a:gd name="T93" fmla="*/ 43 h 71"/>
              <a:gd name="T94" fmla="*/ 99 w 122"/>
              <a:gd name="T95" fmla="*/ 41 h 71"/>
              <a:gd name="T96" fmla="*/ 103 w 122"/>
              <a:gd name="T97" fmla="*/ 40 h 71"/>
              <a:gd name="T98" fmla="*/ 101 w 122"/>
              <a:gd name="T99" fmla="*/ 46 h 71"/>
              <a:gd name="T100" fmla="*/ 109 w 122"/>
              <a:gd name="T101" fmla="*/ 45 h 71"/>
              <a:gd name="T102" fmla="*/ 115 w 122"/>
              <a:gd name="T103" fmla="*/ 43 h 71"/>
              <a:gd name="T104" fmla="*/ 118 w 122"/>
              <a:gd name="T105" fmla="*/ 4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71">
                <a:moveTo>
                  <a:pt x="118" y="40"/>
                </a:moveTo>
                <a:cubicBezTo>
                  <a:pt x="115" y="37"/>
                  <a:pt x="109" y="34"/>
                  <a:pt x="109" y="36"/>
                </a:cubicBezTo>
                <a:cubicBezTo>
                  <a:pt x="108" y="37"/>
                  <a:pt x="105" y="37"/>
                  <a:pt x="103" y="36"/>
                </a:cubicBezTo>
                <a:cubicBezTo>
                  <a:pt x="102" y="34"/>
                  <a:pt x="101" y="32"/>
                  <a:pt x="97" y="34"/>
                </a:cubicBezTo>
                <a:cubicBezTo>
                  <a:pt x="93" y="36"/>
                  <a:pt x="90" y="38"/>
                  <a:pt x="90" y="39"/>
                </a:cubicBezTo>
                <a:cubicBezTo>
                  <a:pt x="90" y="41"/>
                  <a:pt x="87" y="43"/>
                  <a:pt x="87" y="40"/>
                </a:cubicBezTo>
                <a:cubicBezTo>
                  <a:pt x="86" y="38"/>
                  <a:pt x="83" y="37"/>
                  <a:pt x="81" y="37"/>
                </a:cubicBezTo>
                <a:cubicBezTo>
                  <a:pt x="79" y="36"/>
                  <a:pt x="75" y="37"/>
                  <a:pt x="75" y="35"/>
                </a:cubicBezTo>
                <a:cubicBezTo>
                  <a:pt x="75" y="33"/>
                  <a:pt x="71" y="31"/>
                  <a:pt x="71" y="28"/>
                </a:cubicBezTo>
                <a:cubicBezTo>
                  <a:pt x="71" y="26"/>
                  <a:pt x="72" y="22"/>
                  <a:pt x="69" y="22"/>
                </a:cubicBezTo>
                <a:cubicBezTo>
                  <a:pt x="67" y="21"/>
                  <a:pt x="66" y="18"/>
                  <a:pt x="64" y="18"/>
                </a:cubicBezTo>
                <a:cubicBezTo>
                  <a:pt x="62" y="18"/>
                  <a:pt x="51" y="18"/>
                  <a:pt x="50" y="17"/>
                </a:cubicBezTo>
                <a:cubicBezTo>
                  <a:pt x="49" y="17"/>
                  <a:pt x="42" y="19"/>
                  <a:pt x="41" y="18"/>
                </a:cubicBezTo>
                <a:cubicBezTo>
                  <a:pt x="41" y="16"/>
                  <a:pt x="36" y="11"/>
                  <a:pt x="33" y="9"/>
                </a:cubicBezTo>
                <a:cubicBezTo>
                  <a:pt x="33" y="10"/>
                  <a:pt x="32" y="11"/>
                  <a:pt x="31" y="12"/>
                </a:cubicBezTo>
                <a:cubicBezTo>
                  <a:pt x="26" y="15"/>
                  <a:pt x="21" y="15"/>
                  <a:pt x="23" y="10"/>
                </a:cubicBezTo>
                <a:cubicBezTo>
                  <a:pt x="24" y="6"/>
                  <a:pt x="25" y="1"/>
                  <a:pt x="22" y="1"/>
                </a:cubicBezTo>
                <a:cubicBezTo>
                  <a:pt x="19" y="1"/>
                  <a:pt x="21" y="10"/>
                  <a:pt x="19" y="11"/>
                </a:cubicBezTo>
                <a:cubicBezTo>
                  <a:pt x="17" y="11"/>
                  <a:pt x="17" y="4"/>
                  <a:pt x="18" y="0"/>
                </a:cubicBezTo>
                <a:cubicBezTo>
                  <a:pt x="1" y="5"/>
                  <a:pt x="1" y="5"/>
                  <a:pt x="1" y="5"/>
                </a:cubicBezTo>
                <a:cubicBezTo>
                  <a:pt x="0" y="35"/>
                  <a:pt x="0" y="35"/>
                  <a:pt x="0" y="35"/>
                </a:cubicBezTo>
                <a:cubicBezTo>
                  <a:pt x="0" y="35"/>
                  <a:pt x="0" y="35"/>
                  <a:pt x="0" y="35"/>
                </a:cubicBezTo>
                <a:cubicBezTo>
                  <a:pt x="1" y="36"/>
                  <a:pt x="3" y="36"/>
                  <a:pt x="5" y="36"/>
                </a:cubicBezTo>
                <a:cubicBezTo>
                  <a:pt x="7" y="36"/>
                  <a:pt x="7" y="34"/>
                  <a:pt x="7" y="33"/>
                </a:cubicBezTo>
                <a:cubicBezTo>
                  <a:pt x="7" y="32"/>
                  <a:pt x="10" y="29"/>
                  <a:pt x="12" y="29"/>
                </a:cubicBezTo>
                <a:cubicBezTo>
                  <a:pt x="14" y="30"/>
                  <a:pt x="14" y="27"/>
                  <a:pt x="14" y="27"/>
                </a:cubicBezTo>
                <a:cubicBezTo>
                  <a:pt x="15" y="27"/>
                  <a:pt x="17" y="26"/>
                  <a:pt x="17" y="25"/>
                </a:cubicBezTo>
                <a:cubicBezTo>
                  <a:pt x="18" y="24"/>
                  <a:pt x="21" y="25"/>
                  <a:pt x="22" y="26"/>
                </a:cubicBezTo>
                <a:cubicBezTo>
                  <a:pt x="23" y="27"/>
                  <a:pt x="26" y="28"/>
                  <a:pt x="27" y="28"/>
                </a:cubicBezTo>
                <a:cubicBezTo>
                  <a:pt x="29" y="29"/>
                  <a:pt x="30" y="34"/>
                  <a:pt x="30" y="36"/>
                </a:cubicBezTo>
                <a:cubicBezTo>
                  <a:pt x="30" y="37"/>
                  <a:pt x="39" y="37"/>
                  <a:pt x="40" y="37"/>
                </a:cubicBezTo>
                <a:cubicBezTo>
                  <a:pt x="41" y="37"/>
                  <a:pt x="41" y="40"/>
                  <a:pt x="43" y="41"/>
                </a:cubicBezTo>
                <a:cubicBezTo>
                  <a:pt x="44" y="43"/>
                  <a:pt x="45" y="46"/>
                  <a:pt x="46" y="47"/>
                </a:cubicBezTo>
                <a:cubicBezTo>
                  <a:pt x="46" y="48"/>
                  <a:pt x="52" y="50"/>
                  <a:pt x="53" y="52"/>
                </a:cubicBezTo>
                <a:cubicBezTo>
                  <a:pt x="54" y="54"/>
                  <a:pt x="58" y="56"/>
                  <a:pt x="61" y="57"/>
                </a:cubicBezTo>
                <a:cubicBezTo>
                  <a:pt x="64" y="58"/>
                  <a:pt x="66" y="62"/>
                  <a:pt x="68" y="61"/>
                </a:cubicBezTo>
                <a:cubicBezTo>
                  <a:pt x="69" y="61"/>
                  <a:pt x="74" y="64"/>
                  <a:pt x="74" y="64"/>
                </a:cubicBezTo>
                <a:cubicBezTo>
                  <a:pt x="74" y="68"/>
                  <a:pt x="74" y="68"/>
                  <a:pt x="74" y="68"/>
                </a:cubicBezTo>
                <a:cubicBezTo>
                  <a:pt x="75" y="68"/>
                  <a:pt x="75" y="68"/>
                  <a:pt x="75" y="68"/>
                </a:cubicBezTo>
                <a:cubicBezTo>
                  <a:pt x="78" y="67"/>
                  <a:pt x="79" y="70"/>
                  <a:pt x="81" y="70"/>
                </a:cubicBezTo>
                <a:cubicBezTo>
                  <a:pt x="82" y="70"/>
                  <a:pt x="83" y="71"/>
                  <a:pt x="84" y="71"/>
                </a:cubicBezTo>
                <a:cubicBezTo>
                  <a:pt x="83" y="67"/>
                  <a:pt x="85" y="65"/>
                  <a:pt x="86" y="64"/>
                </a:cubicBezTo>
                <a:cubicBezTo>
                  <a:pt x="88" y="63"/>
                  <a:pt x="85" y="60"/>
                  <a:pt x="86" y="58"/>
                </a:cubicBezTo>
                <a:cubicBezTo>
                  <a:pt x="86" y="56"/>
                  <a:pt x="81" y="54"/>
                  <a:pt x="81" y="53"/>
                </a:cubicBezTo>
                <a:cubicBezTo>
                  <a:pt x="82" y="51"/>
                  <a:pt x="86" y="51"/>
                  <a:pt x="88" y="50"/>
                </a:cubicBezTo>
                <a:cubicBezTo>
                  <a:pt x="90" y="49"/>
                  <a:pt x="88" y="46"/>
                  <a:pt x="90" y="46"/>
                </a:cubicBezTo>
                <a:cubicBezTo>
                  <a:pt x="92" y="46"/>
                  <a:pt x="93" y="44"/>
                  <a:pt x="93" y="43"/>
                </a:cubicBezTo>
                <a:cubicBezTo>
                  <a:pt x="94" y="41"/>
                  <a:pt x="97" y="43"/>
                  <a:pt x="99" y="41"/>
                </a:cubicBezTo>
                <a:cubicBezTo>
                  <a:pt x="100" y="40"/>
                  <a:pt x="103" y="39"/>
                  <a:pt x="103" y="40"/>
                </a:cubicBezTo>
                <a:cubicBezTo>
                  <a:pt x="104" y="41"/>
                  <a:pt x="102" y="45"/>
                  <a:pt x="101" y="46"/>
                </a:cubicBezTo>
                <a:cubicBezTo>
                  <a:pt x="104" y="46"/>
                  <a:pt x="108" y="45"/>
                  <a:pt x="109" y="45"/>
                </a:cubicBezTo>
                <a:cubicBezTo>
                  <a:pt x="110" y="43"/>
                  <a:pt x="114" y="46"/>
                  <a:pt x="115" y="43"/>
                </a:cubicBezTo>
                <a:cubicBezTo>
                  <a:pt x="117" y="41"/>
                  <a:pt x="122" y="43"/>
                  <a:pt x="118" y="4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9" name="Freeform 145"/>
          <p:cNvSpPr>
            <a:spLocks noEditPoints="1"/>
          </p:cNvSpPr>
          <p:nvPr/>
        </p:nvSpPr>
        <p:spPr bwMode="auto">
          <a:xfrm>
            <a:off x="4315892" y="1043435"/>
            <a:ext cx="506413" cy="801688"/>
          </a:xfrm>
          <a:custGeom>
            <a:avLst/>
            <a:gdLst>
              <a:gd name="T0" fmla="*/ 169 w 178"/>
              <a:gd name="T1" fmla="*/ 148 h 282"/>
              <a:gd name="T2" fmla="*/ 169 w 178"/>
              <a:gd name="T3" fmla="*/ 139 h 282"/>
              <a:gd name="T4" fmla="*/ 160 w 178"/>
              <a:gd name="T5" fmla="*/ 138 h 282"/>
              <a:gd name="T6" fmla="*/ 148 w 178"/>
              <a:gd name="T7" fmla="*/ 138 h 282"/>
              <a:gd name="T8" fmla="*/ 143 w 178"/>
              <a:gd name="T9" fmla="*/ 137 h 282"/>
              <a:gd name="T10" fmla="*/ 132 w 178"/>
              <a:gd name="T11" fmla="*/ 139 h 282"/>
              <a:gd name="T12" fmla="*/ 124 w 178"/>
              <a:gd name="T13" fmla="*/ 149 h 282"/>
              <a:gd name="T14" fmla="*/ 124 w 178"/>
              <a:gd name="T15" fmla="*/ 138 h 282"/>
              <a:gd name="T16" fmla="*/ 112 w 178"/>
              <a:gd name="T17" fmla="*/ 146 h 282"/>
              <a:gd name="T18" fmla="*/ 106 w 178"/>
              <a:gd name="T19" fmla="*/ 148 h 282"/>
              <a:gd name="T20" fmla="*/ 101 w 178"/>
              <a:gd name="T21" fmla="*/ 147 h 282"/>
              <a:gd name="T22" fmla="*/ 92 w 178"/>
              <a:gd name="T23" fmla="*/ 154 h 282"/>
              <a:gd name="T24" fmla="*/ 85 w 178"/>
              <a:gd name="T25" fmla="*/ 159 h 282"/>
              <a:gd name="T26" fmla="*/ 79 w 178"/>
              <a:gd name="T27" fmla="*/ 162 h 282"/>
              <a:gd name="T28" fmla="*/ 68 w 178"/>
              <a:gd name="T29" fmla="*/ 165 h 282"/>
              <a:gd name="T30" fmla="*/ 64 w 178"/>
              <a:gd name="T31" fmla="*/ 171 h 282"/>
              <a:gd name="T32" fmla="*/ 79 w 178"/>
              <a:gd name="T33" fmla="*/ 171 h 282"/>
              <a:gd name="T34" fmla="*/ 68 w 178"/>
              <a:gd name="T35" fmla="*/ 179 h 282"/>
              <a:gd name="T36" fmla="*/ 53 w 178"/>
              <a:gd name="T37" fmla="*/ 195 h 282"/>
              <a:gd name="T38" fmla="*/ 43 w 178"/>
              <a:gd name="T39" fmla="*/ 208 h 282"/>
              <a:gd name="T40" fmla="*/ 34 w 178"/>
              <a:gd name="T41" fmla="*/ 220 h 282"/>
              <a:gd name="T42" fmla="*/ 23 w 178"/>
              <a:gd name="T43" fmla="*/ 229 h 282"/>
              <a:gd name="T44" fmla="*/ 10 w 178"/>
              <a:gd name="T45" fmla="*/ 237 h 282"/>
              <a:gd name="T46" fmla="*/ 4 w 178"/>
              <a:gd name="T47" fmla="*/ 247 h 282"/>
              <a:gd name="T48" fmla="*/ 2 w 178"/>
              <a:gd name="T49" fmla="*/ 260 h 282"/>
              <a:gd name="T50" fmla="*/ 8 w 178"/>
              <a:gd name="T51" fmla="*/ 264 h 282"/>
              <a:gd name="T52" fmla="*/ 6 w 178"/>
              <a:gd name="T53" fmla="*/ 269 h 282"/>
              <a:gd name="T54" fmla="*/ 12 w 178"/>
              <a:gd name="T55" fmla="*/ 280 h 282"/>
              <a:gd name="T56" fmla="*/ 40 w 178"/>
              <a:gd name="T57" fmla="*/ 266 h 282"/>
              <a:gd name="T58" fmla="*/ 48 w 178"/>
              <a:gd name="T59" fmla="*/ 269 h 282"/>
              <a:gd name="T60" fmla="*/ 53 w 178"/>
              <a:gd name="T61" fmla="*/ 252 h 282"/>
              <a:gd name="T62" fmla="*/ 51 w 178"/>
              <a:gd name="T63" fmla="*/ 230 h 282"/>
              <a:gd name="T64" fmla="*/ 63 w 178"/>
              <a:gd name="T65" fmla="*/ 214 h 282"/>
              <a:gd name="T66" fmla="*/ 72 w 178"/>
              <a:gd name="T67" fmla="*/ 194 h 282"/>
              <a:gd name="T68" fmla="*/ 80 w 178"/>
              <a:gd name="T69" fmla="*/ 177 h 282"/>
              <a:gd name="T70" fmla="*/ 100 w 178"/>
              <a:gd name="T71" fmla="*/ 167 h 282"/>
              <a:gd name="T72" fmla="*/ 113 w 178"/>
              <a:gd name="T73" fmla="*/ 158 h 282"/>
              <a:gd name="T74" fmla="*/ 138 w 178"/>
              <a:gd name="T75" fmla="*/ 165 h 282"/>
              <a:gd name="T76" fmla="*/ 153 w 178"/>
              <a:gd name="T77" fmla="*/ 149 h 282"/>
              <a:gd name="T78" fmla="*/ 169 w 178"/>
              <a:gd name="T79" fmla="*/ 156 h 282"/>
              <a:gd name="T80" fmla="*/ 50 w 178"/>
              <a:gd name="T81" fmla="*/ 21 h 282"/>
              <a:gd name="T82" fmla="*/ 66 w 178"/>
              <a:gd name="T83" fmla="*/ 30 h 282"/>
              <a:gd name="T84" fmla="*/ 79 w 178"/>
              <a:gd name="T85" fmla="*/ 33 h 282"/>
              <a:gd name="T86" fmla="*/ 80 w 178"/>
              <a:gd name="T87" fmla="*/ 42 h 282"/>
              <a:gd name="T88" fmla="*/ 68 w 178"/>
              <a:gd name="T89" fmla="*/ 53 h 282"/>
              <a:gd name="T90" fmla="*/ 82 w 178"/>
              <a:gd name="T91" fmla="*/ 59 h 282"/>
              <a:gd name="T92" fmla="*/ 98 w 178"/>
              <a:gd name="T93" fmla="*/ 32 h 282"/>
              <a:gd name="T94" fmla="*/ 111 w 178"/>
              <a:gd name="T95" fmla="*/ 39 h 282"/>
              <a:gd name="T96" fmla="*/ 129 w 178"/>
              <a:gd name="T97" fmla="*/ 46 h 282"/>
              <a:gd name="T98" fmla="*/ 123 w 178"/>
              <a:gd name="T99" fmla="*/ 37 h 282"/>
              <a:gd name="T100" fmla="*/ 108 w 178"/>
              <a:gd name="T101" fmla="*/ 24 h 282"/>
              <a:gd name="T102" fmla="*/ 92 w 178"/>
              <a:gd name="T103" fmla="*/ 16 h 282"/>
              <a:gd name="T104" fmla="*/ 77 w 178"/>
              <a:gd name="T105" fmla="*/ 8 h 282"/>
              <a:gd name="T106" fmla="*/ 72 w 178"/>
              <a:gd name="T107" fmla="*/ 16 h 282"/>
              <a:gd name="T108" fmla="*/ 57 w 178"/>
              <a:gd name="T109" fmla="*/ 15 h 282"/>
              <a:gd name="T110" fmla="*/ 48 w 178"/>
              <a:gd name="T111" fmla="*/ 12 h 282"/>
              <a:gd name="T112" fmla="*/ 44 w 178"/>
              <a:gd name="T113" fmla="*/ 33 h 282"/>
              <a:gd name="T114" fmla="*/ 44 w 178"/>
              <a:gd name="T115" fmla="*/ 33 h 282"/>
              <a:gd name="T116" fmla="*/ 102 w 178"/>
              <a:gd name="T117" fmla="*/ 17 h 282"/>
              <a:gd name="T118" fmla="*/ 143 w 178"/>
              <a:gd name="T119" fmla="*/ 16 h 282"/>
              <a:gd name="T120" fmla="*/ 125 w 178"/>
              <a:gd name="T121" fmla="*/ 6 h 282"/>
              <a:gd name="T122" fmla="*/ 109 w 178"/>
              <a:gd name="T123" fmla="*/ 5 h 282"/>
              <a:gd name="T124" fmla="*/ 97 w 178"/>
              <a:gd name="T125" fmla="*/ 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282">
                <a:moveTo>
                  <a:pt x="173" y="151"/>
                </a:moveTo>
                <a:cubicBezTo>
                  <a:pt x="173" y="153"/>
                  <a:pt x="170" y="152"/>
                  <a:pt x="170" y="151"/>
                </a:cubicBezTo>
                <a:cubicBezTo>
                  <a:pt x="170" y="149"/>
                  <a:pt x="166" y="148"/>
                  <a:pt x="165" y="147"/>
                </a:cubicBezTo>
                <a:cubicBezTo>
                  <a:pt x="165" y="147"/>
                  <a:pt x="167" y="147"/>
                  <a:pt x="169" y="148"/>
                </a:cubicBezTo>
                <a:cubicBezTo>
                  <a:pt x="171" y="149"/>
                  <a:pt x="172" y="148"/>
                  <a:pt x="173" y="146"/>
                </a:cubicBezTo>
                <a:cubicBezTo>
                  <a:pt x="175" y="145"/>
                  <a:pt x="178" y="146"/>
                  <a:pt x="178" y="145"/>
                </a:cubicBezTo>
                <a:cubicBezTo>
                  <a:pt x="178" y="143"/>
                  <a:pt x="175" y="142"/>
                  <a:pt x="175" y="141"/>
                </a:cubicBezTo>
                <a:cubicBezTo>
                  <a:pt x="174" y="140"/>
                  <a:pt x="172" y="139"/>
                  <a:pt x="169" y="139"/>
                </a:cubicBezTo>
                <a:cubicBezTo>
                  <a:pt x="167" y="140"/>
                  <a:pt x="167" y="139"/>
                  <a:pt x="166" y="138"/>
                </a:cubicBezTo>
                <a:cubicBezTo>
                  <a:pt x="164" y="136"/>
                  <a:pt x="160" y="138"/>
                  <a:pt x="160" y="141"/>
                </a:cubicBezTo>
                <a:cubicBezTo>
                  <a:pt x="160" y="144"/>
                  <a:pt x="158" y="143"/>
                  <a:pt x="159" y="142"/>
                </a:cubicBezTo>
                <a:cubicBezTo>
                  <a:pt x="160" y="140"/>
                  <a:pt x="157" y="139"/>
                  <a:pt x="160" y="138"/>
                </a:cubicBezTo>
                <a:cubicBezTo>
                  <a:pt x="162" y="138"/>
                  <a:pt x="160" y="134"/>
                  <a:pt x="157" y="134"/>
                </a:cubicBezTo>
                <a:cubicBezTo>
                  <a:pt x="153" y="134"/>
                  <a:pt x="151" y="137"/>
                  <a:pt x="152" y="138"/>
                </a:cubicBezTo>
                <a:cubicBezTo>
                  <a:pt x="153" y="139"/>
                  <a:pt x="150" y="143"/>
                  <a:pt x="148" y="143"/>
                </a:cubicBezTo>
                <a:cubicBezTo>
                  <a:pt x="147" y="143"/>
                  <a:pt x="149" y="140"/>
                  <a:pt x="148" y="138"/>
                </a:cubicBezTo>
                <a:cubicBezTo>
                  <a:pt x="148" y="136"/>
                  <a:pt x="147" y="137"/>
                  <a:pt x="144" y="140"/>
                </a:cubicBezTo>
                <a:cubicBezTo>
                  <a:pt x="141" y="143"/>
                  <a:pt x="139" y="146"/>
                  <a:pt x="137" y="146"/>
                </a:cubicBezTo>
                <a:cubicBezTo>
                  <a:pt x="136" y="147"/>
                  <a:pt x="136" y="144"/>
                  <a:pt x="139" y="142"/>
                </a:cubicBezTo>
                <a:cubicBezTo>
                  <a:pt x="141" y="141"/>
                  <a:pt x="141" y="137"/>
                  <a:pt x="143" y="137"/>
                </a:cubicBezTo>
                <a:cubicBezTo>
                  <a:pt x="145" y="137"/>
                  <a:pt x="145" y="135"/>
                  <a:pt x="142" y="134"/>
                </a:cubicBezTo>
                <a:cubicBezTo>
                  <a:pt x="140" y="134"/>
                  <a:pt x="139" y="136"/>
                  <a:pt x="139" y="137"/>
                </a:cubicBezTo>
                <a:cubicBezTo>
                  <a:pt x="138" y="138"/>
                  <a:pt x="134" y="136"/>
                  <a:pt x="134" y="137"/>
                </a:cubicBezTo>
                <a:cubicBezTo>
                  <a:pt x="134" y="137"/>
                  <a:pt x="131" y="138"/>
                  <a:pt x="132" y="139"/>
                </a:cubicBezTo>
                <a:cubicBezTo>
                  <a:pt x="133" y="141"/>
                  <a:pt x="132" y="142"/>
                  <a:pt x="131" y="140"/>
                </a:cubicBezTo>
                <a:cubicBezTo>
                  <a:pt x="130" y="138"/>
                  <a:pt x="127" y="140"/>
                  <a:pt x="126" y="142"/>
                </a:cubicBezTo>
                <a:cubicBezTo>
                  <a:pt x="125" y="144"/>
                  <a:pt x="123" y="144"/>
                  <a:pt x="125" y="145"/>
                </a:cubicBezTo>
                <a:cubicBezTo>
                  <a:pt x="126" y="145"/>
                  <a:pt x="126" y="148"/>
                  <a:pt x="124" y="149"/>
                </a:cubicBezTo>
                <a:cubicBezTo>
                  <a:pt x="122" y="149"/>
                  <a:pt x="123" y="144"/>
                  <a:pt x="121" y="144"/>
                </a:cubicBezTo>
                <a:cubicBezTo>
                  <a:pt x="120" y="145"/>
                  <a:pt x="121" y="141"/>
                  <a:pt x="123" y="141"/>
                </a:cubicBezTo>
                <a:cubicBezTo>
                  <a:pt x="125" y="141"/>
                  <a:pt x="127" y="139"/>
                  <a:pt x="126" y="138"/>
                </a:cubicBezTo>
                <a:cubicBezTo>
                  <a:pt x="126" y="137"/>
                  <a:pt x="124" y="137"/>
                  <a:pt x="124" y="138"/>
                </a:cubicBezTo>
                <a:cubicBezTo>
                  <a:pt x="124" y="140"/>
                  <a:pt x="121" y="140"/>
                  <a:pt x="118" y="140"/>
                </a:cubicBezTo>
                <a:cubicBezTo>
                  <a:pt x="116" y="139"/>
                  <a:pt x="116" y="143"/>
                  <a:pt x="119" y="144"/>
                </a:cubicBezTo>
                <a:cubicBezTo>
                  <a:pt x="122" y="146"/>
                  <a:pt x="118" y="147"/>
                  <a:pt x="117" y="146"/>
                </a:cubicBezTo>
                <a:cubicBezTo>
                  <a:pt x="115" y="144"/>
                  <a:pt x="113" y="145"/>
                  <a:pt x="112" y="146"/>
                </a:cubicBezTo>
                <a:cubicBezTo>
                  <a:pt x="110" y="146"/>
                  <a:pt x="115" y="148"/>
                  <a:pt x="115" y="149"/>
                </a:cubicBezTo>
                <a:cubicBezTo>
                  <a:pt x="116" y="150"/>
                  <a:pt x="113" y="148"/>
                  <a:pt x="112" y="149"/>
                </a:cubicBezTo>
                <a:cubicBezTo>
                  <a:pt x="112" y="149"/>
                  <a:pt x="109" y="148"/>
                  <a:pt x="109" y="146"/>
                </a:cubicBezTo>
                <a:cubicBezTo>
                  <a:pt x="108" y="145"/>
                  <a:pt x="104" y="147"/>
                  <a:pt x="106" y="148"/>
                </a:cubicBezTo>
                <a:cubicBezTo>
                  <a:pt x="109" y="148"/>
                  <a:pt x="108" y="150"/>
                  <a:pt x="108" y="152"/>
                </a:cubicBezTo>
                <a:cubicBezTo>
                  <a:pt x="108" y="155"/>
                  <a:pt x="105" y="153"/>
                  <a:pt x="106" y="151"/>
                </a:cubicBezTo>
                <a:cubicBezTo>
                  <a:pt x="106" y="149"/>
                  <a:pt x="104" y="149"/>
                  <a:pt x="102" y="151"/>
                </a:cubicBezTo>
                <a:cubicBezTo>
                  <a:pt x="100" y="152"/>
                  <a:pt x="102" y="148"/>
                  <a:pt x="101" y="147"/>
                </a:cubicBezTo>
                <a:cubicBezTo>
                  <a:pt x="100" y="145"/>
                  <a:pt x="99" y="147"/>
                  <a:pt x="96" y="147"/>
                </a:cubicBezTo>
                <a:cubicBezTo>
                  <a:pt x="94" y="147"/>
                  <a:pt x="93" y="147"/>
                  <a:pt x="94" y="149"/>
                </a:cubicBezTo>
                <a:cubicBezTo>
                  <a:pt x="96" y="150"/>
                  <a:pt x="96" y="152"/>
                  <a:pt x="94" y="152"/>
                </a:cubicBezTo>
                <a:cubicBezTo>
                  <a:pt x="92" y="152"/>
                  <a:pt x="91" y="152"/>
                  <a:pt x="92" y="154"/>
                </a:cubicBezTo>
                <a:cubicBezTo>
                  <a:pt x="92" y="155"/>
                  <a:pt x="89" y="155"/>
                  <a:pt x="89" y="154"/>
                </a:cubicBezTo>
                <a:cubicBezTo>
                  <a:pt x="89" y="153"/>
                  <a:pt x="86" y="153"/>
                  <a:pt x="85" y="155"/>
                </a:cubicBezTo>
                <a:cubicBezTo>
                  <a:pt x="83" y="156"/>
                  <a:pt x="81" y="157"/>
                  <a:pt x="81" y="159"/>
                </a:cubicBezTo>
                <a:cubicBezTo>
                  <a:pt x="81" y="161"/>
                  <a:pt x="83" y="158"/>
                  <a:pt x="85" y="159"/>
                </a:cubicBezTo>
                <a:cubicBezTo>
                  <a:pt x="87" y="160"/>
                  <a:pt x="85" y="161"/>
                  <a:pt x="86" y="161"/>
                </a:cubicBezTo>
                <a:cubicBezTo>
                  <a:pt x="87" y="162"/>
                  <a:pt x="87" y="165"/>
                  <a:pt x="86" y="163"/>
                </a:cubicBezTo>
                <a:cubicBezTo>
                  <a:pt x="84" y="162"/>
                  <a:pt x="82" y="162"/>
                  <a:pt x="82" y="164"/>
                </a:cubicBezTo>
                <a:cubicBezTo>
                  <a:pt x="82" y="166"/>
                  <a:pt x="80" y="163"/>
                  <a:pt x="79" y="162"/>
                </a:cubicBezTo>
                <a:cubicBezTo>
                  <a:pt x="78" y="160"/>
                  <a:pt x="77" y="165"/>
                  <a:pt x="75" y="164"/>
                </a:cubicBezTo>
                <a:cubicBezTo>
                  <a:pt x="74" y="163"/>
                  <a:pt x="78" y="159"/>
                  <a:pt x="77" y="158"/>
                </a:cubicBezTo>
                <a:cubicBezTo>
                  <a:pt x="76" y="156"/>
                  <a:pt x="75" y="159"/>
                  <a:pt x="73" y="161"/>
                </a:cubicBezTo>
                <a:cubicBezTo>
                  <a:pt x="70" y="164"/>
                  <a:pt x="67" y="163"/>
                  <a:pt x="68" y="165"/>
                </a:cubicBezTo>
                <a:cubicBezTo>
                  <a:pt x="70" y="166"/>
                  <a:pt x="66" y="166"/>
                  <a:pt x="65" y="168"/>
                </a:cubicBezTo>
                <a:cubicBezTo>
                  <a:pt x="65" y="170"/>
                  <a:pt x="60" y="171"/>
                  <a:pt x="57" y="173"/>
                </a:cubicBezTo>
                <a:cubicBezTo>
                  <a:pt x="54" y="175"/>
                  <a:pt x="58" y="175"/>
                  <a:pt x="59" y="173"/>
                </a:cubicBezTo>
                <a:cubicBezTo>
                  <a:pt x="61" y="171"/>
                  <a:pt x="62" y="172"/>
                  <a:pt x="64" y="171"/>
                </a:cubicBezTo>
                <a:cubicBezTo>
                  <a:pt x="67" y="169"/>
                  <a:pt x="70" y="167"/>
                  <a:pt x="71" y="168"/>
                </a:cubicBezTo>
                <a:cubicBezTo>
                  <a:pt x="72" y="169"/>
                  <a:pt x="74" y="169"/>
                  <a:pt x="75" y="168"/>
                </a:cubicBezTo>
                <a:cubicBezTo>
                  <a:pt x="77" y="166"/>
                  <a:pt x="78" y="166"/>
                  <a:pt x="80" y="167"/>
                </a:cubicBezTo>
                <a:cubicBezTo>
                  <a:pt x="81" y="168"/>
                  <a:pt x="77" y="169"/>
                  <a:pt x="79" y="171"/>
                </a:cubicBezTo>
                <a:cubicBezTo>
                  <a:pt x="81" y="173"/>
                  <a:pt x="77" y="173"/>
                  <a:pt x="77" y="172"/>
                </a:cubicBezTo>
                <a:cubicBezTo>
                  <a:pt x="77" y="171"/>
                  <a:pt x="75" y="169"/>
                  <a:pt x="74" y="171"/>
                </a:cubicBezTo>
                <a:cubicBezTo>
                  <a:pt x="74" y="172"/>
                  <a:pt x="72" y="173"/>
                  <a:pt x="71" y="174"/>
                </a:cubicBezTo>
                <a:cubicBezTo>
                  <a:pt x="70" y="174"/>
                  <a:pt x="68" y="176"/>
                  <a:pt x="68" y="179"/>
                </a:cubicBezTo>
                <a:cubicBezTo>
                  <a:pt x="68" y="181"/>
                  <a:pt x="66" y="179"/>
                  <a:pt x="66" y="181"/>
                </a:cubicBezTo>
                <a:cubicBezTo>
                  <a:pt x="65" y="183"/>
                  <a:pt x="62" y="187"/>
                  <a:pt x="59" y="189"/>
                </a:cubicBezTo>
                <a:cubicBezTo>
                  <a:pt x="57" y="192"/>
                  <a:pt x="59" y="193"/>
                  <a:pt x="58" y="194"/>
                </a:cubicBezTo>
                <a:cubicBezTo>
                  <a:pt x="57" y="196"/>
                  <a:pt x="54" y="195"/>
                  <a:pt x="53" y="195"/>
                </a:cubicBezTo>
                <a:cubicBezTo>
                  <a:pt x="52" y="196"/>
                  <a:pt x="53" y="200"/>
                  <a:pt x="52" y="202"/>
                </a:cubicBezTo>
                <a:cubicBezTo>
                  <a:pt x="50" y="203"/>
                  <a:pt x="52" y="205"/>
                  <a:pt x="52" y="206"/>
                </a:cubicBezTo>
                <a:cubicBezTo>
                  <a:pt x="52" y="208"/>
                  <a:pt x="48" y="205"/>
                  <a:pt x="48" y="207"/>
                </a:cubicBezTo>
                <a:cubicBezTo>
                  <a:pt x="47" y="208"/>
                  <a:pt x="44" y="208"/>
                  <a:pt x="43" y="208"/>
                </a:cubicBezTo>
                <a:cubicBezTo>
                  <a:pt x="42" y="209"/>
                  <a:pt x="45" y="211"/>
                  <a:pt x="47" y="213"/>
                </a:cubicBezTo>
                <a:cubicBezTo>
                  <a:pt x="49" y="214"/>
                  <a:pt x="45" y="215"/>
                  <a:pt x="45" y="214"/>
                </a:cubicBezTo>
                <a:cubicBezTo>
                  <a:pt x="44" y="212"/>
                  <a:pt x="42" y="215"/>
                  <a:pt x="38" y="216"/>
                </a:cubicBezTo>
                <a:cubicBezTo>
                  <a:pt x="35" y="218"/>
                  <a:pt x="37" y="220"/>
                  <a:pt x="34" y="220"/>
                </a:cubicBezTo>
                <a:cubicBezTo>
                  <a:pt x="32" y="221"/>
                  <a:pt x="32" y="224"/>
                  <a:pt x="31" y="226"/>
                </a:cubicBezTo>
                <a:cubicBezTo>
                  <a:pt x="29" y="227"/>
                  <a:pt x="30" y="223"/>
                  <a:pt x="27" y="223"/>
                </a:cubicBezTo>
                <a:cubicBezTo>
                  <a:pt x="25" y="223"/>
                  <a:pt x="25" y="224"/>
                  <a:pt x="26" y="227"/>
                </a:cubicBezTo>
                <a:cubicBezTo>
                  <a:pt x="28" y="229"/>
                  <a:pt x="24" y="227"/>
                  <a:pt x="23" y="229"/>
                </a:cubicBezTo>
                <a:cubicBezTo>
                  <a:pt x="21" y="231"/>
                  <a:pt x="17" y="230"/>
                  <a:pt x="16" y="231"/>
                </a:cubicBezTo>
                <a:cubicBezTo>
                  <a:pt x="15" y="233"/>
                  <a:pt x="19" y="233"/>
                  <a:pt x="20" y="234"/>
                </a:cubicBezTo>
                <a:cubicBezTo>
                  <a:pt x="20" y="235"/>
                  <a:pt x="16" y="235"/>
                  <a:pt x="14" y="234"/>
                </a:cubicBezTo>
                <a:cubicBezTo>
                  <a:pt x="11" y="234"/>
                  <a:pt x="12" y="237"/>
                  <a:pt x="10" y="237"/>
                </a:cubicBezTo>
                <a:cubicBezTo>
                  <a:pt x="8" y="236"/>
                  <a:pt x="5" y="238"/>
                  <a:pt x="7" y="240"/>
                </a:cubicBezTo>
                <a:cubicBezTo>
                  <a:pt x="8" y="241"/>
                  <a:pt x="6" y="241"/>
                  <a:pt x="4" y="241"/>
                </a:cubicBezTo>
                <a:cubicBezTo>
                  <a:pt x="3" y="240"/>
                  <a:pt x="2" y="242"/>
                  <a:pt x="1" y="244"/>
                </a:cubicBezTo>
                <a:cubicBezTo>
                  <a:pt x="1" y="245"/>
                  <a:pt x="4" y="246"/>
                  <a:pt x="4" y="247"/>
                </a:cubicBezTo>
                <a:cubicBezTo>
                  <a:pt x="4" y="248"/>
                  <a:pt x="1" y="249"/>
                  <a:pt x="3" y="250"/>
                </a:cubicBezTo>
                <a:cubicBezTo>
                  <a:pt x="5" y="250"/>
                  <a:pt x="3" y="252"/>
                  <a:pt x="2" y="252"/>
                </a:cubicBezTo>
                <a:cubicBezTo>
                  <a:pt x="1" y="253"/>
                  <a:pt x="1" y="254"/>
                  <a:pt x="2" y="255"/>
                </a:cubicBezTo>
                <a:cubicBezTo>
                  <a:pt x="3" y="257"/>
                  <a:pt x="0" y="257"/>
                  <a:pt x="2" y="260"/>
                </a:cubicBezTo>
                <a:cubicBezTo>
                  <a:pt x="3" y="262"/>
                  <a:pt x="5" y="259"/>
                  <a:pt x="5" y="261"/>
                </a:cubicBezTo>
                <a:cubicBezTo>
                  <a:pt x="6" y="262"/>
                  <a:pt x="8" y="261"/>
                  <a:pt x="10" y="259"/>
                </a:cubicBezTo>
                <a:cubicBezTo>
                  <a:pt x="12" y="257"/>
                  <a:pt x="13" y="261"/>
                  <a:pt x="11" y="261"/>
                </a:cubicBezTo>
                <a:cubicBezTo>
                  <a:pt x="10" y="261"/>
                  <a:pt x="7" y="262"/>
                  <a:pt x="8" y="264"/>
                </a:cubicBezTo>
                <a:cubicBezTo>
                  <a:pt x="8" y="266"/>
                  <a:pt x="5" y="265"/>
                  <a:pt x="5" y="263"/>
                </a:cubicBezTo>
                <a:cubicBezTo>
                  <a:pt x="5" y="261"/>
                  <a:pt x="1" y="264"/>
                  <a:pt x="3" y="265"/>
                </a:cubicBezTo>
                <a:cubicBezTo>
                  <a:pt x="4" y="267"/>
                  <a:pt x="2" y="268"/>
                  <a:pt x="2" y="269"/>
                </a:cubicBezTo>
                <a:cubicBezTo>
                  <a:pt x="2" y="271"/>
                  <a:pt x="5" y="270"/>
                  <a:pt x="6" y="269"/>
                </a:cubicBezTo>
                <a:cubicBezTo>
                  <a:pt x="7" y="267"/>
                  <a:pt x="9" y="267"/>
                  <a:pt x="10" y="269"/>
                </a:cubicBezTo>
                <a:cubicBezTo>
                  <a:pt x="11" y="271"/>
                  <a:pt x="8" y="270"/>
                  <a:pt x="8" y="272"/>
                </a:cubicBezTo>
                <a:cubicBezTo>
                  <a:pt x="8" y="274"/>
                  <a:pt x="7" y="272"/>
                  <a:pt x="5" y="274"/>
                </a:cubicBezTo>
                <a:cubicBezTo>
                  <a:pt x="4" y="276"/>
                  <a:pt x="10" y="279"/>
                  <a:pt x="12" y="280"/>
                </a:cubicBezTo>
                <a:cubicBezTo>
                  <a:pt x="14" y="280"/>
                  <a:pt x="16" y="282"/>
                  <a:pt x="20" y="282"/>
                </a:cubicBezTo>
                <a:cubicBezTo>
                  <a:pt x="25" y="281"/>
                  <a:pt x="32" y="274"/>
                  <a:pt x="33" y="272"/>
                </a:cubicBezTo>
                <a:cubicBezTo>
                  <a:pt x="34" y="271"/>
                  <a:pt x="37" y="273"/>
                  <a:pt x="38" y="271"/>
                </a:cubicBezTo>
                <a:cubicBezTo>
                  <a:pt x="40" y="270"/>
                  <a:pt x="39" y="267"/>
                  <a:pt x="40" y="266"/>
                </a:cubicBezTo>
                <a:cubicBezTo>
                  <a:pt x="41" y="266"/>
                  <a:pt x="42" y="270"/>
                  <a:pt x="43" y="270"/>
                </a:cubicBezTo>
                <a:cubicBezTo>
                  <a:pt x="43" y="271"/>
                  <a:pt x="44" y="271"/>
                  <a:pt x="44" y="273"/>
                </a:cubicBezTo>
                <a:cubicBezTo>
                  <a:pt x="45" y="273"/>
                  <a:pt x="46" y="273"/>
                  <a:pt x="46" y="274"/>
                </a:cubicBezTo>
                <a:cubicBezTo>
                  <a:pt x="48" y="275"/>
                  <a:pt x="48" y="270"/>
                  <a:pt x="48" y="269"/>
                </a:cubicBezTo>
                <a:cubicBezTo>
                  <a:pt x="48" y="268"/>
                  <a:pt x="49" y="265"/>
                  <a:pt x="49" y="263"/>
                </a:cubicBezTo>
                <a:cubicBezTo>
                  <a:pt x="49" y="262"/>
                  <a:pt x="53" y="263"/>
                  <a:pt x="54" y="262"/>
                </a:cubicBezTo>
                <a:cubicBezTo>
                  <a:pt x="54" y="260"/>
                  <a:pt x="55" y="256"/>
                  <a:pt x="53" y="255"/>
                </a:cubicBezTo>
                <a:cubicBezTo>
                  <a:pt x="52" y="255"/>
                  <a:pt x="52" y="252"/>
                  <a:pt x="53" y="252"/>
                </a:cubicBezTo>
                <a:cubicBezTo>
                  <a:pt x="54" y="252"/>
                  <a:pt x="56" y="251"/>
                  <a:pt x="56" y="248"/>
                </a:cubicBezTo>
                <a:cubicBezTo>
                  <a:pt x="55" y="246"/>
                  <a:pt x="51" y="246"/>
                  <a:pt x="51" y="243"/>
                </a:cubicBezTo>
                <a:cubicBezTo>
                  <a:pt x="51" y="241"/>
                  <a:pt x="53" y="240"/>
                  <a:pt x="51" y="237"/>
                </a:cubicBezTo>
                <a:cubicBezTo>
                  <a:pt x="50" y="234"/>
                  <a:pt x="52" y="232"/>
                  <a:pt x="51" y="230"/>
                </a:cubicBezTo>
                <a:cubicBezTo>
                  <a:pt x="51" y="228"/>
                  <a:pt x="50" y="226"/>
                  <a:pt x="52" y="223"/>
                </a:cubicBezTo>
                <a:cubicBezTo>
                  <a:pt x="54" y="220"/>
                  <a:pt x="57" y="218"/>
                  <a:pt x="59" y="219"/>
                </a:cubicBezTo>
                <a:cubicBezTo>
                  <a:pt x="60" y="219"/>
                  <a:pt x="62" y="220"/>
                  <a:pt x="63" y="218"/>
                </a:cubicBezTo>
                <a:cubicBezTo>
                  <a:pt x="64" y="216"/>
                  <a:pt x="64" y="215"/>
                  <a:pt x="63" y="214"/>
                </a:cubicBezTo>
                <a:cubicBezTo>
                  <a:pt x="62" y="214"/>
                  <a:pt x="60" y="213"/>
                  <a:pt x="62" y="211"/>
                </a:cubicBezTo>
                <a:cubicBezTo>
                  <a:pt x="64" y="208"/>
                  <a:pt x="66" y="205"/>
                  <a:pt x="66" y="202"/>
                </a:cubicBezTo>
                <a:cubicBezTo>
                  <a:pt x="67" y="199"/>
                  <a:pt x="66" y="197"/>
                  <a:pt x="67" y="196"/>
                </a:cubicBezTo>
                <a:cubicBezTo>
                  <a:pt x="68" y="195"/>
                  <a:pt x="70" y="196"/>
                  <a:pt x="72" y="194"/>
                </a:cubicBezTo>
                <a:cubicBezTo>
                  <a:pt x="74" y="193"/>
                  <a:pt x="72" y="191"/>
                  <a:pt x="73" y="190"/>
                </a:cubicBezTo>
                <a:cubicBezTo>
                  <a:pt x="74" y="190"/>
                  <a:pt x="75" y="186"/>
                  <a:pt x="77" y="185"/>
                </a:cubicBezTo>
                <a:cubicBezTo>
                  <a:pt x="78" y="184"/>
                  <a:pt x="79" y="183"/>
                  <a:pt x="78" y="182"/>
                </a:cubicBezTo>
                <a:cubicBezTo>
                  <a:pt x="77" y="180"/>
                  <a:pt x="80" y="179"/>
                  <a:pt x="80" y="177"/>
                </a:cubicBezTo>
                <a:cubicBezTo>
                  <a:pt x="80" y="174"/>
                  <a:pt x="84" y="173"/>
                  <a:pt x="86" y="173"/>
                </a:cubicBezTo>
                <a:cubicBezTo>
                  <a:pt x="88" y="173"/>
                  <a:pt x="91" y="173"/>
                  <a:pt x="91" y="171"/>
                </a:cubicBezTo>
                <a:cubicBezTo>
                  <a:pt x="91" y="169"/>
                  <a:pt x="90" y="165"/>
                  <a:pt x="92" y="166"/>
                </a:cubicBezTo>
                <a:cubicBezTo>
                  <a:pt x="95" y="167"/>
                  <a:pt x="98" y="166"/>
                  <a:pt x="100" y="167"/>
                </a:cubicBezTo>
                <a:cubicBezTo>
                  <a:pt x="102" y="169"/>
                  <a:pt x="104" y="169"/>
                  <a:pt x="104" y="166"/>
                </a:cubicBezTo>
                <a:cubicBezTo>
                  <a:pt x="104" y="163"/>
                  <a:pt x="105" y="159"/>
                  <a:pt x="108" y="161"/>
                </a:cubicBezTo>
                <a:cubicBezTo>
                  <a:pt x="108" y="161"/>
                  <a:pt x="109" y="161"/>
                  <a:pt x="109" y="161"/>
                </a:cubicBezTo>
                <a:cubicBezTo>
                  <a:pt x="110" y="159"/>
                  <a:pt x="112" y="158"/>
                  <a:pt x="113" y="158"/>
                </a:cubicBezTo>
                <a:cubicBezTo>
                  <a:pt x="116" y="158"/>
                  <a:pt x="118" y="163"/>
                  <a:pt x="121" y="163"/>
                </a:cubicBezTo>
                <a:cubicBezTo>
                  <a:pt x="124" y="164"/>
                  <a:pt x="127" y="165"/>
                  <a:pt x="128" y="164"/>
                </a:cubicBezTo>
                <a:cubicBezTo>
                  <a:pt x="129" y="162"/>
                  <a:pt x="132" y="165"/>
                  <a:pt x="134" y="164"/>
                </a:cubicBezTo>
                <a:cubicBezTo>
                  <a:pt x="136" y="163"/>
                  <a:pt x="136" y="168"/>
                  <a:pt x="138" y="165"/>
                </a:cubicBezTo>
                <a:cubicBezTo>
                  <a:pt x="140" y="162"/>
                  <a:pt x="137" y="161"/>
                  <a:pt x="141" y="161"/>
                </a:cubicBezTo>
                <a:cubicBezTo>
                  <a:pt x="144" y="161"/>
                  <a:pt x="142" y="157"/>
                  <a:pt x="142" y="155"/>
                </a:cubicBezTo>
                <a:cubicBezTo>
                  <a:pt x="142" y="153"/>
                  <a:pt x="146" y="153"/>
                  <a:pt x="146" y="151"/>
                </a:cubicBezTo>
                <a:cubicBezTo>
                  <a:pt x="146" y="149"/>
                  <a:pt x="152" y="150"/>
                  <a:pt x="153" y="149"/>
                </a:cubicBezTo>
                <a:cubicBezTo>
                  <a:pt x="154" y="148"/>
                  <a:pt x="157" y="147"/>
                  <a:pt x="159" y="149"/>
                </a:cubicBezTo>
                <a:cubicBezTo>
                  <a:pt x="160" y="151"/>
                  <a:pt x="165" y="152"/>
                  <a:pt x="166" y="154"/>
                </a:cubicBezTo>
                <a:cubicBezTo>
                  <a:pt x="166" y="155"/>
                  <a:pt x="166" y="156"/>
                  <a:pt x="166" y="158"/>
                </a:cubicBezTo>
                <a:cubicBezTo>
                  <a:pt x="167" y="157"/>
                  <a:pt x="168" y="156"/>
                  <a:pt x="169" y="156"/>
                </a:cubicBezTo>
                <a:cubicBezTo>
                  <a:pt x="171" y="156"/>
                  <a:pt x="173" y="153"/>
                  <a:pt x="175" y="153"/>
                </a:cubicBezTo>
                <a:cubicBezTo>
                  <a:pt x="176" y="154"/>
                  <a:pt x="178" y="154"/>
                  <a:pt x="178" y="151"/>
                </a:cubicBezTo>
                <a:cubicBezTo>
                  <a:pt x="176" y="150"/>
                  <a:pt x="173" y="150"/>
                  <a:pt x="173" y="151"/>
                </a:cubicBezTo>
                <a:close/>
                <a:moveTo>
                  <a:pt x="50" y="21"/>
                </a:moveTo>
                <a:cubicBezTo>
                  <a:pt x="53" y="21"/>
                  <a:pt x="47" y="25"/>
                  <a:pt x="46" y="27"/>
                </a:cubicBezTo>
                <a:cubicBezTo>
                  <a:pt x="45" y="30"/>
                  <a:pt x="50" y="33"/>
                  <a:pt x="53" y="35"/>
                </a:cubicBezTo>
                <a:cubicBezTo>
                  <a:pt x="55" y="37"/>
                  <a:pt x="61" y="37"/>
                  <a:pt x="63" y="36"/>
                </a:cubicBezTo>
                <a:cubicBezTo>
                  <a:pt x="65" y="34"/>
                  <a:pt x="64" y="30"/>
                  <a:pt x="66" y="30"/>
                </a:cubicBezTo>
                <a:cubicBezTo>
                  <a:pt x="69" y="31"/>
                  <a:pt x="68" y="28"/>
                  <a:pt x="70" y="27"/>
                </a:cubicBezTo>
                <a:cubicBezTo>
                  <a:pt x="72" y="27"/>
                  <a:pt x="72" y="29"/>
                  <a:pt x="70" y="31"/>
                </a:cubicBezTo>
                <a:cubicBezTo>
                  <a:pt x="69" y="34"/>
                  <a:pt x="74" y="33"/>
                  <a:pt x="76" y="31"/>
                </a:cubicBezTo>
                <a:cubicBezTo>
                  <a:pt x="79" y="28"/>
                  <a:pt x="80" y="31"/>
                  <a:pt x="79" y="33"/>
                </a:cubicBezTo>
                <a:cubicBezTo>
                  <a:pt x="79" y="36"/>
                  <a:pt x="73" y="34"/>
                  <a:pt x="71" y="37"/>
                </a:cubicBezTo>
                <a:cubicBezTo>
                  <a:pt x="69" y="40"/>
                  <a:pt x="63" y="38"/>
                  <a:pt x="60" y="41"/>
                </a:cubicBezTo>
                <a:cubicBezTo>
                  <a:pt x="57" y="44"/>
                  <a:pt x="63" y="44"/>
                  <a:pt x="66" y="43"/>
                </a:cubicBezTo>
                <a:cubicBezTo>
                  <a:pt x="70" y="42"/>
                  <a:pt x="77" y="42"/>
                  <a:pt x="80" y="42"/>
                </a:cubicBezTo>
                <a:cubicBezTo>
                  <a:pt x="83" y="43"/>
                  <a:pt x="78" y="44"/>
                  <a:pt x="74" y="44"/>
                </a:cubicBezTo>
                <a:cubicBezTo>
                  <a:pt x="69" y="44"/>
                  <a:pt x="68" y="45"/>
                  <a:pt x="68" y="47"/>
                </a:cubicBezTo>
                <a:cubicBezTo>
                  <a:pt x="68" y="48"/>
                  <a:pt x="61" y="45"/>
                  <a:pt x="61" y="48"/>
                </a:cubicBezTo>
                <a:cubicBezTo>
                  <a:pt x="61" y="51"/>
                  <a:pt x="67" y="52"/>
                  <a:pt x="68" y="53"/>
                </a:cubicBezTo>
                <a:cubicBezTo>
                  <a:pt x="69" y="55"/>
                  <a:pt x="73" y="54"/>
                  <a:pt x="75" y="54"/>
                </a:cubicBezTo>
                <a:cubicBezTo>
                  <a:pt x="76" y="55"/>
                  <a:pt x="72" y="56"/>
                  <a:pt x="71" y="57"/>
                </a:cubicBezTo>
                <a:cubicBezTo>
                  <a:pt x="71" y="58"/>
                  <a:pt x="76" y="59"/>
                  <a:pt x="77" y="60"/>
                </a:cubicBezTo>
                <a:cubicBezTo>
                  <a:pt x="78" y="62"/>
                  <a:pt x="82" y="61"/>
                  <a:pt x="82" y="59"/>
                </a:cubicBezTo>
                <a:cubicBezTo>
                  <a:pt x="81" y="56"/>
                  <a:pt x="85" y="48"/>
                  <a:pt x="90" y="46"/>
                </a:cubicBezTo>
                <a:cubicBezTo>
                  <a:pt x="94" y="45"/>
                  <a:pt x="92" y="43"/>
                  <a:pt x="92" y="41"/>
                </a:cubicBezTo>
                <a:cubicBezTo>
                  <a:pt x="93" y="38"/>
                  <a:pt x="96" y="40"/>
                  <a:pt x="95" y="38"/>
                </a:cubicBezTo>
                <a:cubicBezTo>
                  <a:pt x="94" y="36"/>
                  <a:pt x="95" y="35"/>
                  <a:pt x="98" y="32"/>
                </a:cubicBezTo>
                <a:cubicBezTo>
                  <a:pt x="101" y="29"/>
                  <a:pt x="103" y="31"/>
                  <a:pt x="106" y="30"/>
                </a:cubicBezTo>
                <a:cubicBezTo>
                  <a:pt x="110" y="28"/>
                  <a:pt x="111" y="31"/>
                  <a:pt x="107" y="31"/>
                </a:cubicBezTo>
                <a:cubicBezTo>
                  <a:pt x="104" y="32"/>
                  <a:pt x="106" y="35"/>
                  <a:pt x="108" y="36"/>
                </a:cubicBezTo>
                <a:cubicBezTo>
                  <a:pt x="111" y="38"/>
                  <a:pt x="109" y="38"/>
                  <a:pt x="111" y="39"/>
                </a:cubicBezTo>
                <a:cubicBezTo>
                  <a:pt x="113" y="39"/>
                  <a:pt x="112" y="43"/>
                  <a:pt x="110" y="46"/>
                </a:cubicBezTo>
                <a:cubicBezTo>
                  <a:pt x="107" y="48"/>
                  <a:pt x="110" y="49"/>
                  <a:pt x="116" y="47"/>
                </a:cubicBezTo>
                <a:cubicBezTo>
                  <a:pt x="122" y="45"/>
                  <a:pt x="118" y="49"/>
                  <a:pt x="120" y="50"/>
                </a:cubicBezTo>
                <a:cubicBezTo>
                  <a:pt x="122" y="52"/>
                  <a:pt x="126" y="49"/>
                  <a:pt x="129" y="46"/>
                </a:cubicBezTo>
                <a:cubicBezTo>
                  <a:pt x="131" y="43"/>
                  <a:pt x="135" y="44"/>
                  <a:pt x="135" y="42"/>
                </a:cubicBezTo>
                <a:cubicBezTo>
                  <a:pt x="135" y="41"/>
                  <a:pt x="132" y="40"/>
                  <a:pt x="130" y="41"/>
                </a:cubicBezTo>
                <a:cubicBezTo>
                  <a:pt x="128" y="42"/>
                  <a:pt x="122" y="41"/>
                  <a:pt x="124" y="40"/>
                </a:cubicBezTo>
                <a:cubicBezTo>
                  <a:pt x="126" y="38"/>
                  <a:pt x="126" y="37"/>
                  <a:pt x="123" y="37"/>
                </a:cubicBezTo>
                <a:cubicBezTo>
                  <a:pt x="120" y="37"/>
                  <a:pt x="115" y="36"/>
                  <a:pt x="118" y="35"/>
                </a:cubicBezTo>
                <a:cubicBezTo>
                  <a:pt x="120" y="34"/>
                  <a:pt x="116" y="31"/>
                  <a:pt x="114" y="31"/>
                </a:cubicBezTo>
                <a:cubicBezTo>
                  <a:pt x="112" y="31"/>
                  <a:pt x="112" y="29"/>
                  <a:pt x="112" y="27"/>
                </a:cubicBezTo>
                <a:cubicBezTo>
                  <a:pt x="113" y="25"/>
                  <a:pt x="106" y="25"/>
                  <a:pt x="108" y="24"/>
                </a:cubicBezTo>
                <a:cubicBezTo>
                  <a:pt x="109" y="24"/>
                  <a:pt x="105" y="22"/>
                  <a:pt x="104" y="23"/>
                </a:cubicBezTo>
                <a:cubicBezTo>
                  <a:pt x="103" y="25"/>
                  <a:pt x="101" y="24"/>
                  <a:pt x="101" y="22"/>
                </a:cubicBezTo>
                <a:cubicBezTo>
                  <a:pt x="101" y="21"/>
                  <a:pt x="97" y="21"/>
                  <a:pt x="95" y="21"/>
                </a:cubicBezTo>
                <a:cubicBezTo>
                  <a:pt x="93" y="21"/>
                  <a:pt x="94" y="17"/>
                  <a:pt x="92" y="16"/>
                </a:cubicBezTo>
                <a:cubicBezTo>
                  <a:pt x="90" y="14"/>
                  <a:pt x="88" y="19"/>
                  <a:pt x="86" y="18"/>
                </a:cubicBezTo>
                <a:cubicBezTo>
                  <a:pt x="85" y="18"/>
                  <a:pt x="88" y="15"/>
                  <a:pt x="88" y="13"/>
                </a:cubicBezTo>
                <a:cubicBezTo>
                  <a:pt x="89" y="12"/>
                  <a:pt x="82" y="9"/>
                  <a:pt x="81" y="11"/>
                </a:cubicBezTo>
                <a:cubicBezTo>
                  <a:pt x="80" y="13"/>
                  <a:pt x="79" y="8"/>
                  <a:pt x="77" y="8"/>
                </a:cubicBezTo>
                <a:cubicBezTo>
                  <a:pt x="76" y="7"/>
                  <a:pt x="77" y="11"/>
                  <a:pt x="76" y="11"/>
                </a:cubicBezTo>
                <a:cubicBezTo>
                  <a:pt x="74" y="11"/>
                  <a:pt x="73" y="13"/>
                  <a:pt x="75" y="14"/>
                </a:cubicBezTo>
                <a:cubicBezTo>
                  <a:pt x="77" y="16"/>
                  <a:pt x="79" y="24"/>
                  <a:pt x="79" y="25"/>
                </a:cubicBezTo>
                <a:cubicBezTo>
                  <a:pt x="79" y="26"/>
                  <a:pt x="72" y="19"/>
                  <a:pt x="72" y="16"/>
                </a:cubicBezTo>
                <a:cubicBezTo>
                  <a:pt x="71" y="13"/>
                  <a:pt x="68" y="10"/>
                  <a:pt x="67" y="13"/>
                </a:cubicBezTo>
                <a:cubicBezTo>
                  <a:pt x="66" y="15"/>
                  <a:pt x="63" y="16"/>
                  <a:pt x="64" y="18"/>
                </a:cubicBezTo>
                <a:cubicBezTo>
                  <a:pt x="65" y="20"/>
                  <a:pt x="62" y="21"/>
                  <a:pt x="62" y="19"/>
                </a:cubicBezTo>
                <a:cubicBezTo>
                  <a:pt x="62" y="17"/>
                  <a:pt x="58" y="15"/>
                  <a:pt x="57" y="15"/>
                </a:cubicBezTo>
                <a:cubicBezTo>
                  <a:pt x="56" y="15"/>
                  <a:pt x="61" y="14"/>
                  <a:pt x="63" y="13"/>
                </a:cubicBezTo>
                <a:cubicBezTo>
                  <a:pt x="65" y="12"/>
                  <a:pt x="61" y="10"/>
                  <a:pt x="59" y="12"/>
                </a:cubicBezTo>
                <a:cubicBezTo>
                  <a:pt x="57" y="13"/>
                  <a:pt x="54" y="11"/>
                  <a:pt x="53" y="13"/>
                </a:cubicBezTo>
                <a:cubicBezTo>
                  <a:pt x="52" y="14"/>
                  <a:pt x="50" y="13"/>
                  <a:pt x="48" y="12"/>
                </a:cubicBezTo>
                <a:cubicBezTo>
                  <a:pt x="46" y="12"/>
                  <a:pt x="44" y="15"/>
                  <a:pt x="43" y="14"/>
                </a:cubicBezTo>
                <a:cubicBezTo>
                  <a:pt x="41" y="14"/>
                  <a:pt x="40" y="18"/>
                  <a:pt x="43" y="21"/>
                </a:cubicBezTo>
                <a:cubicBezTo>
                  <a:pt x="45" y="25"/>
                  <a:pt x="47" y="20"/>
                  <a:pt x="50" y="21"/>
                </a:cubicBezTo>
                <a:close/>
                <a:moveTo>
                  <a:pt x="44" y="33"/>
                </a:moveTo>
                <a:cubicBezTo>
                  <a:pt x="45" y="34"/>
                  <a:pt x="47" y="37"/>
                  <a:pt x="48" y="36"/>
                </a:cubicBezTo>
                <a:cubicBezTo>
                  <a:pt x="49" y="36"/>
                  <a:pt x="46" y="33"/>
                  <a:pt x="44" y="31"/>
                </a:cubicBezTo>
                <a:cubicBezTo>
                  <a:pt x="42" y="28"/>
                  <a:pt x="42" y="26"/>
                  <a:pt x="39" y="27"/>
                </a:cubicBezTo>
                <a:cubicBezTo>
                  <a:pt x="37" y="28"/>
                  <a:pt x="42" y="33"/>
                  <a:pt x="44" y="33"/>
                </a:cubicBezTo>
                <a:close/>
                <a:moveTo>
                  <a:pt x="92" y="8"/>
                </a:moveTo>
                <a:cubicBezTo>
                  <a:pt x="94" y="9"/>
                  <a:pt x="90" y="9"/>
                  <a:pt x="91" y="11"/>
                </a:cubicBezTo>
                <a:cubicBezTo>
                  <a:pt x="96" y="16"/>
                  <a:pt x="114" y="10"/>
                  <a:pt x="116" y="12"/>
                </a:cubicBezTo>
                <a:cubicBezTo>
                  <a:pt x="119" y="13"/>
                  <a:pt x="101" y="15"/>
                  <a:pt x="102" y="17"/>
                </a:cubicBezTo>
                <a:cubicBezTo>
                  <a:pt x="103" y="18"/>
                  <a:pt x="117" y="20"/>
                  <a:pt x="118" y="19"/>
                </a:cubicBezTo>
                <a:cubicBezTo>
                  <a:pt x="119" y="18"/>
                  <a:pt x="122" y="21"/>
                  <a:pt x="126" y="22"/>
                </a:cubicBezTo>
                <a:cubicBezTo>
                  <a:pt x="131" y="22"/>
                  <a:pt x="131" y="20"/>
                  <a:pt x="134" y="20"/>
                </a:cubicBezTo>
                <a:cubicBezTo>
                  <a:pt x="138" y="19"/>
                  <a:pt x="143" y="18"/>
                  <a:pt x="143" y="16"/>
                </a:cubicBezTo>
                <a:cubicBezTo>
                  <a:pt x="143" y="14"/>
                  <a:pt x="154" y="11"/>
                  <a:pt x="153" y="8"/>
                </a:cubicBezTo>
                <a:cubicBezTo>
                  <a:pt x="152" y="5"/>
                  <a:pt x="142" y="7"/>
                  <a:pt x="139" y="5"/>
                </a:cubicBezTo>
                <a:cubicBezTo>
                  <a:pt x="136" y="4"/>
                  <a:pt x="130" y="2"/>
                  <a:pt x="129" y="4"/>
                </a:cubicBezTo>
                <a:cubicBezTo>
                  <a:pt x="128" y="7"/>
                  <a:pt x="126" y="7"/>
                  <a:pt x="125" y="6"/>
                </a:cubicBezTo>
                <a:cubicBezTo>
                  <a:pt x="124" y="5"/>
                  <a:pt x="125" y="0"/>
                  <a:pt x="121" y="2"/>
                </a:cubicBezTo>
                <a:cubicBezTo>
                  <a:pt x="117" y="3"/>
                  <a:pt x="121" y="8"/>
                  <a:pt x="120" y="9"/>
                </a:cubicBezTo>
                <a:cubicBezTo>
                  <a:pt x="119" y="9"/>
                  <a:pt x="115" y="8"/>
                  <a:pt x="114" y="5"/>
                </a:cubicBezTo>
                <a:cubicBezTo>
                  <a:pt x="114" y="3"/>
                  <a:pt x="109" y="8"/>
                  <a:pt x="109" y="5"/>
                </a:cubicBezTo>
                <a:cubicBezTo>
                  <a:pt x="108" y="3"/>
                  <a:pt x="102" y="1"/>
                  <a:pt x="101" y="1"/>
                </a:cubicBezTo>
                <a:cubicBezTo>
                  <a:pt x="100" y="1"/>
                  <a:pt x="102" y="3"/>
                  <a:pt x="102" y="4"/>
                </a:cubicBezTo>
                <a:cubicBezTo>
                  <a:pt x="101" y="5"/>
                  <a:pt x="98" y="3"/>
                  <a:pt x="97" y="3"/>
                </a:cubicBezTo>
                <a:cubicBezTo>
                  <a:pt x="95" y="2"/>
                  <a:pt x="97" y="5"/>
                  <a:pt x="97" y="6"/>
                </a:cubicBezTo>
                <a:cubicBezTo>
                  <a:pt x="96" y="8"/>
                  <a:pt x="94" y="3"/>
                  <a:pt x="92" y="3"/>
                </a:cubicBezTo>
                <a:cubicBezTo>
                  <a:pt x="89" y="3"/>
                  <a:pt x="90" y="5"/>
                  <a:pt x="89" y="5"/>
                </a:cubicBezTo>
                <a:cubicBezTo>
                  <a:pt x="87" y="5"/>
                  <a:pt x="91" y="7"/>
                  <a:pt x="92" y="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0" name="Freeform 146"/>
          <p:cNvSpPr/>
          <p:nvPr/>
        </p:nvSpPr>
        <p:spPr bwMode="auto">
          <a:xfrm>
            <a:off x="7900467" y="1686373"/>
            <a:ext cx="66675" cy="22225"/>
          </a:xfrm>
          <a:custGeom>
            <a:avLst/>
            <a:gdLst>
              <a:gd name="T0" fmla="*/ 10 w 23"/>
              <a:gd name="T1" fmla="*/ 1 h 8"/>
              <a:gd name="T2" fmla="*/ 2 w 23"/>
              <a:gd name="T3" fmla="*/ 3 h 8"/>
              <a:gd name="T4" fmla="*/ 15 w 23"/>
              <a:gd name="T5" fmla="*/ 6 h 8"/>
              <a:gd name="T6" fmla="*/ 23 w 23"/>
              <a:gd name="T7" fmla="*/ 5 h 8"/>
              <a:gd name="T8" fmla="*/ 10 w 23"/>
              <a:gd name="T9" fmla="*/ 1 h 8"/>
            </a:gdLst>
            <a:ahLst/>
            <a:cxnLst>
              <a:cxn ang="0">
                <a:pos x="T0" y="T1"/>
              </a:cxn>
              <a:cxn ang="0">
                <a:pos x="T2" y="T3"/>
              </a:cxn>
              <a:cxn ang="0">
                <a:pos x="T4" y="T5"/>
              </a:cxn>
              <a:cxn ang="0">
                <a:pos x="T6" y="T7"/>
              </a:cxn>
              <a:cxn ang="0">
                <a:pos x="T8" y="T9"/>
              </a:cxn>
            </a:cxnLst>
            <a:rect l="0" t="0" r="r" b="b"/>
            <a:pathLst>
              <a:path w="23" h="8">
                <a:moveTo>
                  <a:pt x="10" y="1"/>
                </a:moveTo>
                <a:cubicBezTo>
                  <a:pt x="9" y="2"/>
                  <a:pt x="0" y="1"/>
                  <a:pt x="2" y="3"/>
                </a:cubicBezTo>
                <a:cubicBezTo>
                  <a:pt x="4" y="5"/>
                  <a:pt x="11" y="4"/>
                  <a:pt x="15" y="6"/>
                </a:cubicBezTo>
                <a:cubicBezTo>
                  <a:pt x="18" y="8"/>
                  <a:pt x="23" y="6"/>
                  <a:pt x="23" y="5"/>
                </a:cubicBezTo>
                <a:cubicBezTo>
                  <a:pt x="23" y="3"/>
                  <a:pt x="12" y="0"/>
                  <a:pt x="10" y="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1" name="Freeform 147"/>
          <p:cNvSpPr>
            <a:spLocks noEditPoints="1"/>
          </p:cNvSpPr>
          <p:nvPr/>
        </p:nvSpPr>
        <p:spPr bwMode="auto">
          <a:xfrm>
            <a:off x="6738417" y="2178498"/>
            <a:ext cx="336550" cy="339725"/>
          </a:xfrm>
          <a:custGeom>
            <a:avLst/>
            <a:gdLst>
              <a:gd name="T0" fmla="*/ 105 w 118"/>
              <a:gd name="T1" fmla="*/ 15 h 119"/>
              <a:gd name="T2" fmla="*/ 85 w 118"/>
              <a:gd name="T3" fmla="*/ 6 h 119"/>
              <a:gd name="T4" fmla="*/ 83 w 118"/>
              <a:gd name="T5" fmla="*/ 19 h 119"/>
              <a:gd name="T6" fmla="*/ 74 w 118"/>
              <a:gd name="T7" fmla="*/ 26 h 119"/>
              <a:gd name="T8" fmla="*/ 73 w 118"/>
              <a:gd name="T9" fmla="*/ 35 h 119"/>
              <a:gd name="T10" fmla="*/ 80 w 118"/>
              <a:gd name="T11" fmla="*/ 33 h 119"/>
              <a:gd name="T12" fmla="*/ 82 w 118"/>
              <a:gd name="T13" fmla="*/ 27 h 119"/>
              <a:gd name="T14" fmla="*/ 97 w 118"/>
              <a:gd name="T15" fmla="*/ 28 h 119"/>
              <a:gd name="T16" fmla="*/ 110 w 118"/>
              <a:gd name="T17" fmla="*/ 20 h 119"/>
              <a:gd name="T18" fmla="*/ 111 w 118"/>
              <a:gd name="T19" fmla="*/ 13 h 119"/>
              <a:gd name="T20" fmla="*/ 73 w 118"/>
              <a:gd name="T21" fmla="*/ 50 h 119"/>
              <a:gd name="T22" fmla="*/ 65 w 118"/>
              <a:gd name="T23" fmla="*/ 66 h 119"/>
              <a:gd name="T24" fmla="*/ 54 w 118"/>
              <a:gd name="T25" fmla="*/ 69 h 119"/>
              <a:gd name="T26" fmla="*/ 45 w 118"/>
              <a:gd name="T27" fmla="*/ 81 h 119"/>
              <a:gd name="T28" fmla="*/ 32 w 118"/>
              <a:gd name="T29" fmla="*/ 84 h 119"/>
              <a:gd name="T30" fmla="*/ 11 w 118"/>
              <a:gd name="T31" fmla="*/ 92 h 119"/>
              <a:gd name="T32" fmla="*/ 19 w 118"/>
              <a:gd name="T33" fmla="*/ 95 h 119"/>
              <a:gd name="T34" fmla="*/ 39 w 118"/>
              <a:gd name="T35" fmla="*/ 97 h 119"/>
              <a:gd name="T36" fmla="*/ 50 w 118"/>
              <a:gd name="T37" fmla="*/ 91 h 119"/>
              <a:gd name="T38" fmla="*/ 61 w 118"/>
              <a:gd name="T39" fmla="*/ 90 h 119"/>
              <a:gd name="T40" fmla="*/ 70 w 118"/>
              <a:gd name="T41" fmla="*/ 86 h 119"/>
              <a:gd name="T42" fmla="*/ 78 w 118"/>
              <a:gd name="T43" fmla="*/ 75 h 119"/>
              <a:gd name="T44" fmla="*/ 86 w 118"/>
              <a:gd name="T45" fmla="*/ 57 h 119"/>
              <a:gd name="T46" fmla="*/ 74 w 118"/>
              <a:gd name="T47" fmla="*/ 41 h 119"/>
              <a:gd name="T48" fmla="*/ 23 w 118"/>
              <a:gd name="T49" fmla="*/ 96 h 119"/>
              <a:gd name="T50" fmla="*/ 26 w 118"/>
              <a:gd name="T51" fmla="*/ 103 h 119"/>
              <a:gd name="T52" fmla="*/ 36 w 118"/>
              <a:gd name="T53" fmla="*/ 95 h 119"/>
              <a:gd name="T54" fmla="*/ 15 w 118"/>
              <a:gd name="T55" fmla="*/ 102 h 119"/>
              <a:gd name="T56" fmla="*/ 4 w 118"/>
              <a:gd name="T57" fmla="*/ 100 h 119"/>
              <a:gd name="T58" fmla="*/ 5 w 118"/>
              <a:gd name="T59" fmla="*/ 103 h 119"/>
              <a:gd name="T60" fmla="*/ 9 w 118"/>
              <a:gd name="T61" fmla="*/ 118 h 119"/>
              <a:gd name="T62" fmla="*/ 15 w 118"/>
              <a:gd name="T63" fmla="*/ 10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8" h="119">
                <a:moveTo>
                  <a:pt x="111" y="13"/>
                </a:moveTo>
                <a:cubicBezTo>
                  <a:pt x="110" y="12"/>
                  <a:pt x="108" y="14"/>
                  <a:pt x="105" y="15"/>
                </a:cubicBezTo>
                <a:cubicBezTo>
                  <a:pt x="101" y="16"/>
                  <a:pt x="92" y="8"/>
                  <a:pt x="89" y="4"/>
                </a:cubicBezTo>
                <a:cubicBezTo>
                  <a:pt x="87" y="0"/>
                  <a:pt x="83" y="3"/>
                  <a:pt x="85" y="6"/>
                </a:cubicBezTo>
                <a:cubicBezTo>
                  <a:pt x="87" y="9"/>
                  <a:pt x="85" y="10"/>
                  <a:pt x="85" y="13"/>
                </a:cubicBezTo>
                <a:cubicBezTo>
                  <a:pt x="85" y="17"/>
                  <a:pt x="82" y="17"/>
                  <a:pt x="83" y="19"/>
                </a:cubicBezTo>
                <a:cubicBezTo>
                  <a:pt x="83" y="22"/>
                  <a:pt x="79" y="21"/>
                  <a:pt x="77" y="22"/>
                </a:cubicBezTo>
                <a:cubicBezTo>
                  <a:pt x="74" y="22"/>
                  <a:pt x="77" y="25"/>
                  <a:pt x="74" y="26"/>
                </a:cubicBezTo>
                <a:cubicBezTo>
                  <a:pt x="71" y="27"/>
                  <a:pt x="72" y="29"/>
                  <a:pt x="73" y="30"/>
                </a:cubicBezTo>
                <a:cubicBezTo>
                  <a:pt x="74" y="31"/>
                  <a:pt x="73" y="33"/>
                  <a:pt x="73" y="35"/>
                </a:cubicBezTo>
                <a:cubicBezTo>
                  <a:pt x="73" y="37"/>
                  <a:pt x="75" y="36"/>
                  <a:pt x="76" y="34"/>
                </a:cubicBezTo>
                <a:cubicBezTo>
                  <a:pt x="78" y="32"/>
                  <a:pt x="80" y="35"/>
                  <a:pt x="80" y="33"/>
                </a:cubicBezTo>
                <a:cubicBezTo>
                  <a:pt x="81" y="31"/>
                  <a:pt x="76" y="30"/>
                  <a:pt x="76" y="28"/>
                </a:cubicBezTo>
                <a:cubicBezTo>
                  <a:pt x="76" y="26"/>
                  <a:pt x="79" y="29"/>
                  <a:pt x="82" y="27"/>
                </a:cubicBezTo>
                <a:cubicBezTo>
                  <a:pt x="84" y="26"/>
                  <a:pt x="89" y="27"/>
                  <a:pt x="92" y="30"/>
                </a:cubicBezTo>
                <a:cubicBezTo>
                  <a:pt x="95" y="32"/>
                  <a:pt x="96" y="31"/>
                  <a:pt x="97" y="28"/>
                </a:cubicBezTo>
                <a:cubicBezTo>
                  <a:pt x="97" y="25"/>
                  <a:pt x="102" y="23"/>
                  <a:pt x="107" y="23"/>
                </a:cubicBezTo>
                <a:cubicBezTo>
                  <a:pt x="111" y="23"/>
                  <a:pt x="112" y="21"/>
                  <a:pt x="110" y="20"/>
                </a:cubicBezTo>
                <a:cubicBezTo>
                  <a:pt x="109" y="19"/>
                  <a:pt x="118" y="13"/>
                  <a:pt x="118" y="12"/>
                </a:cubicBezTo>
                <a:cubicBezTo>
                  <a:pt x="118" y="10"/>
                  <a:pt x="113" y="15"/>
                  <a:pt x="111" y="13"/>
                </a:cubicBezTo>
                <a:close/>
                <a:moveTo>
                  <a:pt x="74" y="41"/>
                </a:moveTo>
                <a:cubicBezTo>
                  <a:pt x="72" y="42"/>
                  <a:pt x="71" y="49"/>
                  <a:pt x="73" y="50"/>
                </a:cubicBezTo>
                <a:cubicBezTo>
                  <a:pt x="75" y="52"/>
                  <a:pt x="69" y="56"/>
                  <a:pt x="69" y="60"/>
                </a:cubicBezTo>
                <a:cubicBezTo>
                  <a:pt x="69" y="64"/>
                  <a:pt x="66" y="64"/>
                  <a:pt x="65" y="66"/>
                </a:cubicBezTo>
                <a:cubicBezTo>
                  <a:pt x="64" y="69"/>
                  <a:pt x="62" y="69"/>
                  <a:pt x="59" y="71"/>
                </a:cubicBezTo>
                <a:cubicBezTo>
                  <a:pt x="55" y="74"/>
                  <a:pt x="53" y="71"/>
                  <a:pt x="54" y="69"/>
                </a:cubicBezTo>
                <a:cubicBezTo>
                  <a:pt x="55" y="67"/>
                  <a:pt x="49" y="70"/>
                  <a:pt x="49" y="75"/>
                </a:cubicBezTo>
                <a:cubicBezTo>
                  <a:pt x="49" y="79"/>
                  <a:pt x="43" y="79"/>
                  <a:pt x="45" y="81"/>
                </a:cubicBezTo>
                <a:cubicBezTo>
                  <a:pt x="46" y="83"/>
                  <a:pt x="40" y="85"/>
                  <a:pt x="41" y="83"/>
                </a:cubicBezTo>
                <a:cubicBezTo>
                  <a:pt x="41" y="81"/>
                  <a:pt x="37" y="82"/>
                  <a:pt x="32" y="84"/>
                </a:cubicBezTo>
                <a:cubicBezTo>
                  <a:pt x="28" y="86"/>
                  <a:pt x="25" y="82"/>
                  <a:pt x="22" y="85"/>
                </a:cubicBezTo>
                <a:cubicBezTo>
                  <a:pt x="19" y="87"/>
                  <a:pt x="15" y="92"/>
                  <a:pt x="11" y="92"/>
                </a:cubicBezTo>
                <a:cubicBezTo>
                  <a:pt x="8" y="93"/>
                  <a:pt x="10" y="97"/>
                  <a:pt x="11" y="97"/>
                </a:cubicBezTo>
                <a:cubicBezTo>
                  <a:pt x="14" y="95"/>
                  <a:pt x="18" y="97"/>
                  <a:pt x="19" y="95"/>
                </a:cubicBezTo>
                <a:cubicBezTo>
                  <a:pt x="20" y="93"/>
                  <a:pt x="30" y="91"/>
                  <a:pt x="36" y="90"/>
                </a:cubicBezTo>
                <a:cubicBezTo>
                  <a:pt x="42" y="90"/>
                  <a:pt x="39" y="93"/>
                  <a:pt x="39" y="97"/>
                </a:cubicBezTo>
                <a:cubicBezTo>
                  <a:pt x="40" y="100"/>
                  <a:pt x="45" y="99"/>
                  <a:pt x="47" y="96"/>
                </a:cubicBezTo>
                <a:cubicBezTo>
                  <a:pt x="50" y="93"/>
                  <a:pt x="52" y="93"/>
                  <a:pt x="50" y="91"/>
                </a:cubicBezTo>
                <a:cubicBezTo>
                  <a:pt x="48" y="90"/>
                  <a:pt x="50" y="88"/>
                  <a:pt x="52" y="90"/>
                </a:cubicBezTo>
                <a:cubicBezTo>
                  <a:pt x="53" y="93"/>
                  <a:pt x="59" y="93"/>
                  <a:pt x="61" y="90"/>
                </a:cubicBezTo>
                <a:cubicBezTo>
                  <a:pt x="63" y="87"/>
                  <a:pt x="63" y="90"/>
                  <a:pt x="66" y="90"/>
                </a:cubicBezTo>
                <a:cubicBezTo>
                  <a:pt x="68" y="90"/>
                  <a:pt x="69" y="84"/>
                  <a:pt x="70" y="86"/>
                </a:cubicBezTo>
                <a:cubicBezTo>
                  <a:pt x="70" y="88"/>
                  <a:pt x="74" y="88"/>
                  <a:pt x="76" y="85"/>
                </a:cubicBezTo>
                <a:cubicBezTo>
                  <a:pt x="79" y="82"/>
                  <a:pt x="76" y="78"/>
                  <a:pt x="78" y="75"/>
                </a:cubicBezTo>
                <a:cubicBezTo>
                  <a:pt x="80" y="73"/>
                  <a:pt x="81" y="68"/>
                  <a:pt x="80" y="65"/>
                </a:cubicBezTo>
                <a:cubicBezTo>
                  <a:pt x="78" y="62"/>
                  <a:pt x="83" y="60"/>
                  <a:pt x="86" y="57"/>
                </a:cubicBezTo>
                <a:cubicBezTo>
                  <a:pt x="89" y="55"/>
                  <a:pt x="83" y="43"/>
                  <a:pt x="83" y="39"/>
                </a:cubicBezTo>
                <a:cubicBezTo>
                  <a:pt x="83" y="35"/>
                  <a:pt x="76" y="40"/>
                  <a:pt x="74" y="41"/>
                </a:cubicBezTo>
                <a:close/>
                <a:moveTo>
                  <a:pt x="29" y="94"/>
                </a:moveTo>
                <a:cubicBezTo>
                  <a:pt x="28" y="97"/>
                  <a:pt x="26" y="95"/>
                  <a:pt x="23" y="96"/>
                </a:cubicBezTo>
                <a:cubicBezTo>
                  <a:pt x="19" y="97"/>
                  <a:pt x="19" y="104"/>
                  <a:pt x="22" y="105"/>
                </a:cubicBezTo>
                <a:cubicBezTo>
                  <a:pt x="23" y="106"/>
                  <a:pt x="25" y="106"/>
                  <a:pt x="26" y="103"/>
                </a:cubicBezTo>
                <a:cubicBezTo>
                  <a:pt x="26" y="101"/>
                  <a:pt x="29" y="100"/>
                  <a:pt x="31" y="101"/>
                </a:cubicBezTo>
                <a:cubicBezTo>
                  <a:pt x="33" y="102"/>
                  <a:pt x="36" y="98"/>
                  <a:pt x="36" y="95"/>
                </a:cubicBezTo>
                <a:cubicBezTo>
                  <a:pt x="36" y="92"/>
                  <a:pt x="30" y="92"/>
                  <a:pt x="29" y="94"/>
                </a:cubicBezTo>
                <a:close/>
                <a:moveTo>
                  <a:pt x="15" y="102"/>
                </a:moveTo>
                <a:cubicBezTo>
                  <a:pt x="15" y="100"/>
                  <a:pt x="11" y="101"/>
                  <a:pt x="10" y="99"/>
                </a:cubicBezTo>
                <a:cubicBezTo>
                  <a:pt x="10" y="97"/>
                  <a:pt x="7" y="98"/>
                  <a:pt x="4" y="100"/>
                </a:cubicBezTo>
                <a:cubicBezTo>
                  <a:pt x="1" y="102"/>
                  <a:pt x="0" y="103"/>
                  <a:pt x="1" y="105"/>
                </a:cubicBezTo>
                <a:cubicBezTo>
                  <a:pt x="3" y="107"/>
                  <a:pt x="4" y="105"/>
                  <a:pt x="5" y="103"/>
                </a:cubicBezTo>
                <a:cubicBezTo>
                  <a:pt x="6" y="101"/>
                  <a:pt x="8" y="106"/>
                  <a:pt x="6" y="110"/>
                </a:cubicBezTo>
                <a:cubicBezTo>
                  <a:pt x="4" y="114"/>
                  <a:pt x="6" y="119"/>
                  <a:pt x="9" y="118"/>
                </a:cubicBezTo>
                <a:cubicBezTo>
                  <a:pt x="11" y="118"/>
                  <a:pt x="14" y="111"/>
                  <a:pt x="17" y="107"/>
                </a:cubicBezTo>
                <a:cubicBezTo>
                  <a:pt x="20" y="103"/>
                  <a:pt x="15" y="104"/>
                  <a:pt x="15" y="102"/>
                </a:cubicBezTo>
                <a:close/>
              </a:path>
            </a:pathLst>
          </a:custGeom>
          <a:solidFill>
            <a:srgbClr val="B3647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2" name="Freeform 148"/>
          <p:cNvSpPr>
            <a:spLocks noEditPoints="1"/>
          </p:cNvSpPr>
          <p:nvPr/>
        </p:nvSpPr>
        <p:spPr bwMode="auto">
          <a:xfrm>
            <a:off x="5668442" y="1976885"/>
            <a:ext cx="1176338" cy="814388"/>
          </a:xfrm>
          <a:custGeom>
            <a:avLst/>
            <a:gdLst>
              <a:gd name="T0" fmla="*/ 393 w 413"/>
              <a:gd name="T1" fmla="*/ 54 h 286"/>
              <a:gd name="T2" fmla="*/ 373 w 413"/>
              <a:gd name="T3" fmla="*/ 39 h 286"/>
              <a:gd name="T4" fmla="*/ 356 w 413"/>
              <a:gd name="T5" fmla="*/ 16 h 286"/>
              <a:gd name="T6" fmla="*/ 332 w 413"/>
              <a:gd name="T7" fmla="*/ 1 h 286"/>
              <a:gd name="T8" fmla="*/ 316 w 413"/>
              <a:gd name="T9" fmla="*/ 13 h 286"/>
              <a:gd name="T10" fmla="*/ 302 w 413"/>
              <a:gd name="T11" fmla="*/ 33 h 286"/>
              <a:gd name="T12" fmla="*/ 282 w 413"/>
              <a:gd name="T13" fmla="*/ 45 h 286"/>
              <a:gd name="T14" fmla="*/ 294 w 413"/>
              <a:gd name="T15" fmla="*/ 53 h 286"/>
              <a:gd name="T16" fmla="*/ 294 w 413"/>
              <a:gd name="T17" fmla="*/ 64 h 286"/>
              <a:gd name="T18" fmla="*/ 258 w 413"/>
              <a:gd name="T19" fmla="*/ 77 h 286"/>
              <a:gd name="T20" fmla="*/ 232 w 413"/>
              <a:gd name="T21" fmla="*/ 99 h 286"/>
              <a:gd name="T22" fmla="*/ 192 w 413"/>
              <a:gd name="T23" fmla="*/ 101 h 286"/>
              <a:gd name="T24" fmla="*/ 147 w 413"/>
              <a:gd name="T25" fmla="*/ 96 h 286"/>
              <a:gd name="T26" fmla="*/ 128 w 413"/>
              <a:gd name="T27" fmla="*/ 77 h 286"/>
              <a:gd name="T28" fmla="*/ 111 w 413"/>
              <a:gd name="T29" fmla="*/ 55 h 286"/>
              <a:gd name="T30" fmla="*/ 93 w 413"/>
              <a:gd name="T31" fmla="*/ 40 h 286"/>
              <a:gd name="T32" fmla="*/ 84 w 413"/>
              <a:gd name="T33" fmla="*/ 46 h 286"/>
              <a:gd name="T34" fmla="*/ 67 w 413"/>
              <a:gd name="T35" fmla="*/ 59 h 286"/>
              <a:gd name="T36" fmla="*/ 54 w 413"/>
              <a:gd name="T37" fmla="*/ 74 h 286"/>
              <a:gd name="T38" fmla="*/ 47 w 413"/>
              <a:gd name="T39" fmla="*/ 92 h 286"/>
              <a:gd name="T40" fmla="*/ 32 w 413"/>
              <a:gd name="T41" fmla="*/ 107 h 286"/>
              <a:gd name="T42" fmla="*/ 12 w 413"/>
              <a:gd name="T43" fmla="*/ 114 h 286"/>
              <a:gd name="T44" fmla="*/ 0 w 413"/>
              <a:gd name="T45" fmla="*/ 123 h 286"/>
              <a:gd name="T46" fmla="*/ 9 w 413"/>
              <a:gd name="T47" fmla="*/ 142 h 286"/>
              <a:gd name="T48" fmla="*/ 24 w 413"/>
              <a:gd name="T49" fmla="*/ 155 h 286"/>
              <a:gd name="T50" fmla="*/ 36 w 413"/>
              <a:gd name="T51" fmla="*/ 151 h 286"/>
              <a:gd name="T52" fmla="*/ 34 w 413"/>
              <a:gd name="T53" fmla="*/ 169 h 286"/>
              <a:gd name="T54" fmla="*/ 34 w 413"/>
              <a:gd name="T55" fmla="*/ 186 h 286"/>
              <a:gd name="T56" fmla="*/ 47 w 413"/>
              <a:gd name="T57" fmla="*/ 197 h 286"/>
              <a:gd name="T58" fmla="*/ 84 w 413"/>
              <a:gd name="T59" fmla="*/ 212 h 286"/>
              <a:gd name="T60" fmla="*/ 99 w 413"/>
              <a:gd name="T61" fmla="*/ 216 h 286"/>
              <a:gd name="T62" fmla="*/ 112 w 413"/>
              <a:gd name="T63" fmla="*/ 212 h 286"/>
              <a:gd name="T64" fmla="*/ 128 w 413"/>
              <a:gd name="T65" fmla="*/ 208 h 286"/>
              <a:gd name="T66" fmla="*/ 148 w 413"/>
              <a:gd name="T67" fmla="*/ 208 h 286"/>
              <a:gd name="T68" fmla="*/ 159 w 413"/>
              <a:gd name="T69" fmla="*/ 215 h 286"/>
              <a:gd name="T70" fmla="*/ 156 w 413"/>
              <a:gd name="T71" fmla="*/ 242 h 286"/>
              <a:gd name="T72" fmla="*/ 167 w 413"/>
              <a:gd name="T73" fmla="*/ 256 h 286"/>
              <a:gd name="T74" fmla="*/ 182 w 413"/>
              <a:gd name="T75" fmla="*/ 263 h 286"/>
              <a:gd name="T76" fmla="*/ 193 w 413"/>
              <a:gd name="T77" fmla="*/ 252 h 286"/>
              <a:gd name="T78" fmla="*/ 215 w 413"/>
              <a:gd name="T79" fmla="*/ 250 h 286"/>
              <a:gd name="T80" fmla="*/ 229 w 413"/>
              <a:gd name="T81" fmla="*/ 260 h 286"/>
              <a:gd name="T82" fmla="*/ 240 w 413"/>
              <a:gd name="T83" fmla="*/ 269 h 286"/>
              <a:gd name="T84" fmla="*/ 272 w 413"/>
              <a:gd name="T85" fmla="*/ 252 h 286"/>
              <a:gd name="T86" fmla="*/ 296 w 413"/>
              <a:gd name="T87" fmla="*/ 239 h 286"/>
              <a:gd name="T88" fmla="*/ 308 w 413"/>
              <a:gd name="T89" fmla="*/ 225 h 286"/>
              <a:gd name="T90" fmla="*/ 319 w 413"/>
              <a:gd name="T91" fmla="*/ 211 h 286"/>
              <a:gd name="T92" fmla="*/ 322 w 413"/>
              <a:gd name="T93" fmla="*/ 197 h 286"/>
              <a:gd name="T94" fmla="*/ 318 w 413"/>
              <a:gd name="T95" fmla="*/ 187 h 286"/>
              <a:gd name="T96" fmla="*/ 317 w 413"/>
              <a:gd name="T97" fmla="*/ 177 h 286"/>
              <a:gd name="T98" fmla="*/ 308 w 413"/>
              <a:gd name="T99" fmla="*/ 154 h 286"/>
              <a:gd name="T100" fmla="*/ 327 w 413"/>
              <a:gd name="T101" fmla="*/ 143 h 286"/>
              <a:gd name="T102" fmla="*/ 303 w 413"/>
              <a:gd name="T103" fmla="*/ 137 h 286"/>
              <a:gd name="T104" fmla="*/ 312 w 413"/>
              <a:gd name="T105" fmla="*/ 118 h 286"/>
              <a:gd name="T106" fmla="*/ 323 w 413"/>
              <a:gd name="T107" fmla="*/ 127 h 286"/>
              <a:gd name="T108" fmla="*/ 354 w 413"/>
              <a:gd name="T109" fmla="*/ 110 h 286"/>
              <a:gd name="T110" fmla="*/ 370 w 413"/>
              <a:gd name="T111" fmla="*/ 103 h 286"/>
              <a:gd name="T112" fmla="*/ 386 w 413"/>
              <a:gd name="T113" fmla="*/ 96 h 286"/>
              <a:gd name="T114" fmla="*/ 388 w 413"/>
              <a:gd name="T115" fmla="*/ 78 h 286"/>
              <a:gd name="T116" fmla="*/ 407 w 413"/>
              <a:gd name="T117" fmla="*/ 66 h 286"/>
              <a:gd name="T118" fmla="*/ 315 w 413"/>
              <a:gd name="T119" fmla="*/ 256 h 286"/>
              <a:gd name="T120" fmla="*/ 232 w 413"/>
              <a:gd name="T121" fmla="*/ 281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3" h="286">
                <a:moveTo>
                  <a:pt x="411" y="51"/>
                </a:moveTo>
                <a:cubicBezTo>
                  <a:pt x="411" y="47"/>
                  <a:pt x="407" y="49"/>
                  <a:pt x="405" y="50"/>
                </a:cubicBezTo>
                <a:cubicBezTo>
                  <a:pt x="404" y="51"/>
                  <a:pt x="400" y="50"/>
                  <a:pt x="399" y="52"/>
                </a:cubicBezTo>
                <a:cubicBezTo>
                  <a:pt x="397" y="55"/>
                  <a:pt x="395" y="53"/>
                  <a:pt x="393" y="54"/>
                </a:cubicBezTo>
                <a:cubicBezTo>
                  <a:pt x="390" y="54"/>
                  <a:pt x="386" y="53"/>
                  <a:pt x="386" y="51"/>
                </a:cubicBezTo>
                <a:cubicBezTo>
                  <a:pt x="386" y="49"/>
                  <a:pt x="384" y="47"/>
                  <a:pt x="384" y="45"/>
                </a:cubicBezTo>
                <a:cubicBezTo>
                  <a:pt x="385" y="43"/>
                  <a:pt x="382" y="44"/>
                  <a:pt x="380" y="42"/>
                </a:cubicBezTo>
                <a:cubicBezTo>
                  <a:pt x="377" y="40"/>
                  <a:pt x="373" y="38"/>
                  <a:pt x="373" y="39"/>
                </a:cubicBezTo>
                <a:cubicBezTo>
                  <a:pt x="372" y="39"/>
                  <a:pt x="369" y="36"/>
                  <a:pt x="366" y="36"/>
                </a:cubicBezTo>
                <a:cubicBezTo>
                  <a:pt x="362" y="36"/>
                  <a:pt x="363" y="34"/>
                  <a:pt x="363" y="32"/>
                </a:cubicBezTo>
                <a:cubicBezTo>
                  <a:pt x="364" y="31"/>
                  <a:pt x="360" y="26"/>
                  <a:pt x="360" y="24"/>
                </a:cubicBezTo>
                <a:cubicBezTo>
                  <a:pt x="359" y="22"/>
                  <a:pt x="357" y="21"/>
                  <a:pt x="356" y="16"/>
                </a:cubicBezTo>
                <a:cubicBezTo>
                  <a:pt x="355" y="11"/>
                  <a:pt x="352" y="12"/>
                  <a:pt x="352" y="10"/>
                </a:cubicBezTo>
                <a:cubicBezTo>
                  <a:pt x="353" y="7"/>
                  <a:pt x="349" y="6"/>
                  <a:pt x="348" y="4"/>
                </a:cubicBezTo>
                <a:cubicBezTo>
                  <a:pt x="347" y="3"/>
                  <a:pt x="343" y="4"/>
                  <a:pt x="340" y="2"/>
                </a:cubicBezTo>
                <a:cubicBezTo>
                  <a:pt x="337" y="0"/>
                  <a:pt x="335" y="2"/>
                  <a:pt x="332" y="1"/>
                </a:cubicBezTo>
                <a:cubicBezTo>
                  <a:pt x="329" y="0"/>
                  <a:pt x="323" y="2"/>
                  <a:pt x="322" y="2"/>
                </a:cubicBezTo>
                <a:cubicBezTo>
                  <a:pt x="321" y="2"/>
                  <a:pt x="316" y="1"/>
                  <a:pt x="313" y="4"/>
                </a:cubicBezTo>
                <a:cubicBezTo>
                  <a:pt x="310" y="8"/>
                  <a:pt x="312" y="8"/>
                  <a:pt x="314" y="8"/>
                </a:cubicBezTo>
                <a:cubicBezTo>
                  <a:pt x="315" y="8"/>
                  <a:pt x="315" y="12"/>
                  <a:pt x="316" y="13"/>
                </a:cubicBezTo>
                <a:cubicBezTo>
                  <a:pt x="316" y="14"/>
                  <a:pt x="314" y="16"/>
                  <a:pt x="313" y="16"/>
                </a:cubicBezTo>
                <a:cubicBezTo>
                  <a:pt x="312" y="17"/>
                  <a:pt x="309" y="21"/>
                  <a:pt x="308" y="23"/>
                </a:cubicBezTo>
                <a:cubicBezTo>
                  <a:pt x="308" y="25"/>
                  <a:pt x="305" y="29"/>
                  <a:pt x="305" y="30"/>
                </a:cubicBezTo>
                <a:cubicBezTo>
                  <a:pt x="305" y="32"/>
                  <a:pt x="303" y="33"/>
                  <a:pt x="302" y="33"/>
                </a:cubicBezTo>
                <a:cubicBezTo>
                  <a:pt x="301" y="33"/>
                  <a:pt x="297" y="36"/>
                  <a:pt x="295" y="37"/>
                </a:cubicBezTo>
                <a:cubicBezTo>
                  <a:pt x="294" y="37"/>
                  <a:pt x="289" y="36"/>
                  <a:pt x="289" y="35"/>
                </a:cubicBezTo>
                <a:cubicBezTo>
                  <a:pt x="289" y="34"/>
                  <a:pt x="288" y="34"/>
                  <a:pt x="287" y="34"/>
                </a:cubicBezTo>
                <a:cubicBezTo>
                  <a:pt x="282" y="45"/>
                  <a:pt x="282" y="45"/>
                  <a:pt x="282" y="45"/>
                </a:cubicBezTo>
                <a:cubicBezTo>
                  <a:pt x="281" y="48"/>
                  <a:pt x="281" y="48"/>
                  <a:pt x="281" y="48"/>
                </a:cubicBezTo>
                <a:cubicBezTo>
                  <a:pt x="281" y="48"/>
                  <a:pt x="278" y="49"/>
                  <a:pt x="280" y="52"/>
                </a:cubicBezTo>
                <a:cubicBezTo>
                  <a:pt x="283" y="54"/>
                  <a:pt x="283" y="52"/>
                  <a:pt x="287" y="52"/>
                </a:cubicBezTo>
                <a:cubicBezTo>
                  <a:pt x="291" y="52"/>
                  <a:pt x="293" y="55"/>
                  <a:pt x="294" y="53"/>
                </a:cubicBezTo>
                <a:cubicBezTo>
                  <a:pt x="295" y="51"/>
                  <a:pt x="299" y="50"/>
                  <a:pt x="301" y="52"/>
                </a:cubicBezTo>
                <a:cubicBezTo>
                  <a:pt x="303" y="55"/>
                  <a:pt x="310" y="59"/>
                  <a:pt x="310" y="61"/>
                </a:cubicBezTo>
                <a:cubicBezTo>
                  <a:pt x="309" y="64"/>
                  <a:pt x="305" y="63"/>
                  <a:pt x="303" y="62"/>
                </a:cubicBezTo>
                <a:cubicBezTo>
                  <a:pt x="300" y="61"/>
                  <a:pt x="296" y="64"/>
                  <a:pt x="294" y="64"/>
                </a:cubicBezTo>
                <a:cubicBezTo>
                  <a:pt x="291" y="64"/>
                  <a:pt x="288" y="65"/>
                  <a:pt x="285" y="68"/>
                </a:cubicBezTo>
                <a:cubicBezTo>
                  <a:pt x="283" y="70"/>
                  <a:pt x="283" y="73"/>
                  <a:pt x="279" y="73"/>
                </a:cubicBezTo>
                <a:cubicBezTo>
                  <a:pt x="275" y="74"/>
                  <a:pt x="273" y="73"/>
                  <a:pt x="269" y="77"/>
                </a:cubicBezTo>
                <a:cubicBezTo>
                  <a:pt x="264" y="80"/>
                  <a:pt x="260" y="78"/>
                  <a:pt x="258" y="77"/>
                </a:cubicBezTo>
                <a:cubicBezTo>
                  <a:pt x="256" y="77"/>
                  <a:pt x="253" y="76"/>
                  <a:pt x="251" y="79"/>
                </a:cubicBezTo>
                <a:cubicBezTo>
                  <a:pt x="249" y="82"/>
                  <a:pt x="253" y="84"/>
                  <a:pt x="253" y="87"/>
                </a:cubicBezTo>
                <a:cubicBezTo>
                  <a:pt x="252" y="91"/>
                  <a:pt x="248" y="90"/>
                  <a:pt x="244" y="94"/>
                </a:cubicBezTo>
                <a:cubicBezTo>
                  <a:pt x="241" y="98"/>
                  <a:pt x="235" y="100"/>
                  <a:pt x="232" y="99"/>
                </a:cubicBezTo>
                <a:cubicBezTo>
                  <a:pt x="229" y="99"/>
                  <a:pt x="222" y="97"/>
                  <a:pt x="217" y="100"/>
                </a:cubicBezTo>
                <a:cubicBezTo>
                  <a:pt x="211" y="102"/>
                  <a:pt x="207" y="106"/>
                  <a:pt x="205" y="106"/>
                </a:cubicBezTo>
                <a:cubicBezTo>
                  <a:pt x="202" y="105"/>
                  <a:pt x="202" y="103"/>
                  <a:pt x="199" y="103"/>
                </a:cubicBezTo>
                <a:cubicBezTo>
                  <a:pt x="196" y="104"/>
                  <a:pt x="194" y="103"/>
                  <a:pt x="192" y="101"/>
                </a:cubicBezTo>
                <a:cubicBezTo>
                  <a:pt x="190" y="100"/>
                  <a:pt x="188" y="102"/>
                  <a:pt x="185" y="100"/>
                </a:cubicBezTo>
                <a:cubicBezTo>
                  <a:pt x="181" y="97"/>
                  <a:pt x="175" y="97"/>
                  <a:pt x="172" y="97"/>
                </a:cubicBezTo>
                <a:cubicBezTo>
                  <a:pt x="169" y="97"/>
                  <a:pt x="159" y="97"/>
                  <a:pt x="156" y="97"/>
                </a:cubicBezTo>
                <a:cubicBezTo>
                  <a:pt x="152" y="96"/>
                  <a:pt x="147" y="97"/>
                  <a:pt x="147" y="96"/>
                </a:cubicBezTo>
                <a:cubicBezTo>
                  <a:pt x="146" y="94"/>
                  <a:pt x="144" y="93"/>
                  <a:pt x="143" y="89"/>
                </a:cubicBezTo>
                <a:cubicBezTo>
                  <a:pt x="142" y="85"/>
                  <a:pt x="140" y="83"/>
                  <a:pt x="138" y="83"/>
                </a:cubicBezTo>
                <a:cubicBezTo>
                  <a:pt x="135" y="82"/>
                  <a:pt x="135" y="80"/>
                  <a:pt x="133" y="80"/>
                </a:cubicBezTo>
                <a:cubicBezTo>
                  <a:pt x="132" y="80"/>
                  <a:pt x="131" y="77"/>
                  <a:pt x="128" y="77"/>
                </a:cubicBezTo>
                <a:cubicBezTo>
                  <a:pt x="125" y="77"/>
                  <a:pt x="114" y="75"/>
                  <a:pt x="112" y="73"/>
                </a:cubicBezTo>
                <a:cubicBezTo>
                  <a:pt x="111" y="70"/>
                  <a:pt x="114" y="70"/>
                  <a:pt x="114" y="67"/>
                </a:cubicBezTo>
                <a:cubicBezTo>
                  <a:pt x="114" y="65"/>
                  <a:pt x="116" y="61"/>
                  <a:pt x="114" y="60"/>
                </a:cubicBezTo>
                <a:cubicBezTo>
                  <a:pt x="113" y="59"/>
                  <a:pt x="111" y="57"/>
                  <a:pt x="111" y="55"/>
                </a:cubicBezTo>
                <a:cubicBezTo>
                  <a:pt x="110" y="53"/>
                  <a:pt x="107" y="50"/>
                  <a:pt x="105" y="50"/>
                </a:cubicBezTo>
                <a:cubicBezTo>
                  <a:pt x="103" y="50"/>
                  <a:pt x="101" y="49"/>
                  <a:pt x="99" y="47"/>
                </a:cubicBezTo>
                <a:cubicBezTo>
                  <a:pt x="97" y="45"/>
                  <a:pt x="95" y="45"/>
                  <a:pt x="94" y="40"/>
                </a:cubicBezTo>
                <a:cubicBezTo>
                  <a:pt x="94" y="40"/>
                  <a:pt x="94" y="40"/>
                  <a:pt x="93" y="40"/>
                </a:cubicBezTo>
                <a:cubicBezTo>
                  <a:pt x="93" y="40"/>
                  <a:pt x="92" y="39"/>
                  <a:pt x="91" y="39"/>
                </a:cubicBezTo>
                <a:cubicBezTo>
                  <a:pt x="90" y="39"/>
                  <a:pt x="90" y="39"/>
                  <a:pt x="89" y="38"/>
                </a:cubicBezTo>
                <a:cubicBezTo>
                  <a:pt x="89" y="40"/>
                  <a:pt x="87" y="41"/>
                  <a:pt x="87" y="43"/>
                </a:cubicBezTo>
                <a:cubicBezTo>
                  <a:pt x="87" y="44"/>
                  <a:pt x="86" y="46"/>
                  <a:pt x="84" y="46"/>
                </a:cubicBezTo>
                <a:cubicBezTo>
                  <a:pt x="81" y="46"/>
                  <a:pt x="79" y="48"/>
                  <a:pt x="79" y="52"/>
                </a:cubicBezTo>
                <a:cubicBezTo>
                  <a:pt x="79" y="55"/>
                  <a:pt x="81" y="56"/>
                  <a:pt x="80" y="57"/>
                </a:cubicBezTo>
                <a:cubicBezTo>
                  <a:pt x="79" y="59"/>
                  <a:pt x="75" y="60"/>
                  <a:pt x="74" y="60"/>
                </a:cubicBezTo>
                <a:cubicBezTo>
                  <a:pt x="72" y="59"/>
                  <a:pt x="70" y="59"/>
                  <a:pt x="67" y="59"/>
                </a:cubicBezTo>
                <a:cubicBezTo>
                  <a:pt x="65" y="59"/>
                  <a:pt x="63" y="56"/>
                  <a:pt x="63" y="59"/>
                </a:cubicBezTo>
                <a:cubicBezTo>
                  <a:pt x="62" y="62"/>
                  <a:pt x="57" y="71"/>
                  <a:pt x="58" y="72"/>
                </a:cubicBezTo>
                <a:cubicBezTo>
                  <a:pt x="60" y="73"/>
                  <a:pt x="60" y="75"/>
                  <a:pt x="58" y="75"/>
                </a:cubicBezTo>
                <a:cubicBezTo>
                  <a:pt x="57" y="75"/>
                  <a:pt x="55" y="75"/>
                  <a:pt x="54" y="74"/>
                </a:cubicBezTo>
                <a:cubicBezTo>
                  <a:pt x="53" y="73"/>
                  <a:pt x="49" y="76"/>
                  <a:pt x="47" y="75"/>
                </a:cubicBezTo>
                <a:cubicBezTo>
                  <a:pt x="46" y="75"/>
                  <a:pt x="42" y="77"/>
                  <a:pt x="43" y="78"/>
                </a:cubicBezTo>
                <a:cubicBezTo>
                  <a:pt x="45" y="79"/>
                  <a:pt x="45" y="83"/>
                  <a:pt x="45" y="84"/>
                </a:cubicBezTo>
                <a:cubicBezTo>
                  <a:pt x="45" y="86"/>
                  <a:pt x="48" y="90"/>
                  <a:pt x="47" y="92"/>
                </a:cubicBezTo>
                <a:cubicBezTo>
                  <a:pt x="47" y="93"/>
                  <a:pt x="44" y="95"/>
                  <a:pt x="44" y="97"/>
                </a:cubicBezTo>
                <a:cubicBezTo>
                  <a:pt x="44" y="99"/>
                  <a:pt x="44" y="101"/>
                  <a:pt x="43" y="101"/>
                </a:cubicBezTo>
                <a:cubicBezTo>
                  <a:pt x="42" y="102"/>
                  <a:pt x="39" y="103"/>
                  <a:pt x="37" y="104"/>
                </a:cubicBezTo>
                <a:cubicBezTo>
                  <a:pt x="35" y="105"/>
                  <a:pt x="33" y="105"/>
                  <a:pt x="32" y="107"/>
                </a:cubicBezTo>
                <a:cubicBezTo>
                  <a:pt x="31" y="109"/>
                  <a:pt x="30" y="111"/>
                  <a:pt x="26" y="110"/>
                </a:cubicBezTo>
                <a:cubicBezTo>
                  <a:pt x="24" y="110"/>
                  <a:pt x="22" y="110"/>
                  <a:pt x="20" y="112"/>
                </a:cubicBezTo>
                <a:cubicBezTo>
                  <a:pt x="18" y="115"/>
                  <a:pt x="17" y="114"/>
                  <a:pt x="16" y="115"/>
                </a:cubicBezTo>
                <a:cubicBezTo>
                  <a:pt x="14" y="116"/>
                  <a:pt x="13" y="114"/>
                  <a:pt x="12" y="114"/>
                </a:cubicBezTo>
                <a:cubicBezTo>
                  <a:pt x="10" y="113"/>
                  <a:pt x="9" y="115"/>
                  <a:pt x="8" y="115"/>
                </a:cubicBezTo>
                <a:cubicBezTo>
                  <a:pt x="6" y="115"/>
                  <a:pt x="5" y="117"/>
                  <a:pt x="4" y="117"/>
                </a:cubicBezTo>
                <a:cubicBezTo>
                  <a:pt x="2" y="118"/>
                  <a:pt x="1" y="117"/>
                  <a:pt x="1" y="119"/>
                </a:cubicBezTo>
                <a:cubicBezTo>
                  <a:pt x="1" y="120"/>
                  <a:pt x="0" y="122"/>
                  <a:pt x="0" y="123"/>
                </a:cubicBezTo>
                <a:cubicBezTo>
                  <a:pt x="0" y="123"/>
                  <a:pt x="0" y="123"/>
                  <a:pt x="0" y="123"/>
                </a:cubicBezTo>
                <a:cubicBezTo>
                  <a:pt x="1" y="129"/>
                  <a:pt x="1" y="129"/>
                  <a:pt x="1" y="129"/>
                </a:cubicBezTo>
                <a:cubicBezTo>
                  <a:pt x="1" y="129"/>
                  <a:pt x="7" y="131"/>
                  <a:pt x="7" y="133"/>
                </a:cubicBezTo>
                <a:cubicBezTo>
                  <a:pt x="8" y="135"/>
                  <a:pt x="9" y="142"/>
                  <a:pt x="9" y="142"/>
                </a:cubicBezTo>
                <a:cubicBezTo>
                  <a:pt x="9" y="142"/>
                  <a:pt x="9" y="142"/>
                  <a:pt x="9" y="142"/>
                </a:cubicBezTo>
                <a:cubicBezTo>
                  <a:pt x="11" y="144"/>
                  <a:pt x="15" y="146"/>
                  <a:pt x="15" y="147"/>
                </a:cubicBezTo>
                <a:cubicBezTo>
                  <a:pt x="15" y="148"/>
                  <a:pt x="15" y="151"/>
                  <a:pt x="18" y="152"/>
                </a:cubicBezTo>
                <a:cubicBezTo>
                  <a:pt x="20" y="153"/>
                  <a:pt x="23" y="154"/>
                  <a:pt x="24" y="155"/>
                </a:cubicBezTo>
                <a:cubicBezTo>
                  <a:pt x="24" y="155"/>
                  <a:pt x="24" y="155"/>
                  <a:pt x="24" y="155"/>
                </a:cubicBezTo>
                <a:cubicBezTo>
                  <a:pt x="27" y="154"/>
                  <a:pt x="27" y="154"/>
                  <a:pt x="27" y="154"/>
                </a:cubicBezTo>
                <a:cubicBezTo>
                  <a:pt x="27" y="154"/>
                  <a:pt x="28" y="155"/>
                  <a:pt x="28" y="156"/>
                </a:cubicBezTo>
                <a:cubicBezTo>
                  <a:pt x="29" y="154"/>
                  <a:pt x="34" y="151"/>
                  <a:pt x="36" y="151"/>
                </a:cubicBezTo>
                <a:cubicBezTo>
                  <a:pt x="39" y="151"/>
                  <a:pt x="45" y="156"/>
                  <a:pt x="44" y="158"/>
                </a:cubicBezTo>
                <a:cubicBezTo>
                  <a:pt x="43" y="160"/>
                  <a:pt x="39" y="166"/>
                  <a:pt x="37" y="166"/>
                </a:cubicBezTo>
                <a:cubicBezTo>
                  <a:pt x="36" y="166"/>
                  <a:pt x="35" y="166"/>
                  <a:pt x="34" y="166"/>
                </a:cubicBezTo>
                <a:cubicBezTo>
                  <a:pt x="34" y="167"/>
                  <a:pt x="34" y="168"/>
                  <a:pt x="34" y="169"/>
                </a:cubicBezTo>
                <a:cubicBezTo>
                  <a:pt x="34" y="170"/>
                  <a:pt x="36" y="172"/>
                  <a:pt x="38" y="175"/>
                </a:cubicBezTo>
                <a:cubicBezTo>
                  <a:pt x="39" y="177"/>
                  <a:pt x="35" y="179"/>
                  <a:pt x="34" y="177"/>
                </a:cubicBezTo>
                <a:cubicBezTo>
                  <a:pt x="32" y="176"/>
                  <a:pt x="31" y="179"/>
                  <a:pt x="32" y="180"/>
                </a:cubicBezTo>
                <a:cubicBezTo>
                  <a:pt x="33" y="182"/>
                  <a:pt x="32" y="185"/>
                  <a:pt x="34" y="186"/>
                </a:cubicBezTo>
                <a:cubicBezTo>
                  <a:pt x="36" y="186"/>
                  <a:pt x="38" y="190"/>
                  <a:pt x="40" y="190"/>
                </a:cubicBezTo>
                <a:cubicBezTo>
                  <a:pt x="42" y="190"/>
                  <a:pt x="44" y="193"/>
                  <a:pt x="44" y="193"/>
                </a:cubicBezTo>
                <a:cubicBezTo>
                  <a:pt x="44" y="193"/>
                  <a:pt x="47" y="195"/>
                  <a:pt x="47" y="196"/>
                </a:cubicBezTo>
                <a:cubicBezTo>
                  <a:pt x="47" y="196"/>
                  <a:pt x="47" y="197"/>
                  <a:pt x="47" y="197"/>
                </a:cubicBezTo>
                <a:cubicBezTo>
                  <a:pt x="49" y="196"/>
                  <a:pt x="51" y="196"/>
                  <a:pt x="51" y="195"/>
                </a:cubicBezTo>
                <a:cubicBezTo>
                  <a:pt x="52" y="194"/>
                  <a:pt x="55" y="194"/>
                  <a:pt x="57" y="196"/>
                </a:cubicBezTo>
                <a:cubicBezTo>
                  <a:pt x="59" y="199"/>
                  <a:pt x="68" y="204"/>
                  <a:pt x="71" y="207"/>
                </a:cubicBezTo>
                <a:cubicBezTo>
                  <a:pt x="74" y="209"/>
                  <a:pt x="81" y="212"/>
                  <a:pt x="84" y="212"/>
                </a:cubicBezTo>
                <a:cubicBezTo>
                  <a:pt x="87" y="212"/>
                  <a:pt x="89" y="214"/>
                  <a:pt x="93" y="214"/>
                </a:cubicBezTo>
                <a:cubicBezTo>
                  <a:pt x="94" y="214"/>
                  <a:pt x="94" y="214"/>
                  <a:pt x="95" y="214"/>
                </a:cubicBezTo>
                <a:cubicBezTo>
                  <a:pt x="95" y="213"/>
                  <a:pt x="96" y="213"/>
                  <a:pt x="97" y="212"/>
                </a:cubicBezTo>
                <a:cubicBezTo>
                  <a:pt x="98" y="210"/>
                  <a:pt x="100" y="213"/>
                  <a:pt x="99" y="216"/>
                </a:cubicBezTo>
                <a:cubicBezTo>
                  <a:pt x="99" y="217"/>
                  <a:pt x="99" y="218"/>
                  <a:pt x="99" y="219"/>
                </a:cubicBezTo>
                <a:cubicBezTo>
                  <a:pt x="100" y="218"/>
                  <a:pt x="101" y="217"/>
                  <a:pt x="101" y="216"/>
                </a:cubicBezTo>
                <a:cubicBezTo>
                  <a:pt x="102" y="212"/>
                  <a:pt x="105" y="213"/>
                  <a:pt x="106" y="211"/>
                </a:cubicBezTo>
                <a:cubicBezTo>
                  <a:pt x="107" y="210"/>
                  <a:pt x="109" y="211"/>
                  <a:pt x="112" y="212"/>
                </a:cubicBezTo>
                <a:cubicBezTo>
                  <a:pt x="114" y="214"/>
                  <a:pt x="115" y="211"/>
                  <a:pt x="119" y="215"/>
                </a:cubicBezTo>
                <a:cubicBezTo>
                  <a:pt x="120" y="214"/>
                  <a:pt x="121" y="214"/>
                  <a:pt x="122" y="214"/>
                </a:cubicBezTo>
                <a:cubicBezTo>
                  <a:pt x="123" y="214"/>
                  <a:pt x="124" y="212"/>
                  <a:pt x="125" y="211"/>
                </a:cubicBezTo>
                <a:cubicBezTo>
                  <a:pt x="127" y="209"/>
                  <a:pt x="126" y="208"/>
                  <a:pt x="128" y="208"/>
                </a:cubicBezTo>
                <a:cubicBezTo>
                  <a:pt x="129" y="208"/>
                  <a:pt x="130" y="206"/>
                  <a:pt x="134" y="204"/>
                </a:cubicBezTo>
                <a:cubicBezTo>
                  <a:pt x="137" y="202"/>
                  <a:pt x="140" y="205"/>
                  <a:pt x="142" y="204"/>
                </a:cubicBezTo>
                <a:cubicBezTo>
                  <a:pt x="144" y="203"/>
                  <a:pt x="146" y="202"/>
                  <a:pt x="146" y="203"/>
                </a:cubicBezTo>
                <a:cubicBezTo>
                  <a:pt x="146" y="205"/>
                  <a:pt x="148" y="206"/>
                  <a:pt x="148" y="208"/>
                </a:cubicBezTo>
                <a:cubicBezTo>
                  <a:pt x="149" y="209"/>
                  <a:pt x="152" y="210"/>
                  <a:pt x="152" y="210"/>
                </a:cubicBezTo>
                <a:cubicBezTo>
                  <a:pt x="153" y="210"/>
                  <a:pt x="153" y="210"/>
                  <a:pt x="153" y="209"/>
                </a:cubicBezTo>
                <a:cubicBezTo>
                  <a:pt x="155" y="208"/>
                  <a:pt x="158" y="210"/>
                  <a:pt x="158" y="211"/>
                </a:cubicBezTo>
                <a:cubicBezTo>
                  <a:pt x="158" y="213"/>
                  <a:pt x="158" y="215"/>
                  <a:pt x="159" y="215"/>
                </a:cubicBezTo>
                <a:cubicBezTo>
                  <a:pt x="161" y="215"/>
                  <a:pt x="162" y="215"/>
                  <a:pt x="162" y="219"/>
                </a:cubicBezTo>
                <a:cubicBezTo>
                  <a:pt x="162" y="222"/>
                  <a:pt x="163" y="226"/>
                  <a:pt x="161" y="229"/>
                </a:cubicBezTo>
                <a:cubicBezTo>
                  <a:pt x="158" y="232"/>
                  <a:pt x="154" y="237"/>
                  <a:pt x="155" y="238"/>
                </a:cubicBezTo>
                <a:cubicBezTo>
                  <a:pt x="156" y="240"/>
                  <a:pt x="154" y="243"/>
                  <a:pt x="156" y="242"/>
                </a:cubicBezTo>
                <a:cubicBezTo>
                  <a:pt x="158" y="241"/>
                  <a:pt x="163" y="242"/>
                  <a:pt x="162" y="243"/>
                </a:cubicBezTo>
                <a:cubicBezTo>
                  <a:pt x="162" y="244"/>
                  <a:pt x="163" y="248"/>
                  <a:pt x="165" y="249"/>
                </a:cubicBezTo>
                <a:cubicBezTo>
                  <a:pt x="166" y="249"/>
                  <a:pt x="168" y="250"/>
                  <a:pt x="167" y="252"/>
                </a:cubicBezTo>
                <a:cubicBezTo>
                  <a:pt x="166" y="253"/>
                  <a:pt x="165" y="256"/>
                  <a:pt x="167" y="256"/>
                </a:cubicBezTo>
                <a:cubicBezTo>
                  <a:pt x="169" y="256"/>
                  <a:pt x="171" y="256"/>
                  <a:pt x="171" y="258"/>
                </a:cubicBezTo>
                <a:cubicBezTo>
                  <a:pt x="171" y="260"/>
                  <a:pt x="172" y="262"/>
                  <a:pt x="175" y="260"/>
                </a:cubicBezTo>
                <a:cubicBezTo>
                  <a:pt x="177" y="260"/>
                  <a:pt x="178" y="259"/>
                  <a:pt x="178" y="260"/>
                </a:cubicBezTo>
                <a:cubicBezTo>
                  <a:pt x="180" y="260"/>
                  <a:pt x="180" y="262"/>
                  <a:pt x="182" y="263"/>
                </a:cubicBezTo>
                <a:cubicBezTo>
                  <a:pt x="184" y="263"/>
                  <a:pt x="183" y="258"/>
                  <a:pt x="182" y="257"/>
                </a:cubicBezTo>
                <a:cubicBezTo>
                  <a:pt x="181" y="257"/>
                  <a:pt x="182" y="253"/>
                  <a:pt x="183" y="254"/>
                </a:cubicBezTo>
                <a:cubicBezTo>
                  <a:pt x="184" y="255"/>
                  <a:pt x="186" y="254"/>
                  <a:pt x="188" y="252"/>
                </a:cubicBezTo>
                <a:cubicBezTo>
                  <a:pt x="189" y="251"/>
                  <a:pt x="192" y="254"/>
                  <a:pt x="193" y="252"/>
                </a:cubicBezTo>
                <a:cubicBezTo>
                  <a:pt x="194" y="250"/>
                  <a:pt x="196" y="253"/>
                  <a:pt x="199" y="252"/>
                </a:cubicBezTo>
                <a:cubicBezTo>
                  <a:pt x="201" y="250"/>
                  <a:pt x="202" y="253"/>
                  <a:pt x="203" y="251"/>
                </a:cubicBezTo>
                <a:cubicBezTo>
                  <a:pt x="205" y="249"/>
                  <a:pt x="208" y="247"/>
                  <a:pt x="209" y="247"/>
                </a:cubicBezTo>
                <a:cubicBezTo>
                  <a:pt x="210" y="248"/>
                  <a:pt x="210" y="250"/>
                  <a:pt x="215" y="250"/>
                </a:cubicBezTo>
                <a:cubicBezTo>
                  <a:pt x="219" y="251"/>
                  <a:pt x="216" y="253"/>
                  <a:pt x="216" y="254"/>
                </a:cubicBezTo>
                <a:cubicBezTo>
                  <a:pt x="216" y="256"/>
                  <a:pt x="221" y="259"/>
                  <a:pt x="223" y="260"/>
                </a:cubicBezTo>
                <a:cubicBezTo>
                  <a:pt x="224" y="260"/>
                  <a:pt x="224" y="260"/>
                  <a:pt x="225" y="261"/>
                </a:cubicBezTo>
                <a:cubicBezTo>
                  <a:pt x="226" y="260"/>
                  <a:pt x="228" y="261"/>
                  <a:pt x="229" y="260"/>
                </a:cubicBezTo>
                <a:cubicBezTo>
                  <a:pt x="230" y="258"/>
                  <a:pt x="232" y="258"/>
                  <a:pt x="233" y="260"/>
                </a:cubicBezTo>
                <a:cubicBezTo>
                  <a:pt x="234" y="261"/>
                  <a:pt x="235" y="262"/>
                  <a:pt x="237" y="260"/>
                </a:cubicBezTo>
                <a:cubicBezTo>
                  <a:pt x="239" y="258"/>
                  <a:pt x="240" y="262"/>
                  <a:pt x="238" y="263"/>
                </a:cubicBezTo>
                <a:cubicBezTo>
                  <a:pt x="237" y="264"/>
                  <a:pt x="238" y="267"/>
                  <a:pt x="240" y="269"/>
                </a:cubicBezTo>
                <a:cubicBezTo>
                  <a:pt x="242" y="271"/>
                  <a:pt x="242" y="268"/>
                  <a:pt x="242" y="266"/>
                </a:cubicBezTo>
                <a:cubicBezTo>
                  <a:pt x="241" y="264"/>
                  <a:pt x="245" y="262"/>
                  <a:pt x="251" y="260"/>
                </a:cubicBezTo>
                <a:cubicBezTo>
                  <a:pt x="258" y="258"/>
                  <a:pt x="265" y="253"/>
                  <a:pt x="265" y="252"/>
                </a:cubicBezTo>
                <a:cubicBezTo>
                  <a:pt x="265" y="251"/>
                  <a:pt x="270" y="254"/>
                  <a:pt x="272" y="252"/>
                </a:cubicBezTo>
                <a:cubicBezTo>
                  <a:pt x="274" y="251"/>
                  <a:pt x="282" y="250"/>
                  <a:pt x="284" y="250"/>
                </a:cubicBezTo>
                <a:cubicBezTo>
                  <a:pt x="286" y="250"/>
                  <a:pt x="285" y="249"/>
                  <a:pt x="288" y="247"/>
                </a:cubicBezTo>
                <a:cubicBezTo>
                  <a:pt x="290" y="245"/>
                  <a:pt x="289" y="244"/>
                  <a:pt x="292" y="244"/>
                </a:cubicBezTo>
                <a:cubicBezTo>
                  <a:pt x="294" y="243"/>
                  <a:pt x="296" y="241"/>
                  <a:pt x="296" y="239"/>
                </a:cubicBezTo>
                <a:cubicBezTo>
                  <a:pt x="296" y="238"/>
                  <a:pt x="300" y="238"/>
                  <a:pt x="300" y="236"/>
                </a:cubicBezTo>
                <a:cubicBezTo>
                  <a:pt x="300" y="235"/>
                  <a:pt x="304" y="235"/>
                  <a:pt x="304" y="233"/>
                </a:cubicBezTo>
                <a:cubicBezTo>
                  <a:pt x="304" y="231"/>
                  <a:pt x="306" y="232"/>
                  <a:pt x="307" y="231"/>
                </a:cubicBezTo>
                <a:cubicBezTo>
                  <a:pt x="308" y="229"/>
                  <a:pt x="306" y="226"/>
                  <a:pt x="308" y="225"/>
                </a:cubicBezTo>
                <a:cubicBezTo>
                  <a:pt x="309" y="225"/>
                  <a:pt x="307" y="223"/>
                  <a:pt x="307" y="222"/>
                </a:cubicBezTo>
                <a:cubicBezTo>
                  <a:pt x="306" y="221"/>
                  <a:pt x="310" y="221"/>
                  <a:pt x="312" y="220"/>
                </a:cubicBezTo>
                <a:cubicBezTo>
                  <a:pt x="313" y="218"/>
                  <a:pt x="314" y="217"/>
                  <a:pt x="315" y="215"/>
                </a:cubicBezTo>
                <a:cubicBezTo>
                  <a:pt x="315" y="213"/>
                  <a:pt x="318" y="211"/>
                  <a:pt x="319" y="211"/>
                </a:cubicBezTo>
                <a:cubicBezTo>
                  <a:pt x="321" y="210"/>
                  <a:pt x="321" y="207"/>
                  <a:pt x="321" y="205"/>
                </a:cubicBezTo>
                <a:cubicBezTo>
                  <a:pt x="320" y="203"/>
                  <a:pt x="323" y="203"/>
                  <a:pt x="322" y="202"/>
                </a:cubicBezTo>
                <a:cubicBezTo>
                  <a:pt x="321" y="202"/>
                  <a:pt x="322" y="199"/>
                  <a:pt x="325" y="198"/>
                </a:cubicBezTo>
                <a:cubicBezTo>
                  <a:pt x="327" y="198"/>
                  <a:pt x="323" y="196"/>
                  <a:pt x="322" y="197"/>
                </a:cubicBezTo>
                <a:cubicBezTo>
                  <a:pt x="321" y="198"/>
                  <a:pt x="319" y="194"/>
                  <a:pt x="318" y="196"/>
                </a:cubicBezTo>
                <a:cubicBezTo>
                  <a:pt x="317" y="198"/>
                  <a:pt x="313" y="195"/>
                  <a:pt x="315" y="195"/>
                </a:cubicBezTo>
                <a:cubicBezTo>
                  <a:pt x="318" y="194"/>
                  <a:pt x="321" y="192"/>
                  <a:pt x="323" y="191"/>
                </a:cubicBezTo>
                <a:cubicBezTo>
                  <a:pt x="324" y="191"/>
                  <a:pt x="320" y="187"/>
                  <a:pt x="318" y="187"/>
                </a:cubicBezTo>
                <a:cubicBezTo>
                  <a:pt x="317" y="187"/>
                  <a:pt x="314" y="183"/>
                  <a:pt x="312" y="183"/>
                </a:cubicBezTo>
                <a:cubicBezTo>
                  <a:pt x="310" y="183"/>
                  <a:pt x="314" y="181"/>
                  <a:pt x="316" y="183"/>
                </a:cubicBezTo>
                <a:cubicBezTo>
                  <a:pt x="319" y="184"/>
                  <a:pt x="321" y="185"/>
                  <a:pt x="322" y="184"/>
                </a:cubicBezTo>
                <a:cubicBezTo>
                  <a:pt x="323" y="183"/>
                  <a:pt x="318" y="179"/>
                  <a:pt x="317" y="177"/>
                </a:cubicBezTo>
                <a:cubicBezTo>
                  <a:pt x="315" y="176"/>
                  <a:pt x="316" y="174"/>
                  <a:pt x="315" y="173"/>
                </a:cubicBezTo>
                <a:cubicBezTo>
                  <a:pt x="314" y="172"/>
                  <a:pt x="312" y="167"/>
                  <a:pt x="311" y="165"/>
                </a:cubicBezTo>
                <a:cubicBezTo>
                  <a:pt x="310" y="162"/>
                  <a:pt x="306" y="162"/>
                  <a:pt x="305" y="160"/>
                </a:cubicBezTo>
                <a:cubicBezTo>
                  <a:pt x="304" y="159"/>
                  <a:pt x="305" y="155"/>
                  <a:pt x="308" y="154"/>
                </a:cubicBezTo>
                <a:cubicBezTo>
                  <a:pt x="311" y="153"/>
                  <a:pt x="310" y="150"/>
                  <a:pt x="311" y="150"/>
                </a:cubicBezTo>
                <a:cubicBezTo>
                  <a:pt x="313" y="151"/>
                  <a:pt x="314" y="150"/>
                  <a:pt x="315" y="148"/>
                </a:cubicBezTo>
                <a:cubicBezTo>
                  <a:pt x="316" y="145"/>
                  <a:pt x="318" y="147"/>
                  <a:pt x="319" y="146"/>
                </a:cubicBezTo>
                <a:cubicBezTo>
                  <a:pt x="320" y="144"/>
                  <a:pt x="325" y="145"/>
                  <a:pt x="327" y="143"/>
                </a:cubicBezTo>
                <a:cubicBezTo>
                  <a:pt x="329" y="142"/>
                  <a:pt x="325" y="138"/>
                  <a:pt x="323" y="139"/>
                </a:cubicBezTo>
                <a:cubicBezTo>
                  <a:pt x="321" y="140"/>
                  <a:pt x="318" y="139"/>
                  <a:pt x="316" y="136"/>
                </a:cubicBezTo>
                <a:cubicBezTo>
                  <a:pt x="315" y="134"/>
                  <a:pt x="311" y="141"/>
                  <a:pt x="307" y="142"/>
                </a:cubicBezTo>
                <a:cubicBezTo>
                  <a:pt x="304" y="144"/>
                  <a:pt x="302" y="139"/>
                  <a:pt x="303" y="137"/>
                </a:cubicBezTo>
                <a:cubicBezTo>
                  <a:pt x="304" y="134"/>
                  <a:pt x="300" y="134"/>
                  <a:pt x="296" y="134"/>
                </a:cubicBezTo>
                <a:cubicBezTo>
                  <a:pt x="291" y="134"/>
                  <a:pt x="293" y="126"/>
                  <a:pt x="296" y="126"/>
                </a:cubicBezTo>
                <a:cubicBezTo>
                  <a:pt x="299" y="125"/>
                  <a:pt x="303" y="128"/>
                  <a:pt x="304" y="123"/>
                </a:cubicBezTo>
                <a:cubicBezTo>
                  <a:pt x="306" y="118"/>
                  <a:pt x="308" y="122"/>
                  <a:pt x="312" y="118"/>
                </a:cubicBezTo>
                <a:cubicBezTo>
                  <a:pt x="316" y="113"/>
                  <a:pt x="321" y="110"/>
                  <a:pt x="324" y="113"/>
                </a:cubicBezTo>
                <a:cubicBezTo>
                  <a:pt x="327" y="116"/>
                  <a:pt x="321" y="120"/>
                  <a:pt x="319" y="122"/>
                </a:cubicBezTo>
                <a:cubicBezTo>
                  <a:pt x="318" y="125"/>
                  <a:pt x="320" y="126"/>
                  <a:pt x="318" y="128"/>
                </a:cubicBezTo>
                <a:cubicBezTo>
                  <a:pt x="316" y="130"/>
                  <a:pt x="319" y="130"/>
                  <a:pt x="323" y="127"/>
                </a:cubicBezTo>
                <a:cubicBezTo>
                  <a:pt x="327" y="125"/>
                  <a:pt x="332" y="122"/>
                  <a:pt x="336" y="120"/>
                </a:cubicBezTo>
                <a:cubicBezTo>
                  <a:pt x="337" y="120"/>
                  <a:pt x="338" y="120"/>
                  <a:pt x="339" y="120"/>
                </a:cubicBezTo>
                <a:cubicBezTo>
                  <a:pt x="340" y="118"/>
                  <a:pt x="340" y="117"/>
                  <a:pt x="341" y="117"/>
                </a:cubicBezTo>
                <a:cubicBezTo>
                  <a:pt x="344" y="116"/>
                  <a:pt x="353" y="112"/>
                  <a:pt x="354" y="110"/>
                </a:cubicBezTo>
                <a:cubicBezTo>
                  <a:pt x="355" y="108"/>
                  <a:pt x="357" y="105"/>
                  <a:pt x="358" y="105"/>
                </a:cubicBezTo>
                <a:cubicBezTo>
                  <a:pt x="360" y="105"/>
                  <a:pt x="360" y="107"/>
                  <a:pt x="363" y="107"/>
                </a:cubicBezTo>
                <a:cubicBezTo>
                  <a:pt x="366" y="107"/>
                  <a:pt x="369" y="108"/>
                  <a:pt x="367" y="105"/>
                </a:cubicBezTo>
                <a:cubicBezTo>
                  <a:pt x="366" y="103"/>
                  <a:pt x="367" y="103"/>
                  <a:pt x="370" y="103"/>
                </a:cubicBezTo>
                <a:cubicBezTo>
                  <a:pt x="373" y="102"/>
                  <a:pt x="373" y="99"/>
                  <a:pt x="375" y="99"/>
                </a:cubicBezTo>
                <a:cubicBezTo>
                  <a:pt x="377" y="99"/>
                  <a:pt x="377" y="94"/>
                  <a:pt x="379" y="94"/>
                </a:cubicBezTo>
                <a:cubicBezTo>
                  <a:pt x="381" y="94"/>
                  <a:pt x="382" y="97"/>
                  <a:pt x="385" y="96"/>
                </a:cubicBezTo>
                <a:cubicBezTo>
                  <a:pt x="385" y="96"/>
                  <a:pt x="386" y="96"/>
                  <a:pt x="386" y="96"/>
                </a:cubicBezTo>
                <a:cubicBezTo>
                  <a:pt x="387" y="96"/>
                  <a:pt x="388" y="95"/>
                  <a:pt x="388" y="95"/>
                </a:cubicBezTo>
                <a:cubicBezTo>
                  <a:pt x="388" y="92"/>
                  <a:pt x="388" y="90"/>
                  <a:pt x="388" y="89"/>
                </a:cubicBezTo>
                <a:cubicBezTo>
                  <a:pt x="387" y="86"/>
                  <a:pt x="388" y="84"/>
                  <a:pt x="387" y="83"/>
                </a:cubicBezTo>
                <a:cubicBezTo>
                  <a:pt x="387" y="81"/>
                  <a:pt x="387" y="78"/>
                  <a:pt x="388" y="78"/>
                </a:cubicBezTo>
                <a:cubicBezTo>
                  <a:pt x="390" y="78"/>
                  <a:pt x="392" y="74"/>
                  <a:pt x="394" y="75"/>
                </a:cubicBezTo>
                <a:cubicBezTo>
                  <a:pt x="396" y="77"/>
                  <a:pt x="400" y="77"/>
                  <a:pt x="400" y="75"/>
                </a:cubicBezTo>
                <a:cubicBezTo>
                  <a:pt x="400" y="73"/>
                  <a:pt x="403" y="73"/>
                  <a:pt x="403" y="71"/>
                </a:cubicBezTo>
                <a:cubicBezTo>
                  <a:pt x="404" y="68"/>
                  <a:pt x="407" y="68"/>
                  <a:pt x="407" y="66"/>
                </a:cubicBezTo>
                <a:cubicBezTo>
                  <a:pt x="408" y="63"/>
                  <a:pt x="409" y="58"/>
                  <a:pt x="411" y="57"/>
                </a:cubicBezTo>
                <a:cubicBezTo>
                  <a:pt x="413" y="56"/>
                  <a:pt x="411" y="55"/>
                  <a:pt x="411" y="51"/>
                </a:cubicBezTo>
                <a:close/>
                <a:moveTo>
                  <a:pt x="311" y="244"/>
                </a:moveTo>
                <a:cubicBezTo>
                  <a:pt x="309" y="252"/>
                  <a:pt x="314" y="256"/>
                  <a:pt x="315" y="256"/>
                </a:cubicBezTo>
                <a:cubicBezTo>
                  <a:pt x="317" y="254"/>
                  <a:pt x="325" y="237"/>
                  <a:pt x="323" y="234"/>
                </a:cubicBezTo>
                <a:cubicBezTo>
                  <a:pt x="322" y="232"/>
                  <a:pt x="313" y="236"/>
                  <a:pt x="311" y="244"/>
                </a:cubicBezTo>
                <a:close/>
                <a:moveTo>
                  <a:pt x="238" y="272"/>
                </a:moveTo>
                <a:cubicBezTo>
                  <a:pt x="236" y="272"/>
                  <a:pt x="229" y="275"/>
                  <a:pt x="232" y="281"/>
                </a:cubicBezTo>
                <a:cubicBezTo>
                  <a:pt x="234" y="286"/>
                  <a:pt x="243" y="283"/>
                  <a:pt x="243" y="280"/>
                </a:cubicBezTo>
                <a:cubicBezTo>
                  <a:pt x="244" y="278"/>
                  <a:pt x="248" y="274"/>
                  <a:pt x="247" y="272"/>
                </a:cubicBezTo>
                <a:cubicBezTo>
                  <a:pt x="247" y="271"/>
                  <a:pt x="241" y="272"/>
                  <a:pt x="238" y="27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3" name="Freeform 149"/>
          <p:cNvSpPr>
            <a:spLocks noEditPoints="1"/>
          </p:cNvSpPr>
          <p:nvPr/>
        </p:nvSpPr>
        <p:spPr bwMode="auto">
          <a:xfrm>
            <a:off x="6493942" y="2776985"/>
            <a:ext cx="190500" cy="265113"/>
          </a:xfrm>
          <a:custGeom>
            <a:avLst/>
            <a:gdLst>
              <a:gd name="T0" fmla="*/ 35 w 67"/>
              <a:gd name="T1" fmla="*/ 36 h 93"/>
              <a:gd name="T2" fmla="*/ 44 w 67"/>
              <a:gd name="T3" fmla="*/ 42 h 93"/>
              <a:gd name="T4" fmla="*/ 46 w 67"/>
              <a:gd name="T5" fmla="*/ 48 h 93"/>
              <a:gd name="T6" fmla="*/ 49 w 67"/>
              <a:gd name="T7" fmla="*/ 51 h 93"/>
              <a:gd name="T8" fmla="*/ 52 w 67"/>
              <a:gd name="T9" fmla="*/ 60 h 93"/>
              <a:gd name="T10" fmla="*/ 54 w 67"/>
              <a:gd name="T11" fmla="*/ 58 h 93"/>
              <a:gd name="T12" fmla="*/ 57 w 67"/>
              <a:gd name="T13" fmla="*/ 54 h 93"/>
              <a:gd name="T14" fmla="*/ 56 w 67"/>
              <a:gd name="T15" fmla="*/ 46 h 93"/>
              <a:gd name="T16" fmla="*/ 48 w 67"/>
              <a:gd name="T17" fmla="*/ 40 h 93"/>
              <a:gd name="T18" fmla="*/ 43 w 67"/>
              <a:gd name="T19" fmla="*/ 34 h 93"/>
              <a:gd name="T20" fmla="*/ 34 w 67"/>
              <a:gd name="T21" fmla="*/ 32 h 93"/>
              <a:gd name="T22" fmla="*/ 30 w 67"/>
              <a:gd name="T23" fmla="*/ 26 h 93"/>
              <a:gd name="T24" fmla="*/ 35 w 67"/>
              <a:gd name="T25" fmla="*/ 16 h 93"/>
              <a:gd name="T26" fmla="*/ 34 w 67"/>
              <a:gd name="T27" fmla="*/ 5 h 93"/>
              <a:gd name="T28" fmla="*/ 33 w 67"/>
              <a:gd name="T29" fmla="*/ 3 h 93"/>
              <a:gd name="T30" fmla="*/ 23 w 67"/>
              <a:gd name="T31" fmla="*/ 2 h 93"/>
              <a:gd name="T32" fmla="*/ 22 w 67"/>
              <a:gd name="T33" fmla="*/ 18 h 93"/>
              <a:gd name="T34" fmla="*/ 18 w 67"/>
              <a:gd name="T35" fmla="*/ 17 h 93"/>
              <a:gd name="T36" fmla="*/ 20 w 67"/>
              <a:gd name="T37" fmla="*/ 27 h 93"/>
              <a:gd name="T38" fmla="*/ 22 w 67"/>
              <a:gd name="T39" fmla="*/ 32 h 93"/>
              <a:gd name="T40" fmla="*/ 29 w 67"/>
              <a:gd name="T41" fmla="*/ 34 h 93"/>
              <a:gd name="T42" fmla="*/ 35 w 67"/>
              <a:gd name="T43" fmla="*/ 36 h 93"/>
              <a:gd name="T44" fmla="*/ 22 w 67"/>
              <a:gd name="T45" fmla="*/ 38 h 93"/>
              <a:gd name="T46" fmla="*/ 29 w 67"/>
              <a:gd name="T47" fmla="*/ 45 h 93"/>
              <a:gd name="T48" fmla="*/ 22 w 67"/>
              <a:gd name="T49" fmla="*/ 38 h 93"/>
              <a:gd name="T50" fmla="*/ 34 w 67"/>
              <a:gd name="T51" fmla="*/ 58 h 93"/>
              <a:gd name="T52" fmla="*/ 37 w 67"/>
              <a:gd name="T53" fmla="*/ 56 h 93"/>
              <a:gd name="T54" fmla="*/ 38 w 67"/>
              <a:gd name="T55" fmla="*/ 61 h 93"/>
              <a:gd name="T56" fmla="*/ 39 w 67"/>
              <a:gd name="T57" fmla="*/ 69 h 93"/>
              <a:gd name="T58" fmla="*/ 46 w 67"/>
              <a:gd name="T59" fmla="*/ 58 h 93"/>
              <a:gd name="T60" fmla="*/ 44 w 67"/>
              <a:gd name="T61" fmla="*/ 56 h 93"/>
              <a:gd name="T62" fmla="*/ 33 w 67"/>
              <a:gd name="T63" fmla="*/ 48 h 93"/>
              <a:gd name="T64" fmla="*/ 34 w 67"/>
              <a:gd name="T65" fmla="*/ 58 h 93"/>
              <a:gd name="T66" fmla="*/ 10 w 67"/>
              <a:gd name="T67" fmla="*/ 62 h 93"/>
              <a:gd name="T68" fmla="*/ 1 w 67"/>
              <a:gd name="T69" fmla="*/ 73 h 93"/>
              <a:gd name="T70" fmla="*/ 13 w 67"/>
              <a:gd name="T71" fmla="*/ 61 h 93"/>
              <a:gd name="T72" fmla="*/ 15 w 67"/>
              <a:gd name="T73" fmla="*/ 54 h 93"/>
              <a:gd name="T74" fmla="*/ 10 w 67"/>
              <a:gd name="T75" fmla="*/ 62 h 93"/>
              <a:gd name="T76" fmla="*/ 46 w 67"/>
              <a:gd name="T77" fmla="*/ 66 h 93"/>
              <a:gd name="T78" fmla="*/ 51 w 67"/>
              <a:gd name="T79" fmla="*/ 62 h 93"/>
              <a:gd name="T80" fmla="*/ 46 w 67"/>
              <a:gd name="T81" fmla="*/ 66 h 93"/>
              <a:gd name="T82" fmla="*/ 64 w 67"/>
              <a:gd name="T83" fmla="*/ 82 h 93"/>
              <a:gd name="T84" fmla="*/ 63 w 67"/>
              <a:gd name="T85" fmla="*/ 66 h 93"/>
              <a:gd name="T86" fmla="*/ 58 w 67"/>
              <a:gd name="T87" fmla="*/ 66 h 93"/>
              <a:gd name="T88" fmla="*/ 54 w 67"/>
              <a:gd name="T89" fmla="*/ 70 h 93"/>
              <a:gd name="T90" fmla="*/ 50 w 67"/>
              <a:gd name="T91" fmla="*/ 73 h 93"/>
              <a:gd name="T92" fmla="*/ 44 w 67"/>
              <a:gd name="T93" fmla="*/ 71 h 93"/>
              <a:gd name="T94" fmla="*/ 36 w 67"/>
              <a:gd name="T95" fmla="*/ 76 h 93"/>
              <a:gd name="T96" fmla="*/ 33 w 67"/>
              <a:gd name="T97" fmla="*/ 83 h 93"/>
              <a:gd name="T98" fmla="*/ 39 w 67"/>
              <a:gd name="T99" fmla="*/ 80 h 93"/>
              <a:gd name="T100" fmla="*/ 44 w 67"/>
              <a:gd name="T101" fmla="*/ 78 h 93"/>
              <a:gd name="T102" fmla="*/ 50 w 67"/>
              <a:gd name="T103" fmla="*/ 90 h 93"/>
              <a:gd name="T104" fmla="*/ 57 w 67"/>
              <a:gd name="T105" fmla="*/ 93 h 93"/>
              <a:gd name="T106" fmla="*/ 57 w 67"/>
              <a:gd name="T107" fmla="*/ 85 h 93"/>
              <a:gd name="T108" fmla="*/ 64 w 67"/>
              <a:gd name="T109" fmla="*/ 8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 h="93">
                <a:moveTo>
                  <a:pt x="35" y="36"/>
                </a:moveTo>
                <a:cubicBezTo>
                  <a:pt x="39" y="36"/>
                  <a:pt x="45" y="40"/>
                  <a:pt x="44" y="42"/>
                </a:cubicBezTo>
                <a:cubicBezTo>
                  <a:pt x="43" y="44"/>
                  <a:pt x="44" y="50"/>
                  <a:pt x="46" y="48"/>
                </a:cubicBezTo>
                <a:cubicBezTo>
                  <a:pt x="48" y="47"/>
                  <a:pt x="50" y="49"/>
                  <a:pt x="49" y="51"/>
                </a:cubicBezTo>
                <a:cubicBezTo>
                  <a:pt x="47" y="54"/>
                  <a:pt x="51" y="57"/>
                  <a:pt x="52" y="60"/>
                </a:cubicBezTo>
                <a:cubicBezTo>
                  <a:pt x="53" y="63"/>
                  <a:pt x="55" y="61"/>
                  <a:pt x="54" y="58"/>
                </a:cubicBezTo>
                <a:cubicBezTo>
                  <a:pt x="54" y="56"/>
                  <a:pt x="55" y="56"/>
                  <a:pt x="57" y="54"/>
                </a:cubicBezTo>
                <a:cubicBezTo>
                  <a:pt x="60" y="52"/>
                  <a:pt x="57" y="49"/>
                  <a:pt x="56" y="46"/>
                </a:cubicBezTo>
                <a:cubicBezTo>
                  <a:pt x="54" y="42"/>
                  <a:pt x="48" y="43"/>
                  <a:pt x="48" y="40"/>
                </a:cubicBezTo>
                <a:cubicBezTo>
                  <a:pt x="48" y="37"/>
                  <a:pt x="43" y="36"/>
                  <a:pt x="43" y="34"/>
                </a:cubicBezTo>
                <a:cubicBezTo>
                  <a:pt x="43" y="32"/>
                  <a:pt x="37" y="30"/>
                  <a:pt x="34" y="32"/>
                </a:cubicBezTo>
                <a:cubicBezTo>
                  <a:pt x="30" y="35"/>
                  <a:pt x="33" y="29"/>
                  <a:pt x="30" y="26"/>
                </a:cubicBezTo>
                <a:cubicBezTo>
                  <a:pt x="28" y="24"/>
                  <a:pt x="32" y="20"/>
                  <a:pt x="35" y="16"/>
                </a:cubicBezTo>
                <a:cubicBezTo>
                  <a:pt x="38" y="13"/>
                  <a:pt x="34" y="8"/>
                  <a:pt x="34" y="5"/>
                </a:cubicBezTo>
                <a:cubicBezTo>
                  <a:pt x="35" y="3"/>
                  <a:pt x="35" y="2"/>
                  <a:pt x="33" y="3"/>
                </a:cubicBezTo>
                <a:cubicBezTo>
                  <a:pt x="32" y="4"/>
                  <a:pt x="26" y="0"/>
                  <a:pt x="23" y="2"/>
                </a:cubicBezTo>
                <a:cubicBezTo>
                  <a:pt x="21" y="4"/>
                  <a:pt x="23" y="17"/>
                  <a:pt x="22" y="18"/>
                </a:cubicBezTo>
                <a:cubicBezTo>
                  <a:pt x="21" y="19"/>
                  <a:pt x="19" y="16"/>
                  <a:pt x="18" y="17"/>
                </a:cubicBezTo>
                <a:cubicBezTo>
                  <a:pt x="18" y="19"/>
                  <a:pt x="19" y="27"/>
                  <a:pt x="20" y="27"/>
                </a:cubicBezTo>
                <a:cubicBezTo>
                  <a:pt x="22" y="27"/>
                  <a:pt x="23" y="29"/>
                  <a:pt x="22" y="32"/>
                </a:cubicBezTo>
                <a:cubicBezTo>
                  <a:pt x="21" y="35"/>
                  <a:pt x="25" y="36"/>
                  <a:pt x="29" y="34"/>
                </a:cubicBezTo>
                <a:cubicBezTo>
                  <a:pt x="33" y="33"/>
                  <a:pt x="32" y="37"/>
                  <a:pt x="35" y="36"/>
                </a:cubicBezTo>
                <a:close/>
                <a:moveTo>
                  <a:pt x="22" y="38"/>
                </a:moveTo>
                <a:cubicBezTo>
                  <a:pt x="23" y="41"/>
                  <a:pt x="24" y="47"/>
                  <a:pt x="29" y="45"/>
                </a:cubicBezTo>
                <a:cubicBezTo>
                  <a:pt x="33" y="44"/>
                  <a:pt x="22" y="36"/>
                  <a:pt x="22" y="38"/>
                </a:cubicBezTo>
                <a:close/>
                <a:moveTo>
                  <a:pt x="34" y="58"/>
                </a:moveTo>
                <a:cubicBezTo>
                  <a:pt x="35" y="58"/>
                  <a:pt x="37" y="58"/>
                  <a:pt x="37" y="56"/>
                </a:cubicBezTo>
                <a:cubicBezTo>
                  <a:pt x="38" y="54"/>
                  <a:pt x="40" y="59"/>
                  <a:pt x="38" y="61"/>
                </a:cubicBezTo>
                <a:cubicBezTo>
                  <a:pt x="36" y="63"/>
                  <a:pt x="36" y="68"/>
                  <a:pt x="39" y="69"/>
                </a:cubicBezTo>
                <a:cubicBezTo>
                  <a:pt x="42" y="69"/>
                  <a:pt x="47" y="60"/>
                  <a:pt x="46" y="58"/>
                </a:cubicBezTo>
                <a:cubicBezTo>
                  <a:pt x="46" y="56"/>
                  <a:pt x="43" y="59"/>
                  <a:pt x="44" y="56"/>
                </a:cubicBezTo>
                <a:cubicBezTo>
                  <a:pt x="44" y="54"/>
                  <a:pt x="36" y="48"/>
                  <a:pt x="33" y="48"/>
                </a:cubicBezTo>
                <a:cubicBezTo>
                  <a:pt x="30" y="49"/>
                  <a:pt x="31" y="58"/>
                  <a:pt x="34" y="58"/>
                </a:cubicBezTo>
                <a:close/>
                <a:moveTo>
                  <a:pt x="10" y="62"/>
                </a:moveTo>
                <a:cubicBezTo>
                  <a:pt x="7" y="65"/>
                  <a:pt x="0" y="71"/>
                  <a:pt x="1" y="73"/>
                </a:cubicBezTo>
                <a:cubicBezTo>
                  <a:pt x="2" y="75"/>
                  <a:pt x="10" y="64"/>
                  <a:pt x="13" y="61"/>
                </a:cubicBezTo>
                <a:cubicBezTo>
                  <a:pt x="17" y="59"/>
                  <a:pt x="16" y="56"/>
                  <a:pt x="15" y="54"/>
                </a:cubicBezTo>
                <a:cubicBezTo>
                  <a:pt x="14" y="52"/>
                  <a:pt x="13" y="58"/>
                  <a:pt x="10" y="62"/>
                </a:cubicBezTo>
                <a:close/>
                <a:moveTo>
                  <a:pt x="46" y="66"/>
                </a:moveTo>
                <a:cubicBezTo>
                  <a:pt x="47" y="68"/>
                  <a:pt x="53" y="64"/>
                  <a:pt x="51" y="62"/>
                </a:cubicBezTo>
                <a:cubicBezTo>
                  <a:pt x="49" y="60"/>
                  <a:pt x="45" y="64"/>
                  <a:pt x="46" y="66"/>
                </a:cubicBezTo>
                <a:close/>
                <a:moveTo>
                  <a:pt x="64" y="82"/>
                </a:moveTo>
                <a:cubicBezTo>
                  <a:pt x="67" y="79"/>
                  <a:pt x="63" y="71"/>
                  <a:pt x="63" y="66"/>
                </a:cubicBezTo>
                <a:cubicBezTo>
                  <a:pt x="63" y="61"/>
                  <a:pt x="56" y="63"/>
                  <a:pt x="58" y="66"/>
                </a:cubicBezTo>
                <a:cubicBezTo>
                  <a:pt x="60" y="69"/>
                  <a:pt x="54" y="66"/>
                  <a:pt x="54" y="70"/>
                </a:cubicBezTo>
                <a:cubicBezTo>
                  <a:pt x="54" y="73"/>
                  <a:pt x="50" y="70"/>
                  <a:pt x="50" y="73"/>
                </a:cubicBezTo>
                <a:cubicBezTo>
                  <a:pt x="50" y="75"/>
                  <a:pt x="46" y="73"/>
                  <a:pt x="44" y="71"/>
                </a:cubicBezTo>
                <a:cubicBezTo>
                  <a:pt x="42" y="70"/>
                  <a:pt x="39" y="75"/>
                  <a:pt x="36" y="76"/>
                </a:cubicBezTo>
                <a:cubicBezTo>
                  <a:pt x="33" y="77"/>
                  <a:pt x="31" y="83"/>
                  <a:pt x="33" y="83"/>
                </a:cubicBezTo>
                <a:cubicBezTo>
                  <a:pt x="36" y="83"/>
                  <a:pt x="37" y="79"/>
                  <a:pt x="39" y="80"/>
                </a:cubicBezTo>
                <a:cubicBezTo>
                  <a:pt x="42" y="80"/>
                  <a:pt x="41" y="77"/>
                  <a:pt x="44" y="78"/>
                </a:cubicBezTo>
                <a:cubicBezTo>
                  <a:pt x="48" y="78"/>
                  <a:pt x="45" y="89"/>
                  <a:pt x="50" y="90"/>
                </a:cubicBezTo>
                <a:cubicBezTo>
                  <a:pt x="55" y="91"/>
                  <a:pt x="55" y="93"/>
                  <a:pt x="57" y="93"/>
                </a:cubicBezTo>
                <a:cubicBezTo>
                  <a:pt x="59" y="93"/>
                  <a:pt x="57" y="87"/>
                  <a:pt x="57" y="85"/>
                </a:cubicBezTo>
                <a:cubicBezTo>
                  <a:pt x="57" y="82"/>
                  <a:pt x="62" y="84"/>
                  <a:pt x="64" y="8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4" name="Freeform 150"/>
          <p:cNvSpPr>
            <a:spLocks noEditPoints="1"/>
          </p:cNvSpPr>
          <p:nvPr/>
        </p:nvSpPr>
        <p:spPr bwMode="auto">
          <a:xfrm>
            <a:off x="6963842" y="3204023"/>
            <a:ext cx="247650" cy="160338"/>
          </a:xfrm>
          <a:custGeom>
            <a:avLst/>
            <a:gdLst>
              <a:gd name="T0" fmla="*/ 62 w 87"/>
              <a:gd name="T1" fmla="*/ 52 h 56"/>
              <a:gd name="T2" fmla="*/ 57 w 87"/>
              <a:gd name="T3" fmla="*/ 47 h 56"/>
              <a:gd name="T4" fmla="*/ 51 w 87"/>
              <a:gd name="T5" fmla="*/ 44 h 56"/>
              <a:gd name="T6" fmla="*/ 46 w 87"/>
              <a:gd name="T7" fmla="*/ 35 h 56"/>
              <a:gd name="T8" fmla="*/ 44 w 87"/>
              <a:gd name="T9" fmla="*/ 29 h 56"/>
              <a:gd name="T10" fmla="*/ 45 w 87"/>
              <a:gd name="T11" fmla="*/ 24 h 56"/>
              <a:gd name="T12" fmla="*/ 32 w 87"/>
              <a:gd name="T13" fmla="*/ 17 h 56"/>
              <a:gd name="T14" fmla="*/ 5 w 87"/>
              <a:gd name="T15" fmla="*/ 2 h 56"/>
              <a:gd name="T16" fmla="*/ 0 w 87"/>
              <a:gd name="T17" fmla="*/ 0 h 56"/>
              <a:gd name="T18" fmla="*/ 0 w 87"/>
              <a:gd name="T19" fmla="*/ 44 h 56"/>
              <a:gd name="T20" fmla="*/ 7 w 87"/>
              <a:gd name="T21" fmla="*/ 46 h 56"/>
              <a:gd name="T22" fmla="*/ 15 w 87"/>
              <a:gd name="T23" fmla="*/ 42 h 56"/>
              <a:gd name="T24" fmla="*/ 19 w 87"/>
              <a:gd name="T25" fmla="*/ 37 h 56"/>
              <a:gd name="T26" fmla="*/ 34 w 87"/>
              <a:gd name="T27" fmla="*/ 40 h 56"/>
              <a:gd name="T28" fmla="*/ 49 w 87"/>
              <a:gd name="T29" fmla="*/ 53 h 56"/>
              <a:gd name="T30" fmla="*/ 63 w 87"/>
              <a:gd name="T31" fmla="*/ 56 h 56"/>
              <a:gd name="T32" fmla="*/ 62 w 87"/>
              <a:gd name="T33" fmla="*/ 52 h 56"/>
              <a:gd name="T34" fmla="*/ 74 w 87"/>
              <a:gd name="T35" fmla="*/ 15 h 56"/>
              <a:gd name="T36" fmla="*/ 66 w 87"/>
              <a:gd name="T37" fmla="*/ 20 h 56"/>
              <a:gd name="T38" fmla="*/ 51 w 87"/>
              <a:gd name="T39" fmla="*/ 21 h 56"/>
              <a:gd name="T40" fmla="*/ 62 w 87"/>
              <a:gd name="T41" fmla="*/ 26 h 56"/>
              <a:gd name="T42" fmla="*/ 76 w 87"/>
              <a:gd name="T43" fmla="*/ 19 h 56"/>
              <a:gd name="T44" fmla="*/ 78 w 87"/>
              <a:gd name="T45" fmla="*/ 13 h 56"/>
              <a:gd name="T46" fmla="*/ 74 w 87"/>
              <a:gd name="T47" fmla="*/ 15 h 56"/>
              <a:gd name="T48" fmla="*/ 81 w 87"/>
              <a:gd name="T49" fmla="*/ 8 h 56"/>
              <a:gd name="T50" fmla="*/ 79 w 87"/>
              <a:gd name="T51" fmla="*/ 8 h 56"/>
              <a:gd name="T52" fmla="*/ 83 w 87"/>
              <a:gd name="T53" fmla="*/ 15 h 56"/>
              <a:gd name="T54" fmla="*/ 81 w 87"/>
              <a:gd name="T55"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56">
                <a:moveTo>
                  <a:pt x="62" y="52"/>
                </a:moveTo>
                <a:cubicBezTo>
                  <a:pt x="61" y="51"/>
                  <a:pt x="57" y="49"/>
                  <a:pt x="57" y="47"/>
                </a:cubicBezTo>
                <a:cubicBezTo>
                  <a:pt x="58" y="45"/>
                  <a:pt x="53" y="46"/>
                  <a:pt x="51" y="44"/>
                </a:cubicBezTo>
                <a:cubicBezTo>
                  <a:pt x="48" y="42"/>
                  <a:pt x="49" y="36"/>
                  <a:pt x="46" y="35"/>
                </a:cubicBezTo>
                <a:cubicBezTo>
                  <a:pt x="43" y="33"/>
                  <a:pt x="40" y="29"/>
                  <a:pt x="44" y="29"/>
                </a:cubicBezTo>
                <a:cubicBezTo>
                  <a:pt x="48" y="29"/>
                  <a:pt x="48" y="27"/>
                  <a:pt x="45" y="24"/>
                </a:cubicBezTo>
                <a:cubicBezTo>
                  <a:pt x="43" y="22"/>
                  <a:pt x="32" y="21"/>
                  <a:pt x="32" y="17"/>
                </a:cubicBezTo>
                <a:cubicBezTo>
                  <a:pt x="31" y="13"/>
                  <a:pt x="13" y="4"/>
                  <a:pt x="5" y="2"/>
                </a:cubicBezTo>
                <a:cubicBezTo>
                  <a:pt x="3" y="2"/>
                  <a:pt x="2" y="1"/>
                  <a:pt x="0" y="0"/>
                </a:cubicBezTo>
                <a:cubicBezTo>
                  <a:pt x="0" y="44"/>
                  <a:pt x="0" y="44"/>
                  <a:pt x="0" y="44"/>
                </a:cubicBezTo>
                <a:cubicBezTo>
                  <a:pt x="2" y="45"/>
                  <a:pt x="4" y="46"/>
                  <a:pt x="7" y="46"/>
                </a:cubicBezTo>
                <a:cubicBezTo>
                  <a:pt x="16" y="47"/>
                  <a:pt x="14" y="42"/>
                  <a:pt x="15" y="42"/>
                </a:cubicBezTo>
                <a:cubicBezTo>
                  <a:pt x="17" y="42"/>
                  <a:pt x="18" y="39"/>
                  <a:pt x="19" y="37"/>
                </a:cubicBezTo>
                <a:cubicBezTo>
                  <a:pt x="21" y="34"/>
                  <a:pt x="29" y="36"/>
                  <a:pt x="34" y="40"/>
                </a:cubicBezTo>
                <a:cubicBezTo>
                  <a:pt x="39" y="43"/>
                  <a:pt x="44" y="54"/>
                  <a:pt x="49" y="53"/>
                </a:cubicBezTo>
                <a:cubicBezTo>
                  <a:pt x="54" y="52"/>
                  <a:pt x="59" y="56"/>
                  <a:pt x="63" y="56"/>
                </a:cubicBezTo>
                <a:cubicBezTo>
                  <a:pt x="68" y="56"/>
                  <a:pt x="64" y="52"/>
                  <a:pt x="62" y="52"/>
                </a:cubicBezTo>
                <a:close/>
                <a:moveTo>
                  <a:pt x="74" y="15"/>
                </a:moveTo>
                <a:cubicBezTo>
                  <a:pt x="74" y="17"/>
                  <a:pt x="71" y="18"/>
                  <a:pt x="66" y="20"/>
                </a:cubicBezTo>
                <a:cubicBezTo>
                  <a:pt x="61" y="22"/>
                  <a:pt x="51" y="18"/>
                  <a:pt x="51" y="21"/>
                </a:cubicBezTo>
                <a:cubicBezTo>
                  <a:pt x="51" y="23"/>
                  <a:pt x="57" y="26"/>
                  <a:pt x="62" y="26"/>
                </a:cubicBezTo>
                <a:cubicBezTo>
                  <a:pt x="68" y="26"/>
                  <a:pt x="76" y="20"/>
                  <a:pt x="76" y="19"/>
                </a:cubicBezTo>
                <a:cubicBezTo>
                  <a:pt x="76" y="17"/>
                  <a:pt x="80" y="14"/>
                  <a:pt x="78" y="13"/>
                </a:cubicBezTo>
                <a:cubicBezTo>
                  <a:pt x="77" y="11"/>
                  <a:pt x="74" y="14"/>
                  <a:pt x="74" y="15"/>
                </a:cubicBezTo>
                <a:close/>
                <a:moveTo>
                  <a:pt x="81" y="8"/>
                </a:moveTo>
                <a:cubicBezTo>
                  <a:pt x="78" y="6"/>
                  <a:pt x="75" y="4"/>
                  <a:pt x="79" y="8"/>
                </a:cubicBezTo>
                <a:cubicBezTo>
                  <a:pt x="83" y="12"/>
                  <a:pt x="81" y="15"/>
                  <a:pt x="83" y="15"/>
                </a:cubicBezTo>
                <a:cubicBezTo>
                  <a:pt x="87" y="14"/>
                  <a:pt x="84" y="10"/>
                  <a:pt x="81" y="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5" name="Freeform 151"/>
          <p:cNvSpPr/>
          <p:nvPr/>
        </p:nvSpPr>
        <p:spPr bwMode="auto">
          <a:xfrm>
            <a:off x="5779567" y="2959548"/>
            <a:ext cx="42863" cy="79375"/>
          </a:xfrm>
          <a:custGeom>
            <a:avLst/>
            <a:gdLst>
              <a:gd name="T0" fmla="*/ 3 w 15"/>
              <a:gd name="T1" fmla="*/ 0 h 28"/>
              <a:gd name="T2" fmla="*/ 1 w 15"/>
              <a:gd name="T3" fmla="*/ 6 h 28"/>
              <a:gd name="T4" fmla="*/ 0 w 15"/>
              <a:gd name="T5" fmla="*/ 15 h 28"/>
              <a:gd name="T6" fmla="*/ 4 w 15"/>
              <a:gd name="T7" fmla="*/ 26 h 28"/>
              <a:gd name="T8" fmla="*/ 14 w 15"/>
              <a:gd name="T9" fmla="*/ 16 h 28"/>
              <a:gd name="T10" fmla="*/ 3 w 15"/>
              <a:gd name="T11" fmla="*/ 0 h 28"/>
            </a:gdLst>
            <a:ahLst/>
            <a:cxnLst>
              <a:cxn ang="0">
                <a:pos x="T0" y="T1"/>
              </a:cxn>
              <a:cxn ang="0">
                <a:pos x="T2" y="T3"/>
              </a:cxn>
              <a:cxn ang="0">
                <a:pos x="T4" y="T5"/>
              </a:cxn>
              <a:cxn ang="0">
                <a:pos x="T6" y="T7"/>
              </a:cxn>
              <a:cxn ang="0">
                <a:pos x="T8" y="T9"/>
              </a:cxn>
              <a:cxn ang="0">
                <a:pos x="T10" y="T11"/>
              </a:cxn>
            </a:cxnLst>
            <a:rect l="0" t="0" r="r" b="b"/>
            <a:pathLst>
              <a:path w="15" h="28">
                <a:moveTo>
                  <a:pt x="3" y="0"/>
                </a:moveTo>
                <a:cubicBezTo>
                  <a:pt x="1" y="0"/>
                  <a:pt x="2" y="4"/>
                  <a:pt x="1" y="6"/>
                </a:cubicBezTo>
                <a:cubicBezTo>
                  <a:pt x="0" y="9"/>
                  <a:pt x="0" y="12"/>
                  <a:pt x="0" y="15"/>
                </a:cubicBezTo>
                <a:cubicBezTo>
                  <a:pt x="1" y="19"/>
                  <a:pt x="0" y="23"/>
                  <a:pt x="4" y="26"/>
                </a:cubicBezTo>
                <a:cubicBezTo>
                  <a:pt x="8" y="28"/>
                  <a:pt x="14" y="22"/>
                  <a:pt x="14" y="16"/>
                </a:cubicBezTo>
                <a:cubicBezTo>
                  <a:pt x="15" y="10"/>
                  <a:pt x="5" y="0"/>
                  <a:pt x="3"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6" name="Freeform 152"/>
          <p:cNvSpPr/>
          <p:nvPr/>
        </p:nvSpPr>
        <p:spPr bwMode="auto">
          <a:xfrm>
            <a:off x="5050905" y="3377060"/>
            <a:ext cx="144463" cy="288925"/>
          </a:xfrm>
          <a:custGeom>
            <a:avLst/>
            <a:gdLst>
              <a:gd name="T0" fmla="*/ 43 w 51"/>
              <a:gd name="T1" fmla="*/ 3 h 101"/>
              <a:gd name="T2" fmla="*/ 40 w 51"/>
              <a:gd name="T3" fmla="*/ 5 h 101"/>
              <a:gd name="T4" fmla="*/ 39 w 51"/>
              <a:gd name="T5" fmla="*/ 10 h 101"/>
              <a:gd name="T6" fmla="*/ 35 w 51"/>
              <a:gd name="T7" fmla="*/ 13 h 101"/>
              <a:gd name="T8" fmla="*/ 32 w 51"/>
              <a:gd name="T9" fmla="*/ 16 h 101"/>
              <a:gd name="T10" fmla="*/ 32 w 51"/>
              <a:gd name="T11" fmla="*/ 20 h 101"/>
              <a:gd name="T12" fmla="*/ 27 w 51"/>
              <a:gd name="T13" fmla="*/ 24 h 101"/>
              <a:gd name="T14" fmla="*/ 17 w 51"/>
              <a:gd name="T15" fmla="*/ 29 h 101"/>
              <a:gd name="T16" fmla="*/ 8 w 51"/>
              <a:gd name="T17" fmla="*/ 31 h 101"/>
              <a:gd name="T18" fmla="*/ 5 w 51"/>
              <a:gd name="T19" fmla="*/ 40 h 101"/>
              <a:gd name="T20" fmla="*/ 6 w 51"/>
              <a:gd name="T21" fmla="*/ 52 h 101"/>
              <a:gd name="T22" fmla="*/ 5 w 51"/>
              <a:gd name="T23" fmla="*/ 66 h 101"/>
              <a:gd name="T24" fmla="*/ 2 w 51"/>
              <a:gd name="T25" fmla="*/ 83 h 101"/>
              <a:gd name="T26" fmla="*/ 6 w 51"/>
              <a:gd name="T27" fmla="*/ 96 h 101"/>
              <a:gd name="T28" fmla="*/ 19 w 51"/>
              <a:gd name="T29" fmla="*/ 99 h 101"/>
              <a:gd name="T30" fmla="*/ 26 w 51"/>
              <a:gd name="T31" fmla="*/ 96 h 101"/>
              <a:gd name="T32" fmla="*/ 36 w 51"/>
              <a:gd name="T33" fmla="*/ 67 h 101"/>
              <a:gd name="T34" fmla="*/ 43 w 51"/>
              <a:gd name="T35" fmla="*/ 40 h 101"/>
              <a:gd name="T36" fmla="*/ 44 w 51"/>
              <a:gd name="T37" fmla="*/ 33 h 101"/>
              <a:gd name="T38" fmla="*/ 46 w 51"/>
              <a:gd name="T39" fmla="*/ 28 h 101"/>
              <a:gd name="T40" fmla="*/ 50 w 51"/>
              <a:gd name="T41" fmla="*/ 27 h 101"/>
              <a:gd name="T42" fmla="*/ 48 w 51"/>
              <a:gd name="T43" fmla="*/ 14 h 101"/>
              <a:gd name="T44" fmla="*/ 43 w 51"/>
              <a:gd name="T45" fmla="*/ 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101">
                <a:moveTo>
                  <a:pt x="43" y="3"/>
                </a:moveTo>
                <a:cubicBezTo>
                  <a:pt x="42" y="0"/>
                  <a:pt x="41" y="4"/>
                  <a:pt x="40" y="5"/>
                </a:cubicBezTo>
                <a:cubicBezTo>
                  <a:pt x="40" y="6"/>
                  <a:pt x="39" y="8"/>
                  <a:pt x="39" y="10"/>
                </a:cubicBezTo>
                <a:cubicBezTo>
                  <a:pt x="40" y="12"/>
                  <a:pt x="37" y="13"/>
                  <a:pt x="35" y="13"/>
                </a:cubicBezTo>
                <a:cubicBezTo>
                  <a:pt x="34" y="13"/>
                  <a:pt x="31" y="14"/>
                  <a:pt x="32" y="16"/>
                </a:cubicBezTo>
                <a:cubicBezTo>
                  <a:pt x="33" y="18"/>
                  <a:pt x="31" y="18"/>
                  <a:pt x="32" y="20"/>
                </a:cubicBezTo>
                <a:cubicBezTo>
                  <a:pt x="33" y="22"/>
                  <a:pt x="29" y="24"/>
                  <a:pt x="27" y="24"/>
                </a:cubicBezTo>
                <a:cubicBezTo>
                  <a:pt x="24" y="24"/>
                  <a:pt x="20" y="29"/>
                  <a:pt x="17" y="29"/>
                </a:cubicBezTo>
                <a:cubicBezTo>
                  <a:pt x="14" y="29"/>
                  <a:pt x="11" y="31"/>
                  <a:pt x="8" y="31"/>
                </a:cubicBezTo>
                <a:cubicBezTo>
                  <a:pt x="6" y="30"/>
                  <a:pt x="7" y="36"/>
                  <a:pt x="5" y="40"/>
                </a:cubicBezTo>
                <a:cubicBezTo>
                  <a:pt x="3" y="43"/>
                  <a:pt x="4" y="48"/>
                  <a:pt x="6" y="52"/>
                </a:cubicBezTo>
                <a:cubicBezTo>
                  <a:pt x="8" y="57"/>
                  <a:pt x="9" y="60"/>
                  <a:pt x="5" y="66"/>
                </a:cubicBezTo>
                <a:cubicBezTo>
                  <a:pt x="0" y="72"/>
                  <a:pt x="0" y="79"/>
                  <a:pt x="2" y="83"/>
                </a:cubicBezTo>
                <a:cubicBezTo>
                  <a:pt x="4" y="87"/>
                  <a:pt x="4" y="93"/>
                  <a:pt x="6" y="96"/>
                </a:cubicBezTo>
                <a:cubicBezTo>
                  <a:pt x="9" y="99"/>
                  <a:pt x="16" y="101"/>
                  <a:pt x="19" y="99"/>
                </a:cubicBezTo>
                <a:cubicBezTo>
                  <a:pt x="21" y="97"/>
                  <a:pt x="23" y="99"/>
                  <a:pt x="26" y="96"/>
                </a:cubicBezTo>
                <a:cubicBezTo>
                  <a:pt x="28" y="93"/>
                  <a:pt x="32" y="78"/>
                  <a:pt x="36" y="67"/>
                </a:cubicBezTo>
                <a:cubicBezTo>
                  <a:pt x="39" y="57"/>
                  <a:pt x="44" y="43"/>
                  <a:pt x="43" y="40"/>
                </a:cubicBezTo>
                <a:cubicBezTo>
                  <a:pt x="43" y="37"/>
                  <a:pt x="46" y="36"/>
                  <a:pt x="44" y="33"/>
                </a:cubicBezTo>
                <a:cubicBezTo>
                  <a:pt x="43" y="30"/>
                  <a:pt x="45" y="26"/>
                  <a:pt x="46" y="28"/>
                </a:cubicBezTo>
                <a:cubicBezTo>
                  <a:pt x="48" y="31"/>
                  <a:pt x="50" y="31"/>
                  <a:pt x="50" y="27"/>
                </a:cubicBezTo>
                <a:cubicBezTo>
                  <a:pt x="51" y="24"/>
                  <a:pt x="48" y="19"/>
                  <a:pt x="48" y="14"/>
                </a:cubicBezTo>
                <a:cubicBezTo>
                  <a:pt x="47" y="10"/>
                  <a:pt x="43" y="5"/>
                  <a:pt x="43"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7" name="Freeform 153"/>
          <p:cNvSpPr>
            <a:spLocks noEditPoints="1"/>
          </p:cNvSpPr>
          <p:nvPr/>
        </p:nvSpPr>
        <p:spPr bwMode="auto">
          <a:xfrm>
            <a:off x="5044555" y="2765873"/>
            <a:ext cx="233363" cy="142875"/>
          </a:xfrm>
          <a:custGeom>
            <a:avLst/>
            <a:gdLst>
              <a:gd name="T0" fmla="*/ 58 w 82"/>
              <a:gd name="T1" fmla="*/ 2 h 50"/>
              <a:gd name="T2" fmla="*/ 44 w 82"/>
              <a:gd name="T3" fmla="*/ 3 h 50"/>
              <a:gd name="T4" fmla="*/ 34 w 82"/>
              <a:gd name="T5" fmla="*/ 12 h 50"/>
              <a:gd name="T6" fmla="*/ 29 w 82"/>
              <a:gd name="T7" fmla="*/ 14 h 50"/>
              <a:gd name="T8" fmla="*/ 19 w 82"/>
              <a:gd name="T9" fmla="*/ 13 h 50"/>
              <a:gd name="T10" fmla="*/ 11 w 82"/>
              <a:gd name="T11" fmla="*/ 12 h 50"/>
              <a:gd name="T12" fmla="*/ 6 w 82"/>
              <a:gd name="T13" fmla="*/ 11 h 50"/>
              <a:gd name="T14" fmla="*/ 3 w 82"/>
              <a:gd name="T15" fmla="*/ 14 h 50"/>
              <a:gd name="T16" fmla="*/ 3 w 82"/>
              <a:gd name="T17" fmla="*/ 17 h 50"/>
              <a:gd name="T18" fmla="*/ 0 w 82"/>
              <a:gd name="T19" fmla="*/ 19 h 50"/>
              <a:gd name="T20" fmla="*/ 0 w 82"/>
              <a:gd name="T21" fmla="*/ 23 h 50"/>
              <a:gd name="T22" fmla="*/ 2 w 82"/>
              <a:gd name="T23" fmla="*/ 34 h 50"/>
              <a:gd name="T24" fmla="*/ 5 w 82"/>
              <a:gd name="T25" fmla="*/ 44 h 50"/>
              <a:gd name="T26" fmla="*/ 17 w 82"/>
              <a:gd name="T27" fmla="*/ 43 h 50"/>
              <a:gd name="T28" fmla="*/ 26 w 82"/>
              <a:gd name="T29" fmla="*/ 40 h 50"/>
              <a:gd name="T30" fmla="*/ 34 w 82"/>
              <a:gd name="T31" fmla="*/ 37 h 50"/>
              <a:gd name="T32" fmla="*/ 41 w 82"/>
              <a:gd name="T33" fmla="*/ 35 h 50"/>
              <a:gd name="T34" fmla="*/ 46 w 82"/>
              <a:gd name="T35" fmla="*/ 32 h 50"/>
              <a:gd name="T36" fmla="*/ 60 w 82"/>
              <a:gd name="T37" fmla="*/ 27 h 50"/>
              <a:gd name="T38" fmla="*/ 67 w 82"/>
              <a:gd name="T39" fmla="*/ 20 h 50"/>
              <a:gd name="T40" fmla="*/ 73 w 82"/>
              <a:gd name="T41" fmla="*/ 18 h 50"/>
              <a:gd name="T42" fmla="*/ 65 w 82"/>
              <a:gd name="T43" fmla="*/ 0 h 50"/>
              <a:gd name="T44" fmla="*/ 58 w 82"/>
              <a:gd name="T45" fmla="*/ 2 h 50"/>
              <a:gd name="T46" fmla="*/ 75 w 82"/>
              <a:gd name="T47" fmla="*/ 48 h 50"/>
              <a:gd name="T48" fmla="*/ 82 w 82"/>
              <a:gd name="T49" fmla="*/ 47 h 50"/>
              <a:gd name="T50" fmla="*/ 75 w 82"/>
              <a:gd name="T51"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50">
                <a:moveTo>
                  <a:pt x="58" y="2"/>
                </a:moveTo>
                <a:cubicBezTo>
                  <a:pt x="54" y="3"/>
                  <a:pt x="46" y="3"/>
                  <a:pt x="44" y="3"/>
                </a:cubicBezTo>
                <a:cubicBezTo>
                  <a:pt x="43" y="4"/>
                  <a:pt x="35" y="10"/>
                  <a:pt x="34" y="12"/>
                </a:cubicBezTo>
                <a:cubicBezTo>
                  <a:pt x="33" y="15"/>
                  <a:pt x="31" y="16"/>
                  <a:pt x="29" y="14"/>
                </a:cubicBezTo>
                <a:cubicBezTo>
                  <a:pt x="27" y="13"/>
                  <a:pt x="20" y="13"/>
                  <a:pt x="19" y="13"/>
                </a:cubicBezTo>
                <a:cubicBezTo>
                  <a:pt x="19" y="12"/>
                  <a:pt x="13" y="11"/>
                  <a:pt x="11" y="12"/>
                </a:cubicBezTo>
                <a:cubicBezTo>
                  <a:pt x="8" y="12"/>
                  <a:pt x="7" y="11"/>
                  <a:pt x="6" y="11"/>
                </a:cubicBezTo>
                <a:cubicBezTo>
                  <a:pt x="5" y="11"/>
                  <a:pt x="3" y="13"/>
                  <a:pt x="3" y="14"/>
                </a:cubicBezTo>
                <a:cubicBezTo>
                  <a:pt x="2" y="14"/>
                  <a:pt x="3" y="17"/>
                  <a:pt x="3" y="17"/>
                </a:cubicBezTo>
                <a:cubicBezTo>
                  <a:pt x="3" y="18"/>
                  <a:pt x="2" y="18"/>
                  <a:pt x="0" y="19"/>
                </a:cubicBezTo>
                <a:cubicBezTo>
                  <a:pt x="0" y="21"/>
                  <a:pt x="1" y="22"/>
                  <a:pt x="0" y="23"/>
                </a:cubicBezTo>
                <a:cubicBezTo>
                  <a:pt x="0" y="26"/>
                  <a:pt x="0" y="31"/>
                  <a:pt x="2" y="34"/>
                </a:cubicBezTo>
                <a:cubicBezTo>
                  <a:pt x="5" y="37"/>
                  <a:pt x="4" y="43"/>
                  <a:pt x="5" y="44"/>
                </a:cubicBezTo>
                <a:cubicBezTo>
                  <a:pt x="6" y="46"/>
                  <a:pt x="14" y="45"/>
                  <a:pt x="17" y="43"/>
                </a:cubicBezTo>
                <a:cubicBezTo>
                  <a:pt x="21" y="41"/>
                  <a:pt x="23" y="40"/>
                  <a:pt x="26" y="40"/>
                </a:cubicBezTo>
                <a:cubicBezTo>
                  <a:pt x="29" y="40"/>
                  <a:pt x="33" y="38"/>
                  <a:pt x="34" y="37"/>
                </a:cubicBezTo>
                <a:cubicBezTo>
                  <a:pt x="35" y="35"/>
                  <a:pt x="39" y="35"/>
                  <a:pt x="41" y="35"/>
                </a:cubicBezTo>
                <a:cubicBezTo>
                  <a:pt x="42" y="36"/>
                  <a:pt x="44" y="34"/>
                  <a:pt x="46" y="32"/>
                </a:cubicBezTo>
                <a:cubicBezTo>
                  <a:pt x="48" y="30"/>
                  <a:pt x="54" y="29"/>
                  <a:pt x="60" y="27"/>
                </a:cubicBezTo>
                <a:cubicBezTo>
                  <a:pt x="67" y="25"/>
                  <a:pt x="66" y="22"/>
                  <a:pt x="67" y="20"/>
                </a:cubicBezTo>
                <a:cubicBezTo>
                  <a:pt x="68" y="19"/>
                  <a:pt x="70" y="19"/>
                  <a:pt x="73" y="18"/>
                </a:cubicBezTo>
                <a:cubicBezTo>
                  <a:pt x="70" y="11"/>
                  <a:pt x="66" y="4"/>
                  <a:pt x="65" y="0"/>
                </a:cubicBezTo>
                <a:cubicBezTo>
                  <a:pt x="61" y="1"/>
                  <a:pt x="59" y="2"/>
                  <a:pt x="58" y="2"/>
                </a:cubicBezTo>
                <a:close/>
                <a:moveTo>
                  <a:pt x="75" y="48"/>
                </a:moveTo>
                <a:cubicBezTo>
                  <a:pt x="77" y="50"/>
                  <a:pt x="81" y="48"/>
                  <a:pt x="82" y="47"/>
                </a:cubicBezTo>
                <a:cubicBezTo>
                  <a:pt x="82" y="46"/>
                  <a:pt x="72" y="45"/>
                  <a:pt x="75" y="4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8" name="Freeform 154"/>
          <p:cNvSpPr/>
          <p:nvPr/>
        </p:nvSpPr>
        <p:spPr bwMode="auto">
          <a:xfrm>
            <a:off x="5539855" y="4194623"/>
            <a:ext cx="50800" cy="31750"/>
          </a:xfrm>
          <a:custGeom>
            <a:avLst/>
            <a:gdLst>
              <a:gd name="T0" fmla="*/ 9 w 18"/>
              <a:gd name="T1" fmla="*/ 2 h 11"/>
              <a:gd name="T2" fmla="*/ 6 w 18"/>
              <a:gd name="T3" fmla="*/ 10 h 11"/>
              <a:gd name="T4" fmla="*/ 12 w 18"/>
              <a:gd name="T5" fmla="*/ 10 h 11"/>
              <a:gd name="T6" fmla="*/ 18 w 18"/>
              <a:gd name="T7" fmla="*/ 7 h 11"/>
              <a:gd name="T8" fmla="*/ 9 w 18"/>
              <a:gd name="T9" fmla="*/ 2 h 11"/>
            </a:gdLst>
            <a:ahLst/>
            <a:cxnLst>
              <a:cxn ang="0">
                <a:pos x="T0" y="T1"/>
              </a:cxn>
              <a:cxn ang="0">
                <a:pos x="T2" y="T3"/>
              </a:cxn>
              <a:cxn ang="0">
                <a:pos x="T4" y="T5"/>
              </a:cxn>
              <a:cxn ang="0">
                <a:pos x="T6" y="T7"/>
              </a:cxn>
              <a:cxn ang="0">
                <a:pos x="T8" y="T9"/>
              </a:cxn>
            </a:cxnLst>
            <a:rect l="0" t="0" r="r" b="b"/>
            <a:pathLst>
              <a:path w="18" h="11">
                <a:moveTo>
                  <a:pt x="9" y="2"/>
                </a:moveTo>
                <a:cubicBezTo>
                  <a:pt x="8" y="0"/>
                  <a:pt x="0" y="7"/>
                  <a:pt x="6" y="10"/>
                </a:cubicBezTo>
                <a:cubicBezTo>
                  <a:pt x="9" y="11"/>
                  <a:pt x="10" y="9"/>
                  <a:pt x="12" y="10"/>
                </a:cubicBezTo>
                <a:cubicBezTo>
                  <a:pt x="14" y="11"/>
                  <a:pt x="17" y="11"/>
                  <a:pt x="18" y="7"/>
                </a:cubicBezTo>
                <a:cubicBezTo>
                  <a:pt x="18" y="4"/>
                  <a:pt x="9" y="4"/>
                  <a:pt x="9"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9" name="Freeform 155"/>
          <p:cNvSpPr>
            <a:spLocks noEditPoints="1"/>
          </p:cNvSpPr>
          <p:nvPr/>
        </p:nvSpPr>
        <p:spPr bwMode="auto">
          <a:xfrm>
            <a:off x="7235305" y="3254823"/>
            <a:ext cx="158750" cy="117475"/>
          </a:xfrm>
          <a:custGeom>
            <a:avLst/>
            <a:gdLst>
              <a:gd name="T0" fmla="*/ 0 w 56"/>
              <a:gd name="T1" fmla="*/ 2 h 41"/>
              <a:gd name="T2" fmla="*/ 9 w 56"/>
              <a:gd name="T3" fmla="*/ 12 h 41"/>
              <a:gd name="T4" fmla="*/ 0 w 56"/>
              <a:gd name="T5" fmla="*/ 2 h 41"/>
              <a:gd name="T6" fmla="*/ 13 w 56"/>
              <a:gd name="T7" fmla="*/ 11 h 41"/>
              <a:gd name="T8" fmla="*/ 19 w 56"/>
              <a:gd name="T9" fmla="*/ 16 h 41"/>
              <a:gd name="T10" fmla="*/ 13 w 56"/>
              <a:gd name="T11" fmla="*/ 11 h 41"/>
              <a:gd name="T12" fmla="*/ 36 w 56"/>
              <a:gd name="T13" fmla="*/ 23 h 41"/>
              <a:gd name="T14" fmla="*/ 26 w 56"/>
              <a:gd name="T15" fmla="*/ 18 h 41"/>
              <a:gd name="T16" fmla="*/ 36 w 56"/>
              <a:gd name="T17" fmla="*/ 23 h 41"/>
              <a:gd name="T18" fmla="*/ 35 w 56"/>
              <a:gd name="T19" fmla="*/ 30 h 41"/>
              <a:gd name="T20" fmla="*/ 42 w 56"/>
              <a:gd name="T21" fmla="*/ 33 h 41"/>
              <a:gd name="T22" fmla="*/ 35 w 56"/>
              <a:gd name="T23" fmla="*/ 30 h 41"/>
              <a:gd name="T24" fmla="*/ 47 w 56"/>
              <a:gd name="T25" fmla="*/ 36 h 41"/>
              <a:gd name="T26" fmla="*/ 54 w 56"/>
              <a:gd name="T27" fmla="*/ 39 h 41"/>
              <a:gd name="T28" fmla="*/ 47 w 56"/>
              <a:gd name="T29" fmla="*/ 36 h 41"/>
              <a:gd name="T30" fmla="*/ 42 w 56"/>
              <a:gd name="T31" fmla="*/ 23 h 41"/>
              <a:gd name="T32" fmla="*/ 48 w 56"/>
              <a:gd name="T33" fmla="*/ 32 h 41"/>
              <a:gd name="T34" fmla="*/ 42 w 56"/>
              <a:gd name="T35" fmla="*/ 2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1">
                <a:moveTo>
                  <a:pt x="0" y="2"/>
                </a:moveTo>
                <a:cubicBezTo>
                  <a:pt x="0" y="4"/>
                  <a:pt x="6" y="14"/>
                  <a:pt x="9" y="12"/>
                </a:cubicBezTo>
                <a:cubicBezTo>
                  <a:pt x="13" y="9"/>
                  <a:pt x="1" y="0"/>
                  <a:pt x="0" y="2"/>
                </a:cubicBezTo>
                <a:close/>
                <a:moveTo>
                  <a:pt x="13" y="11"/>
                </a:moveTo>
                <a:cubicBezTo>
                  <a:pt x="13" y="12"/>
                  <a:pt x="18" y="16"/>
                  <a:pt x="19" y="16"/>
                </a:cubicBezTo>
                <a:cubicBezTo>
                  <a:pt x="20" y="15"/>
                  <a:pt x="13" y="9"/>
                  <a:pt x="13" y="11"/>
                </a:cubicBezTo>
                <a:close/>
                <a:moveTo>
                  <a:pt x="36" y="23"/>
                </a:moveTo>
                <a:cubicBezTo>
                  <a:pt x="38" y="22"/>
                  <a:pt x="27" y="16"/>
                  <a:pt x="26" y="18"/>
                </a:cubicBezTo>
                <a:cubicBezTo>
                  <a:pt x="26" y="20"/>
                  <a:pt x="34" y="24"/>
                  <a:pt x="36" y="23"/>
                </a:cubicBezTo>
                <a:close/>
                <a:moveTo>
                  <a:pt x="35" y="30"/>
                </a:moveTo>
                <a:cubicBezTo>
                  <a:pt x="35" y="33"/>
                  <a:pt x="40" y="35"/>
                  <a:pt x="42" y="33"/>
                </a:cubicBezTo>
                <a:cubicBezTo>
                  <a:pt x="44" y="32"/>
                  <a:pt x="34" y="26"/>
                  <a:pt x="35" y="30"/>
                </a:cubicBezTo>
                <a:close/>
                <a:moveTo>
                  <a:pt x="47" y="36"/>
                </a:moveTo>
                <a:cubicBezTo>
                  <a:pt x="48" y="37"/>
                  <a:pt x="52" y="41"/>
                  <a:pt x="54" y="39"/>
                </a:cubicBezTo>
                <a:cubicBezTo>
                  <a:pt x="56" y="38"/>
                  <a:pt x="47" y="35"/>
                  <a:pt x="47" y="36"/>
                </a:cubicBezTo>
                <a:close/>
                <a:moveTo>
                  <a:pt x="42" y="23"/>
                </a:moveTo>
                <a:cubicBezTo>
                  <a:pt x="40" y="26"/>
                  <a:pt x="47" y="32"/>
                  <a:pt x="48" y="32"/>
                </a:cubicBezTo>
                <a:cubicBezTo>
                  <a:pt x="48" y="32"/>
                  <a:pt x="43" y="20"/>
                  <a:pt x="42" y="2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0" name="Freeform 156"/>
          <p:cNvSpPr>
            <a:spLocks noEditPoints="1"/>
          </p:cNvSpPr>
          <p:nvPr/>
        </p:nvSpPr>
        <p:spPr bwMode="auto">
          <a:xfrm>
            <a:off x="6408217" y="3361185"/>
            <a:ext cx="806450" cy="717550"/>
          </a:xfrm>
          <a:custGeom>
            <a:avLst/>
            <a:gdLst>
              <a:gd name="T0" fmla="*/ 279 w 283"/>
              <a:gd name="T1" fmla="*/ 110 h 252"/>
              <a:gd name="T2" fmla="*/ 267 w 283"/>
              <a:gd name="T3" fmla="*/ 98 h 252"/>
              <a:gd name="T4" fmla="*/ 259 w 283"/>
              <a:gd name="T5" fmla="*/ 85 h 252"/>
              <a:gd name="T6" fmla="*/ 251 w 283"/>
              <a:gd name="T7" fmla="*/ 76 h 252"/>
              <a:gd name="T8" fmla="*/ 231 w 283"/>
              <a:gd name="T9" fmla="*/ 57 h 252"/>
              <a:gd name="T10" fmla="*/ 224 w 283"/>
              <a:gd name="T11" fmla="*/ 33 h 252"/>
              <a:gd name="T12" fmla="*/ 212 w 283"/>
              <a:gd name="T13" fmla="*/ 21 h 252"/>
              <a:gd name="T14" fmla="*/ 201 w 283"/>
              <a:gd name="T15" fmla="*/ 6 h 252"/>
              <a:gd name="T16" fmla="*/ 198 w 283"/>
              <a:gd name="T17" fmla="*/ 32 h 252"/>
              <a:gd name="T18" fmla="*/ 181 w 283"/>
              <a:gd name="T19" fmla="*/ 47 h 252"/>
              <a:gd name="T20" fmla="*/ 162 w 283"/>
              <a:gd name="T21" fmla="*/ 36 h 252"/>
              <a:gd name="T22" fmla="*/ 158 w 283"/>
              <a:gd name="T23" fmla="*/ 22 h 252"/>
              <a:gd name="T24" fmla="*/ 163 w 283"/>
              <a:gd name="T25" fmla="*/ 11 h 252"/>
              <a:gd name="T26" fmla="*/ 153 w 283"/>
              <a:gd name="T27" fmla="*/ 12 h 252"/>
              <a:gd name="T28" fmla="*/ 136 w 283"/>
              <a:gd name="T29" fmla="*/ 8 h 252"/>
              <a:gd name="T30" fmla="*/ 118 w 283"/>
              <a:gd name="T31" fmla="*/ 20 h 252"/>
              <a:gd name="T32" fmla="*/ 112 w 283"/>
              <a:gd name="T33" fmla="*/ 31 h 252"/>
              <a:gd name="T34" fmla="*/ 102 w 283"/>
              <a:gd name="T35" fmla="*/ 27 h 252"/>
              <a:gd name="T36" fmla="*/ 90 w 283"/>
              <a:gd name="T37" fmla="*/ 28 h 252"/>
              <a:gd name="T38" fmla="*/ 80 w 283"/>
              <a:gd name="T39" fmla="*/ 34 h 252"/>
              <a:gd name="T40" fmla="*/ 75 w 283"/>
              <a:gd name="T41" fmla="*/ 45 h 252"/>
              <a:gd name="T42" fmla="*/ 65 w 283"/>
              <a:gd name="T43" fmla="*/ 46 h 252"/>
              <a:gd name="T44" fmla="*/ 42 w 283"/>
              <a:gd name="T45" fmla="*/ 67 h 252"/>
              <a:gd name="T46" fmla="*/ 21 w 283"/>
              <a:gd name="T47" fmla="*/ 74 h 252"/>
              <a:gd name="T48" fmla="*/ 8 w 283"/>
              <a:gd name="T49" fmla="*/ 80 h 252"/>
              <a:gd name="T50" fmla="*/ 3 w 283"/>
              <a:gd name="T51" fmla="*/ 104 h 252"/>
              <a:gd name="T52" fmla="*/ 5 w 283"/>
              <a:gd name="T53" fmla="*/ 114 h 252"/>
              <a:gd name="T54" fmla="*/ 13 w 283"/>
              <a:gd name="T55" fmla="*/ 139 h 252"/>
              <a:gd name="T56" fmla="*/ 14 w 283"/>
              <a:gd name="T57" fmla="*/ 170 h 252"/>
              <a:gd name="T58" fmla="*/ 34 w 283"/>
              <a:gd name="T59" fmla="*/ 180 h 252"/>
              <a:gd name="T60" fmla="*/ 64 w 283"/>
              <a:gd name="T61" fmla="*/ 172 h 252"/>
              <a:gd name="T62" fmla="*/ 96 w 283"/>
              <a:gd name="T63" fmla="*/ 159 h 252"/>
              <a:gd name="T64" fmla="*/ 134 w 283"/>
              <a:gd name="T65" fmla="*/ 157 h 252"/>
              <a:gd name="T66" fmla="*/ 147 w 283"/>
              <a:gd name="T67" fmla="*/ 164 h 252"/>
              <a:gd name="T68" fmla="*/ 160 w 283"/>
              <a:gd name="T69" fmla="*/ 176 h 252"/>
              <a:gd name="T70" fmla="*/ 170 w 283"/>
              <a:gd name="T71" fmla="*/ 174 h 252"/>
              <a:gd name="T72" fmla="*/ 176 w 283"/>
              <a:gd name="T73" fmla="*/ 177 h 252"/>
              <a:gd name="T74" fmla="*/ 186 w 283"/>
              <a:gd name="T75" fmla="*/ 194 h 252"/>
              <a:gd name="T76" fmla="*/ 210 w 283"/>
              <a:gd name="T77" fmla="*/ 210 h 252"/>
              <a:gd name="T78" fmla="*/ 223 w 283"/>
              <a:gd name="T79" fmla="*/ 209 h 252"/>
              <a:gd name="T80" fmla="*/ 232 w 283"/>
              <a:gd name="T81" fmla="*/ 213 h 252"/>
              <a:gd name="T82" fmla="*/ 256 w 283"/>
              <a:gd name="T83" fmla="*/ 202 h 252"/>
              <a:gd name="T84" fmla="*/ 271 w 283"/>
              <a:gd name="T85" fmla="*/ 163 h 252"/>
              <a:gd name="T86" fmla="*/ 280 w 283"/>
              <a:gd name="T87" fmla="*/ 140 h 252"/>
              <a:gd name="T88" fmla="*/ 128 w 283"/>
              <a:gd name="T89" fmla="*/ 7 h 252"/>
              <a:gd name="T90" fmla="*/ 162 w 283"/>
              <a:gd name="T91" fmla="*/ 188 h 252"/>
              <a:gd name="T92" fmla="*/ 231 w 283"/>
              <a:gd name="T93" fmla="*/ 230 h 252"/>
              <a:gd name="T94" fmla="*/ 232 w 283"/>
              <a:gd name="T95" fmla="*/ 251 h 252"/>
              <a:gd name="T96" fmla="*/ 241 w 283"/>
              <a:gd name="T97" fmla="*/ 246 h 252"/>
              <a:gd name="T98" fmla="*/ 231 w 283"/>
              <a:gd name="T99" fmla="*/ 23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 h="252">
                <a:moveTo>
                  <a:pt x="281" y="127"/>
                </a:moveTo>
                <a:cubicBezTo>
                  <a:pt x="282" y="126"/>
                  <a:pt x="280" y="121"/>
                  <a:pt x="279" y="121"/>
                </a:cubicBezTo>
                <a:cubicBezTo>
                  <a:pt x="278" y="122"/>
                  <a:pt x="278" y="114"/>
                  <a:pt x="279" y="110"/>
                </a:cubicBezTo>
                <a:cubicBezTo>
                  <a:pt x="280" y="106"/>
                  <a:pt x="279" y="107"/>
                  <a:pt x="277" y="109"/>
                </a:cubicBezTo>
                <a:cubicBezTo>
                  <a:pt x="275" y="111"/>
                  <a:pt x="273" y="105"/>
                  <a:pt x="273" y="103"/>
                </a:cubicBezTo>
                <a:cubicBezTo>
                  <a:pt x="272" y="102"/>
                  <a:pt x="270" y="98"/>
                  <a:pt x="267" y="98"/>
                </a:cubicBezTo>
                <a:cubicBezTo>
                  <a:pt x="265" y="99"/>
                  <a:pt x="267" y="94"/>
                  <a:pt x="264" y="95"/>
                </a:cubicBezTo>
                <a:cubicBezTo>
                  <a:pt x="262" y="95"/>
                  <a:pt x="261" y="91"/>
                  <a:pt x="262" y="88"/>
                </a:cubicBezTo>
                <a:cubicBezTo>
                  <a:pt x="262" y="84"/>
                  <a:pt x="260" y="87"/>
                  <a:pt x="259" y="85"/>
                </a:cubicBezTo>
                <a:cubicBezTo>
                  <a:pt x="258" y="84"/>
                  <a:pt x="257" y="85"/>
                  <a:pt x="255" y="86"/>
                </a:cubicBezTo>
                <a:cubicBezTo>
                  <a:pt x="253" y="86"/>
                  <a:pt x="253" y="83"/>
                  <a:pt x="253" y="81"/>
                </a:cubicBezTo>
                <a:cubicBezTo>
                  <a:pt x="254" y="80"/>
                  <a:pt x="253" y="78"/>
                  <a:pt x="251" y="76"/>
                </a:cubicBezTo>
                <a:cubicBezTo>
                  <a:pt x="248" y="74"/>
                  <a:pt x="248" y="73"/>
                  <a:pt x="248" y="71"/>
                </a:cubicBezTo>
                <a:cubicBezTo>
                  <a:pt x="248" y="69"/>
                  <a:pt x="235" y="62"/>
                  <a:pt x="232" y="62"/>
                </a:cubicBezTo>
                <a:cubicBezTo>
                  <a:pt x="230" y="61"/>
                  <a:pt x="232" y="58"/>
                  <a:pt x="231" y="57"/>
                </a:cubicBezTo>
                <a:cubicBezTo>
                  <a:pt x="230" y="56"/>
                  <a:pt x="229" y="52"/>
                  <a:pt x="229" y="49"/>
                </a:cubicBezTo>
                <a:cubicBezTo>
                  <a:pt x="229" y="45"/>
                  <a:pt x="225" y="44"/>
                  <a:pt x="225" y="41"/>
                </a:cubicBezTo>
                <a:cubicBezTo>
                  <a:pt x="225" y="39"/>
                  <a:pt x="224" y="36"/>
                  <a:pt x="224" y="33"/>
                </a:cubicBezTo>
                <a:cubicBezTo>
                  <a:pt x="224" y="30"/>
                  <a:pt x="220" y="29"/>
                  <a:pt x="219" y="27"/>
                </a:cubicBezTo>
                <a:cubicBezTo>
                  <a:pt x="219" y="26"/>
                  <a:pt x="217" y="27"/>
                  <a:pt x="214" y="28"/>
                </a:cubicBezTo>
                <a:cubicBezTo>
                  <a:pt x="212" y="28"/>
                  <a:pt x="212" y="24"/>
                  <a:pt x="212" y="21"/>
                </a:cubicBezTo>
                <a:cubicBezTo>
                  <a:pt x="212" y="17"/>
                  <a:pt x="211" y="11"/>
                  <a:pt x="209" y="10"/>
                </a:cubicBezTo>
                <a:cubicBezTo>
                  <a:pt x="207" y="8"/>
                  <a:pt x="207" y="2"/>
                  <a:pt x="205" y="1"/>
                </a:cubicBezTo>
                <a:cubicBezTo>
                  <a:pt x="204" y="0"/>
                  <a:pt x="201" y="4"/>
                  <a:pt x="201" y="6"/>
                </a:cubicBezTo>
                <a:cubicBezTo>
                  <a:pt x="201" y="8"/>
                  <a:pt x="201" y="11"/>
                  <a:pt x="199" y="12"/>
                </a:cubicBezTo>
                <a:cubicBezTo>
                  <a:pt x="198" y="13"/>
                  <a:pt x="200" y="18"/>
                  <a:pt x="198" y="19"/>
                </a:cubicBezTo>
                <a:cubicBezTo>
                  <a:pt x="197" y="21"/>
                  <a:pt x="198" y="28"/>
                  <a:pt x="198" y="32"/>
                </a:cubicBezTo>
                <a:cubicBezTo>
                  <a:pt x="197" y="36"/>
                  <a:pt x="198" y="40"/>
                  <a:pt x="196" y="42"/>
                </a:cubicBezTo>
                <a:cubicBezTo>
                  <a:pt x="194" y="45"/>
                  <a:pt x="194" y="49"/>
                  <a:pt x="190" y="50"/>
                </a:cubicBezTo>
                <a:cubicBezTo>
                  <a:pt x="186" y="52"/>
                  <a:pt x="181" y="49"/>
                  <a:pt x="181" y="47"/>
                </a:cubicBezTo>
                <a:cubicBezTo>
                  <a:pt x="182" y="45"/>
                  <a:pt x="178" y="44"/>
                  <a:pt x="175" y="44"/>
                </a:cubicBezTo>
                <a:cubicBezTo>
                  <a:pt x="173" y="44"/>
                  <a:pt x="172" y="41"/>
                  <a:pt x="169" y="39"/>
                </a:cubicBezTo>
                <a:cubicBezTo>
                  <a:pt x="165" y="36"/>
                  <a:pt x="163" y="39"/>
                  <a:pt x="162" y="36"/>
                </a:cubicBezTo>
                <a:cubicBezTo>
                  <a:pt x="161" y="33"/>
                  <a:pt x="159" y="33"/>
                  <a:pt x="157" y="31"/>
                </a:cubicBezTo>
                <a:cubicBezTo>
                  <a:pt x="155" y="29"/>
                  <a:pt x="155" y="29"/>
                  <a:pt x="158" y="28"/>
                </a:cubicBezTo>
                <a:cubicBezTo>
                  <a:pt x="160" y="26"/>
                  <a:pt x="159" y="24"/>
                  <a:pt x="158" y="22"/>
                </a:cubicBezTo>
                <a:cubicBezTo>
                  <a:pt x="157" y="20"/>
                  <a:pt x="160" y="20"/>
                  <a:pt x="163" y="19"/>
                </a:cubicBezTo>
                <a:cubicBezTo>
                  <a:pt x="166" y="17"/>
                  <a:pt x="163" y="15"/>
                  <a:pt x="165" y="14"/>
                </a:cubicBezTo>
                <a:cubicBezTo>
                  <a:pt x="167" y="13"/>
                  <a:pt x="166" y="11"/>
                  <a:pt x="163" y="11"/>
                </a:cubicBezTo>
                <a:cubicBezTo>
                  <a:pt x="161" y="10"/>
                  <a:pt x="162" y="13"/>
                  <a:pt x="161" y="13"/>
                </a:cubicBezTo>
                <a:cubicBezTo>
                  <a:pt x="160" y="14"/>
                  <a:pt x="159" y="10"/>
                  <a:pt x="158" y="10"/>
                </a:cubicBezTo>
                <a:cubicBezTo>
                  <a:pt x="158" y="10"/>
                  <a:pt x="155" y="14"/>
                  <a:pt x="153" y="12"/>
                </a:cubicBezTo>
                <a:cubicBezTo>
                  <a:pt x="152" y="10"/>
                  <a:pt x="143" y="8"/>
                  <a:pt x="140" y="8"/>
                </a:cubicBezTo>
                <a:cubicBezTo>
                  <a:pt x="136" y="7"/>
                  <a:pt x="135" y="3"/>
                  <a:pt x="133" y="4"/>
                </a:cubicBezTo>
                <a:cubicBezTo>
                  <a:pt x="131" y="5"/>
                  <a:pt x="134" y="6"/>
                  <a:pt x="136" y="8"/>
                </a:cubicBezTo>
                <a:cubicBezTo>
                  <a:pt x="138" y="11"/>
                  <a:pt x="128" y="12"/>
                  <a:pt x="125" y="12"/>
                </a:cubicBezTo>
                <a:cubicBezTo>
                  <a:pt x="122" y="11"/>
                  <a:pt x="126" y="14"/>
                  <a:pt x="123" y="14"/>
                </a:cubicBezTo>
                <a:cubicBezTo>
                  <a:pt x="121" y="13"/>
                  <a:pt x="120" y="18"/>
                  <a:pt x="118" y="20"/>
                </a:cubicBezTo>
                <a:cubicBezTo>
                  <a:pt x="116" y="22"/>
                  <a:pt x="118" y="23"/>
                  <a:pt x="116" y="25"/>
                </a:cubicBezTo>
                <a:cubicBezTo>
                  <a:pt x="114" y="26"/>
                  <a:pt x="113" y="28"/>
                  <a:pt x="116" y="31"/>
                </a:cubicBezTo>
                <a:cubicBezTo>
                  <a:pt x="119" y="34"/>
                  <a:pt x="115" y="34"/>
                  <a:pt x="112" y="31"/>
                </a:cubicBezTo>
                <a:cubicBezTo>
                  <a:pt x="110" y="29"/>
                  <a:pt x="108" y="29"/>
                  <a:pt x="108" y="32"/>
                </a:cubicBezTo>
                <a:cubicBezTo>
                  <a:pt x="108" y="34"/>
                  <a:pt x="105" y="33"/>
                  <a:pt x="106" y="30"/>
                </a:cubicBezTo>
                <a:cubicBezTo>
                  <a:pt x="106" y="27"/>
                  <a:pt x="103" y="29"/>
                  <a:pt x="102" y="27"/>
                </a:cubicBezTo>
                <a:cubicBezTo>
                  <a:pt x="101" y="25"/>
                  <a:pt x="98" y="23"/>
                  <a:pt x="96" y="23"/>
                </a:cubicBezTo>
                <a:cubicBezTo>
                  <a:pt x="94" y="23"/>
                  <a:pt x="94" y="25"/>
                  <a:pt x="92" y="25"/>
                </a:cubicBezTo>
                <a:cubicBezTo>
                  <a:pt x="90" y="25"/>
                  <a:pt x="90" y="26"/>
                  <a:pt x="90" y="28"/>
                </a:cubicBezTo>
                <a:cubicBezTo>
                  <a:pt x="90" y="30"/>
                  <a:pt x="87" y="28"/>
                  <a:pt x="85" y="28"/>
                </a:cubicBezTo>
                <a:cubicBezTo>
                  <a:pt x="82" y="29"/>
                  <a:pt x="85" y="31"/>
                  <a:pt x="83" y="31"/>
                </a:cubicBezTo>
                <a:cubicBezTo>
                  <a:pt x="82" y="32"/>
                  <a:pt x="82" y="34"/>
                  <a:pt x="80" y="34"/>
                </a:cubicBezTo>
                <a:cubicBezTo>
                  <a:pt x="78" y="34"/>
                  <a:pt x="79" y="38"/>
                  <a:pt x="79" y="40"/>
                </a:cubicBezTo>
                <a:cubicBezTo>
                  <a:pt x="79" y="43"/>
                  <a:pt x="76" y="39"/>
                  <a:pt x="74" y="40"/>
                </a:cubicBezTo>
                <a:cubicBezTo>
                  <a:pt x="72" y="41"/>
                  <a:pt x="74" y="43"/>
                  <a:pt x="75" y="45"/>
                </a:cubicBezTo>
                <a:cubicBezTo>
                  <a:pt x="76" y="48"/>
                  <a:pt x="74" y="48"/>
                  <a:pt x="73" y="49"/>
                </a:cubicBezTo>
                <a:cubicBezTo>
                  <a:pt x="72" y="50"/>
                  <a:pt x="70" y="46"/>
                  <a:pt x="70" y="43"/>
                </a:cubicBezTo>
                <a:cubicBezTo>
                  <a:pt x="70" y="41"/>
                  <a:pt x="67" y="43"/>
                  <a:pt x="65" y="46"/>
                </a:cubicBezTo>
                <a:cubicBezTo>
                  <a:pt x="62" y="49"/>
                  <a:pt x="66" y="54"/>
                  <a:pt x="64" y="54"/>
                </a:cubicBezTo>
                <a:cubicBezTo>
                  <a:pt x="63" y="55"/>
                  <a:pt x="58" y="60"/>
                  <a:pt x="54" y="64"/>
                </a:cubicBezTo>
                <a:cubicBezTo>
                  <a:pt x="51" y="68"/>
                  <a:pt x="44" y="66"/>
                  <a:pt x="42" y="67"/>
                </a:cubicBezTo>
                <a:cubicBezTo>
                  <a:pt x="40" y="69"/>
                  <a:pt x="38" y="68"/>
                  <a:pt x="36" y="70"/>
                </a:cubicBezTo>
                <a:cubicBezTo>
                  <a:pt x="34" y="71"/>
                  <a:pt x="30" y="74"/>
                  <a:pt x="29" y="72"/>
                </a:cubicBezTo>
                <a:cubicBezTo>
                  <a:pt x="29" y="70"/>
                  <a:pt x="23" y="72"/>
                  <a:pt x="21" y="74"/>
                </a:cubicBezTo>
                <a:cubicBezTo>
                  <a:pt x="19" y="77"/>
                  <a:pt x="15" y="79"/>
                  <a:pt x="12" y="79"/>
                </a:cubicBezTo>
                <a:cubicBezTo>
                  <a:pt x="10" y="79"/>
                  <a:pt x="10" y="83"/>
                  <a:pt x="9" y="84"/>
                </a:cubicBezTo>
                <a:cubicBezTo>
                  <a:pt x="8" y="85"/>
                  <a:pt x="8" y="81"/>
                  <a:pt x="8" y="80"/>
                </a:cubicBezTo>
                <a:cubicBezTo>
                  <a:pt x="8" y="79"/>
                  <a:pt x="5" y="82"/>
                  <a:pt x="4" y="85"/>
                </a:cubicBezTo>
                <a:cubicBezTo>
                  <a:pt x="3" y="88"/>
                  <a:pt x="7" y="89"/>
                  <a:pt x="5" y="93"/>
                </a:cubicBezTo>
                <a:cubicBezTo>
                  <a:pt x="2" y="96"/>
                  <a:pt x="0" y="99"/>
                  <a:pt x="3" y="104"/>
                </a:cubicBezTo>
                <a:cubicBezTo>
                  <a:pt x="7" y="108"/>
                  <a:pt x="8" y="111"/>
                  <a:pt x="7" y="113"/>
                </a:cubicBezTo>
                <a:cubicBezTo>
                  <a:pt x="6" y="115"/>
                  <a:pt x="4" y="109"/>
                  <a:pt x="3" y="109"/>
                </a:cubicBezTo>
                <a:cubicBezTo>
                  <a:pt x="3" y="110"/>
                  <a:pt x="6" y="113"/>
                  <a:pt x="5" y="114"/>
                </a:cubicBezTo>
                <a:cubicBezTo>
                  <a:pt x="4" y="116"/>
                  <a:pt x="1" y="109"/>
                  <a:pt x="0" y="111"/>
                </a:cubicBezTo>
                <a:cubicBezTo>
                  <a:pt x="0" y="112"/>
                  <a:pt x="7" y="122"/>
                  <a:pt x="7" y="126"/>
                </a:cubicBezTo>
                <a:cubicBezTo>
                  <a:pt x="8" y="130"/>
                  <a:pt x="14" y="134"/>
                  <a:pt x="13" y="139"/>
                </a:cubicBezTo>
                <a:cubicBezTo>
                  <a:pt x="13" y="145"/>
                  <a:pt x="18" y="154"/>
                  <a:pt x="19" y="155"/>
                </a:cubicBezTo>
                <a:cubicBezTo>
                  <a:pt x="20" y="156"/>
                  <a:pt x="17" y="160"/>
                  <a:pt x="18" y="164"/>
                </a:cubicBezTo>
                <a:cubicBezTo>
                  <a:pt x="18" y="168"/>
                  <a:pt x="16" y="170"/>
                  <a:pt x="14" y="170"/>
                </a:cubicBezTo>
                <a:cubicBezTo>
                  <a:pt x="11" y="170"/>
                  <a:pt x="13" y="174"/>
                  <a:pt x="16" y="174"/>
                </a:cubicBezTo>
                <a:cubicBezTo>
                  <a:pt x="19" y="175"/>
                  <a:pt x="17" y="177"/>
                  <a:pt x="21" y="179"/>
                </a:cubicBezTo>
                <a:cubicBezTo>
                  <a:pt x="24" y="181"/>
                  <a:pt x="32" y="180"/>
                  <a:pt x="34" y="180"/>
                </a:cubicBezTo>
                <a:cubicBezTo>
                  <a:pt x="37" y="180"/>
                  <a:pt x="38" y="176"/>
                  <a:pt x="41" y="176"/>
                </a:cubicBezTo>
                <a:cubicBezTo>
                  <a:pt x="45" y="176"/>
                  <a:pt x="44" y="175"/>
                  <a:pt x="46" y="173"/>
                </a:cubicBezTo>
                <a:cubicBezTo>
                  <a:pt x="48" y="170"/>
                  <a:pt x="56" y="171"/>
                  <a:pt x="64" y="172"/>
                </a:cubicBezTo>
                <a:cubicBezTo>
                  <a:pt x="72" y="172"/>
                  <a:pt x="75" y="170"/>
                  <a:pt x="76" y="166"/>
                </a:cubicBezTo>
                <a:cubicBezTo>
                  <a:pt x="77" y="163"/>
                  <a:pt x="83" y="163"/>
                  <a:pt x="86" y="161"/>
                </a:cubicBezTo>
                <a:cubicBezTo>
                  <a:pt x="88" y="159"/>
                  <a:pt x="90" y="159"/>
                  <a:pt x="96" y="159"/>
                </a:cubicBezTo>
                <a:cubicBezTo>
                  <a:pt x="102" y="159"/>
                  <a:pt x="107" y="156"/>
                  <a:pt x="111" y="155"/>
                </a:cubicBezTo>
                <a:cubicBezTo>
                  <a:pt x="115" y="153"/>
                  <a:pt x="122" y="154"/>
                  <a:pt x="126" y="153"/>
                </a:cubicBezTo>
                <a:cubicBezTo>
                  <a:pt x="129" y="152"/>
                  <a:pt x="130" y="157"/>
                  <a:pt x="134" y="157"/>
                </a:cubicBezTo>
                <a:cubicBezTo>
                  <a:pt x="138" y="156"/>
                  <a:pt x="140" y="158"/>
                  <a:pt x="142" y="158"/>
                </a:cubicBezTo>
                <a:cubicBezTo>
                  <a:pt x="144" y="158"/>
                  <a:pt x="144" y="160"/>
                  <a:pt x="146" y="160"/>
                </a:cubicBezTo>
                <a:cubicBezTo>
                  <a:pt x="148" y="160"/>
                  <a:pt x="148" y="162"/>
                  <a:pt x="147" y="164"/>
                </a:cubicBezTo>
                <a:cubicBezTo>
                  <a:pt x="145" y="166"/>
                  <a:pt x="150" y="166"/>
                  <a:pt x="153" y="170"/>
                </a:cubicBezTo>
                <a:cubicBezTo>
                  <a:pt x="156" y="174"/>
                  <a:pt x="153" y="175"/>
                  <a:pt x="154" y="178"/>
                </a:cubicBezTo>
                <a:cubicBezTo>
                  <a:pt x="156" y="181"/>
                  <a:pt x="157" y="180"/>
                  <a:pt x="160" y="176"/>
                </a:cubicBezTo>
                <a:cubicBezTo>
                  <a:pt x="163" y="171"/>
                  <a:pt x="166" y="174"/>
                  <a:pt x="167" y="170"/>
                </a:cubicBezTo>
                <a:cubicBezTo>
                  <a:pt x="167" y="167"/>
                  <a:pt x="170" y="163"/>
                  <a:pt x="173" y="164"/>
                </a:cubicBezTo>
                <a:cubicBezTo>
                  <a:pt x="175" y="166"/>
                  <a:pt x="171" y="167"/>
                  <a:pt x="170" y="174"/>
                </a:cubicBezTo>
                <a:cubicBezTo>
                  <a:pt x="168" y="181"/>
                  <a:pt x="166" y="178"/>
                  <a:pt x="165" y="180"/>
                </a:cubicBezTo>
                <a:cubicBezTo>
                  <a:pt x="165" y="181"/>
                  <a:pt x="172" y="183"/>
                  <a:pt x="172" y="179"/>
                </a:cubicBezTo>
                <a:cubicBezTo>
                  <a:pt x="172" y="175"/>
                  <a:pt x="173" y="174"/>
                  <a:pt x="176" y="177"/>
                </a:cubicBezTo>
                <a:cubicBezTo>
                  <a:pt x="178" y="180"/>
                  <a:pt x="174" y="183"/>
                  <a:pt x="175" y="185"/>
                </a:cubicBezTo>
                <a:cubicBezTo>
                  <a:pt x="175" y="186"/>
                  <a:pt x="178" y="184"/>
                  <a:pt x="180" y="184"/>
                </a:cubicBezTo>
                <a:cubicBezTo>
                  <a:pt x="183" y="185"/>
                  <a:pt x="186" y="191"/>
                  <a:pt x="186" y="194"/>
                </a:cubicBezTo>
                <a:cubicBezTo>
                  <a:pt x="185" y="197"/>
                  <a:pt x="184" y="200"/>
                  <a:pt x="189" y="203"/>
                </a:cubicBezTo>
                <a:cubicBezTo>
                  <a:pt x="194" y="205"/>
                  <a:pt x="192" y="206"/>
                  <a:pt x="196" y="206"/>
                </a:cubicBezTo>
                <a:cubicBezTo>
                  <a:pt x="200" y="206"/>
                  <a:pt x="208" y="209"/>
                  <a:pt x="210" y="210"/>
                </a:cubicBezTo>
                <a:cubicBezTo>
                  <a:pt x="212" y="212"/>
                  <a:pt x="218" y="209"/>
                  <a:pt x="219" y="205"/>
                </a:cubicBezTo>
                <a:cubicBezTo>
                  <a:pt x="220" y="202"/>
                  <a:pt x="224" y="205"/>
                  <a:pt x="222" y="207"/>
                </a:cubicBezTo>
                <a:cubicBezTo>
                  <a:pt x="220" y="208"/>
                  <a:pt x="223" y="211"/>
                  <a:pt x="223" y="209"/>
                </a:cubicBezTo>
                <a:cubicBezTo>
                  <a:pt x="223" y="207"/>
                  <a:pt x="224" y="205"/>
                  <a:pt x="225" y="207"/>
                </a:cubicBezTo>
                <a:cubicBezTo>
                  <a:pt x="226" y="210"/>
                  <a:pt x="228" y="210"/>
                  <a:pt x="229" y="211"/>
                </a:cubicBezTo>
                <a:cubicBezTo>
                  <a:pt x="230" y="213"/>
                  <a:pt x="232" y="215"/>
                  <a:pt x="232" y="213"/>
                </a:cubicBezTo>
                <a:cubicBezTo>
                  <a:pt x="232" y="212"/>
                  <a:pt x="232" y="210"/>
                  <a:pt x="235" y="209"/>
                </a:cubicBezTo>
                <a:cubicBezTo>
                  <a:pt x="237" y="208"/>
                  <a:pt x="239" y="207"/>
                  <a:pt x="241" y="205"/>
                </a:cubicBezTo>
                <a:cubicBezTo>
                  <a:pt x="244" y="202"/>
                  <a:pt x="255" y="202"/>
                  <a:pt x="256" y="202"/>
                </a:cubicBezTo>
                <a:cubicBezTo>
                  <a:pt x="257" y="202"/>
                  <a:pt x="257" y="193"/>
                  <a:pt x="258" y="188"/>
                </a:cubicBezTo>
                <a:cubicBezTo>
                  <a:pt x="259" y="183"/>
                  <a:pt x="263" y="183"/>
                  <a:pt x="263" y="178"/>
                </a:cubicBezTo>
                <a:cubicBezTo>
                  <a:pt x="264" y="172"/>
                  <a:pt x="269" y="163"/>
                  <a:pt x="271" y="163"/>
                </a:cubicBezTo>
                <a:cubicBezTo>
                  <a:pt x="272" y="162"/>
                  <a:pt x="274" y="161"/>
                  <a:pt x="275" y="158"/>
                </a:cubicBezTo>
                <a:cubicBezTo>
                  <a:pt x="275" y="155"/>
                  <a:pt x="278" y="152"/>
                  <a:pt x="278" y="148"/>
                </a:cubicBezTo>
                <a:cubicBezTo>
                  <a:pt x="278" y="145"/>
                  <a:pt x="280" y="141"/>
                  <a:pt x="280" y="140"/>
                </a:cubicBezTo>
                <a:cubicBezTo>
                  <a:pt x="280" y="139"/>
                  <a:pt x="278" y="135"/>
                  <a:pt x="281" y="133"/>
                </a:cubicBezTo>
                <a:cubicBezTo>
                  <a:pt x="283" y="130"/>
                  <a:pt x="280" y="127"/>
                  <a:pt x="281" y="127"/>
                </a:cubicBezTo>
                <a:close/>
                <a:moveTo>
                  <a:pt x="128" y="7"/>
                </a:moveTo>
                <a:cubicBezTo>
                  <a:pt x="128" y="5"/>
                  <a:pt x="117" y="7"/>
                  <a:pt x="119" y="9"/>
                </a:cubicBezTo>
                <a:cubicBezTo>
                  <a:pt x="121" y="10"/>
                  <a:pt x="128" y="9"/>
                  <a:pt x="128" y="7"/>
                </a:cubicBezTo>
                <a:close/>
                <a:moveTo>
                  <a:pt x="162" y="188"/>
                </a:moveTo>
                <a:cubicBezTo>
                  <a:pt x="164" y="189"/>
                  <a:pt x="170" y="189"/>
                  <a:pt x="171" y="187"/>
                </a:cubicBezTo>
                <a:cubicBezTo>
                  <a:pt x="172" y="185"/>
                  <a:pt x="161" y="186"/>
                  <a:pt x="162" y="188"/>
                </a:cubicBezTo>
                <a:close/>
                <a:moveTo>
                  <a:pt x="231" y="230"/>
                </a:moveTo>
                <a:cubicBezTo>
                  <a:pt x="227" y="231"/>
                  <a:pt x="221" y="226"/>
                  <a:pt x="220" y="227"/>
                </a:cubicBezTo>
                <a:cubicBezTo>
                  <a:pt x="218" y="227"/>
                  <a:pt x="225" y="238"/>
                  <a:pt x="223" y="241"/>
                </a:cubicBezTo>
                <a:cubicBezTo>
                  <a:pt x="221" y="243"/>
                  <a:pt x="229" y="251"/>
                  <a:pt x="232" y="251"/>
                </a:cubicBezTo>
                <a:cubicBezTo>
                  <a:pt x="235" y="252"/>
                  <a:pt x="234" y="248"/>
                  <a:pt x="236" y="249"/>
                </a:cubicBezTo>
                <a:cubicBezTo>
                  <a:pt x="238" y="249"/>
                  <a:pt x="237" y="247"/>
                  <a:pt x="237" y="245"/>
                </a:cubicBezTo>
                <a:cubicBezTo>
                  <a:pt x="238" y="243"/>
                  <a:pt x="240" y="247"/>
                  <a:pt x="241" y="246"/>
                </a:cubicBezTo>
                <a:cubicBezTo>
                  <a:pt x="243" y="245"/>
                  <a:pt x="241" y="238"/>
                  <a:pt x="243" y="238"/>
                </a:cubicBezTo>
                <a:cubicBezTo>
                  <a:pt x="246" y="238"/>
                  <a:pt x="244" y="230"/>
                  <a:pt x="243" y="228"/>
                </a:cubicBezTo>
                <a:cubicBezTo>
                  <a:pt x="242" y="225"/>
                  <a:pt x="236" y="230"/>
                  <a:pt x="231" y="23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1" name="Freeform 157"/>
          <p:cNvSpPr>
            <a:spLocks noEditPoints="1"/>
          </p:cNvSpPr>
          <p:nvPr/>
        </p:nvSpPr>
        <p:spPr bwMode="auto">
          <a:xfrm>
            <a:off x="7462317" y="3870773"/>
            <a:ext cx="244475" cy="293688"/>
          </a:xfrm>
          <a:custGeom>
            <a:avLst/>
            <a:gdLst>
              <a:gd name="T0" fmla="*/ 53 w 86"/>
              <a:gd name="T1" fmla="*/ 50 h 103"/>
              <a:gd name="T2" fmla="*/ 48 w 86"/>
              <a:gd name="T3" fmla="*/ 52 h 103"/>
              <a:gd name="T4" fmla="*/ 41 w 86"/>
              <a:gd name="T5" fmla="*/ 49 h 103"/>
              <a:gd name="T6" fmla="*/ 38 w 86"/>
              <a:gd name="T7" fmla="*/ 55 h 103"/>
              <a:gd name="T8" fmla="*/ 32 w 86"/>
              <a:gd name="T9" fmla="*/ 64 h 103"/>
              <a:gd name="T10" fmla="*/ 13 w 86"/>
              <a:gd name="T11" fmla="*/ 77 h 103"/>
              <a:gd name="T12" fmla="*/ 4 w 86"/>
              <a:gd name="T13" fmla="*/ 85 h 103"/>
              <a:gd name="T14" fmla="*/ 2 w 86"/>
              <a:gd name="T15" fmla="*/ 93 h 103"/>
              <a:gd name="T16" fmla="*/ 9 w 86"/>
              <a:gd name="T17" fmla="*/ 95 h 103"/>
              <a:gd name="T18" fmla="*/ 14 w 86"/>
              <a:gd name="T19" fmla="*/ 97 h 103"/>
              <a:gd name="T20" fmla="*/ 26 w 86"/>
              <a:gd name="T21" fmla="*/ 94 h 103"/>
              <a:gd name="T22" fmla="*/ 31 w 86"/>
              <a:gd name="T23" fmla="*/ 86 h 103"/>
              <a:gd name="T24" fmla="*/ 34 w 86"/>
              <a:gd name="T25" fmla="*/ 79 h 103"/>
              <a:gd name="T26" fmla="*/ 42 w 86"/>
              <a:gd name="T27" fmla="*/ 75 h 103"/>
              <a:gd name="T28" fmla="*/ 44 w 86"/>
              <a:gd name="T29" fmla="*/ 71 h 103"/>
              <a:gd name="T30" fmla="*/ 49 w 86"/>
              <a:gd name="T31" fmla="*/ 64 h 103"/>
              <a:gd name="T32" fmla="*/ 54 w 86"/>
              <a:gd name="T33" fmla="*/ 55 h 103"/>
              <a:gd name="T34" fmla="*/ 53 w 86"/>
              <a:gd name="T35" fmla="*/ 50 h 103"/>
              <a:gd name="T36" fmla="*/ 9 w 86"/>
              <a:gd name="T37" fmla="*/ 102 h 103"/>
              <a:gd name="T38" fmla="*/ 12 w 86"/>
              <a:gd name="T39" fmla="*/ 99 h 103"/>
              <a:gd name="T40" fmla="*/ 9 w 86"/>
              <a:gd name="T41" fmla="*/ 102 h 103"/>
              <a:gd name="T42" fmla="*/ 78 w 86"/>
              <a:gd name="T43" fmla="*/ 25 h 103"/>
              <a:gd name="T44" fmla="*/ 71 w 86"/>
              <a:gd name="T45" fmla="*/ 25 h 103"/>
              <a:gd name="T46" fmla="*/ 67 w 86"/>
              <a:gd name="T47" fmla="*/ 21 h 103"/>
              <a:gd name="T48" fmla="*/ 64 w 86"/>
              <a:gd name="T49" fmla="*/ 15 h 103"/>
              <a:gd name="T50" fmla="*/ 64 w 86"/>
              <a:gd name="T51" fmla="*/ 19 h 103"/>
              <a:gd name="T52" fmla="*/ 61 w 86"/>
              <a:gd name="T53" fmla="*/ 17 h 103"/>
              <a:gd name="T54" fmla="*/ 59 w 86"/>
              <a:gd name="T55" fmla="*/ 13 h 103"/>
              <a:gd name="T56" fmla="*/ 56 w 86"/>
              <a:gd name="T57" fmla="*/ 6 h 103"/>
              <a:gd name="T58" fmla="*/ 48 w 86"/>
              <a:gd name="T59" fmla="*/ 0 h 103"/>
              <a:gd name="T60" fmla="*/ 50 w 86"/>
              <a:gd name="T61" fmla="*/ 8 h 103"/>
              <a:gd name="T62" fmla="*/ 55 w 86"/>
              <a:gd name="T63" fmla="*/ 12 h 103"/>
              <a:gd name="T64" fmla="*/ 59 w 86"/>
              <a:gd name="T65" fmla="*/ 18 h 103"/>
              <a:gd name="T66" fmla="*/ 58 w 86"/>
              <a:gd name="T67" fmla="*/ 28 h 103"/>
              <a:gd name="T68" fmla="*/ 52 w 86"/>
              <a:gd name="T69" fmla="*/ 34 h 103"/>
              <a:gd name="T70" fmla="*/ 61 w 86"/>
              <a:gd name="T71" fmla="*/ 43 h 103"/>
              <a:gd name="T72" fmla="*/ 59 w 86"/>
              <a:gd name="T73" fmla="*/ 54 h 103"/>
              <a:gd name="T74" fmla="*/ 65 w 86"/>
              <a:gd name="T75" fmla="*/ 55 h 103"/>
              <a:gd name="T76" fmla="*/ 73 w 86"/>
              <a:gd name="T77" fmla="*/ 44 h 103"/>
              <a:gd name="T78" fmla="*/ 75 w 86"/>
              <a:gd name="T79" fmla="*/ 37 h 103"/>
              <a:gd name="T80" fmla="*/ 80 w 86"/>
              <a:gd name="T81" fmla="*/ 35 h 103"/>
              <a:gd name="T82" fmla="*/ 83 w 86"/>
              <a:gd name="T83" fmla="*/ 31 h 103"/>
              <a:gd name="T84" fmla="*/ 85 w 86"/>
              <a:gd name="T85" fmla="*/ 25 h 103"/>
              <a:gd name="T86" fmla="*/ 78 w 86"/>
              <a:gd name="T87" fmla="*/ 2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6" h="103">
                <a:moveTo>
                  <a:pt x="53" y="50"/>
                </a:moveTo>
                <a:cubicBezTo>
                  <a:pt x="51" y="48"/>
                  <a:pt x="50" y="50"/>
                  <a:pt x="48" y="52"/>
                </a:cubicBezTo>
                <a:cubicBezTo>
                  <a:pt x="46" y="53"/>
                  <a:pt x="44" y="46"/>
                  <a:pt x="41" y="49"/>
                </a:cubicBezTo>
                <a:cubicBezTo>
                  <a:pt x="38" y="51"/>
                  <a:pt x="41" y="52"/>
                  <a:pt x="38" y="55"/>
                </a:cubicBezTo>
                <a:cubicBezTo>
                  <a:pt x="34" y="57"/>
                  <a:pt x="36" y="58"/>
                  <a:pt x="32" y="64"/>
                </a:cubicBezTo>
                <a:cubicBezTo>
                  <a:pt x="28" y="70"/>
                  <a:pt x="15" y="74"/>
                  <a:pt x="13" y="77"/>
                </a:cubicBezTo>
                <a:cubicBezTo>
                  <a:pt x="11" y="80"/>
                  <a:pt x="4" y="83"/>
                  <a:pt x="4" y="85"/>
                </a:cubicBezTo>
                <a:cubicBezTo>
                  <a:pt x="4" y="88"/>
                  <a:pt x="0" y="89"/>
                  <a:pt x="2" y="93"/>
                </a:cubicBezTo>
                <a:cubicBezTo>
                  <a:pt x="4" y="95"/>
                  <a:pt x="7" y="93"/>
                  <a:pt x="9" y="95"/>
                </a:cubicBezTo>
                <a:cubicBezTo>
                  <a:pt x="11" y="97"/>
                  <a:pt x="13" y="96"/>
                  <a:pt x="14" y="97"/>
                </a:cubicBezTo>
                <a:cubicBezTo>
                  <a:pt x="15" y="99"/>
                  <a:pt x="21" y="99"/>
                  <a:pt x="26" y="94"/>
                </a:cubicBezTo>
                <a:cubicBezTo>
                  <a:pt x="31" y="90"/>
                  <a:pt x="29" y="88"/>
                  <a:pt x="31" y="86"/>
                </a:cubicBezTo>
                <a:cubicBezTo>
                  <a:pt x="33" y="85"/>
                  <a:pt x="33" y="82"/>
                  <a:pt x="34" y="79"/>
                </a:cubicBezTo>
                <a:cubicBezTo>
                  <a:pt x="36" y="77"/>
                  <a:pt x="37" y="75"/>
                  <a:pt x="42" y="75"/>
                </a:cubicBezTo>
                <a:cubicBezTo>
                  <a:pt x="48" y="75"/>
                  <a:pt x="45" y="73"/>
                  <a:pt x="44" y="71"/>
                </a:cubicBezTo>
                <a:cubicBezTo>
                  <a:pt x="44" y="68"/>
                  <a:pt x="49" y="68"/>
                  <a:pt x="49" y="64"/>
                </a:cubicBezTo>
                <a:cubicBezTo>
                  <a:pt x="49" y="61"/>
                  <a:pt x="56" y="58"/>
                  <a:pt x="54" y="55"/>
                </a:cubicBezTo>
                <a:cubicBezTo>
                  <a:pt x="53" y="53"/>
                  <a:pt x="55" y="51"/>
                  <a:pt x="53" y="50"/>
                </a:cubicBezTo>
                <a:close/>
                <a:moveTo>
                  <a:pt x="9" y="102"/>
                </a:moveTo>
                <a:cubicBezTo>
                  <a:pt x="10" y="103"/>
                  <a:pt x="14" y="102"/>
                  <a:pt x="12" y="99"/>
                </a:cubicBezTo>
                <a:cubicBezTo>
                  <a:pt x="10" y="97"/>
                  <a:pt x="7" y="102"/>
                  <a:pt x="9" y="102"/>
                </a:cubicBezTo>
                <a:close/>
                <a:moveTo>
                  <a:pt x="78" y="25"/>
                </a:moveTo>
                <a:cubicBezTo>
                  <a:pt x="77" y="28"/>
                  <a:pt x="74" y="25"/>
                  <a:pt x="71" y="25"/>
                </a:cubicBezTo>
                <a:cubicBezTo>
                  <a:pt x="69" y="25"/>
                  <a:pt x="67" y="23"/>
                  <a:pt x="67" y="21"/>
                </a:cubicBezTo>
                <a:cubicBezTo>
                  <a:pt x="67" y="18"/>
                  <a:pt x="67" y="15"/>
                  <a:pt x="64" y="15"/>
                </a:cubicBezTo>
                <a:cubicBezTo>
                  <a:pt x="62" y="15"/>
                  <a:pt x="65" y="18"/>
                  <a:pt x="64" y="19"/>
                </a:cubicBezTo>
                <a:cubicBezTo>
                  <a:pt x="63" y="20"/>
                  <a:pt x="63" y="17"/>
                  <a:pt x="61" y="17"/>
                </a:cubicBezTo>
                <a:cubicBezTo>
                  <a:pt x="60" y="17"/>
                  <a:pt x="59" y="16"/>
                  <a:pt x="59" y="13"/>
                </a:cubicBezTo>
                <a:cubicBezTo>
                  <a:pt x="59" y="10"/>
                  <a:pt x="56" y="10"/>
                  <a:pt x="56" y="6"/>
                </a:cubicBezTo>
                <a:cubicBezTo>
                  <a:pt x="56" y="3"/>
                  <a:pt x="51" y="0"/>
                  <a:pt x="48" y="0"/>
                </a:cubicBezTo>
                <a:cubicBezTo>
                  <a:pt x="45" y="0"/>
                  <a:pt x="48" y="6"/>
                  <a:pt x="50" y="8"/>
                </a:cubicBezTo>
                <a:cubicBezTo>
                  <a:pt x="51" y="9"/>
                  <a:pt x="55" y="11"/>
                  <a:pt x="55" y="12"/>
                </a:cubicBezTo>
                <a:cubicBezTo>
                  <a:pt x="54" y="14"/>
                  <a:pt x="57" y="17"/>
                  <a:pt x="59" y="18"/>
                </a:cubicBezTo>
                <a:cubicBezTo>
                  <a:pt x="61" y="19"/>
                  <a:pt x="58" y="24"/>
                  <a:pt x="58" y="28"/>
                </a:cubicBezTo>
                <a:cubicBezTo>
                  <a:pt x="58" y="32"/>
                  <a:pt x="54" y="32"/>
                  <a:pt x="52" y="34"/>
                </a:cubicBezTo>
                <a:cubicBezTo>
                  <a:pt x="50" y="37"/>
                  <a:pt x="58" y="40"/>
                  <a:pt x="61" y="43"/>
                </a:cubicBezTo>
                <a:cubicBezTo>
                  <a:pt x="64" y="45"/>
                  <a:pt x="58" y="52"/>
                  <a:pt x="59" y="54"/>
                </a:cubicBezTo>
                <a:cubicBezTo>
                  <a:pt x="60" y="54"/>
                  <a:pt x="62" y="55"/>
                  <a:pt x="65" y="55"/>
                </a:cubicBezTo>
                <a:cubicBezTo>
                  <a:pt x="69" y="54"/>
                  <a:pt x="71" y="46"/>
                  <a:pt x="73" y="44"/>
                </a:cubicBezTo>
                <a:cubicBezTo>
                  <a:pt x="75" y="42"/>
                  <a:pt x="74" y="38"/>
                  <a:pt x="75" y="37"/>
                </a:cubicBezTo>
                <a:cubicBezTo>
                  <a:pt x="76" y="35"/>
                  <a:pt x="78" y="35"/>
                  <a:pt x="80" y="35"/>
                </a:cubicBezTo>
                <a:cubicBezTo>
                  <a:pt x="81" y="35"/>
                  <a:pt x="81" y="31"/>
                  <a:pt x="83" y="31"/>
                </a:cubicBezTo>
                <a:cubicBezTo>
                  <a:pt x="85" y="31"/>
                  <a:pt x="84" y="28"/>
                  <a:pt x="85" y="25"/>
                </a:cubicBezTo>
                <a:cubicBezTo>
                  <a:pt x="86" y="22"/>
                  <a:pt x="80" y="23"/>
                  <a:pt x="78" y="2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2" name="Freeform 158"/>
          <p:cNvSpPr>
            <a:spLocks noEditPoints="1"/>
          </p:cNvSpPr>
          <p:nvPr/>
        </p:nvSpPr>
        <p:spPr bwMode="auto">
          <a:xfrm>
            <a:off x="7676630" y="3473898"/>
            <a:ext cx="53975" cy="49213"/>
          </a:xfrm>
          <a:custGeom>
            <a:avLst/>
            <a:gdLst>
              <a:gd name="T0" fmla="*/ 3 w 19"/>
              <a:gd name="T1" fmla="*/ 14 h 17"/>
              <a:gd name="T2" fmla="*/ 11 w 19"/>
              <a:gd name="T3" fmla="*/ 12 h 17"/>
              <a:gd name="T4" fmla="*/ 3 w 19"/>
              <a:gd name="T5" fmla="*/ 14 h 17"/>
              <a:gd name="T6" fmla="*/ 12 w 19"/>
              <a:gd name="T7" fmla="*/ 6 h 17"/>
              <a:gd name="T8" fmla="*/ 19 w 19"/>
              <a:gd name="T9" fmla="*/ 3 h 17"/>
              <a:gd name="T10" fmla="*/ 12 w 19"/>
              <a:gd name="T11" fmla="*/ 6 h 17"/>
            </a:gdLst>
            <a:ahLst/>
            <a:cxnLst>
              <a:cxn ang="0">
                <a:pos x="T0" y="T1"/>
              </a:cxn>
              <a:cxn ang="0">
                <a:pos x="T2" y="T3"/>
              </a:cxn>
              <a:cxn ang="0">
                <a:pos x="T4" y="T5"/>
              </a:cxn>
              <a:cxn ang="0">
                <a:pos x="T6" y="T7"/>
              </a:cxn>
              <a:cxn ang="0">
                <a:pos x="T8" y="T9"/>
              </a:cxn>
              <a:cxn ang="0">
                <a:pos x="T10" y="T11"/>
              </a:cxn>
            </a:cxnLst>
            <a:rect l="0" t="0" r="r" b="b"/>
            <a:pathLst>
              <a:path w="19" h="17">
                <a:moveTo>
                  <a:pt x="3" y="14"/>
                </a:moveTo>
                <a:cubicBezTo>
                  <a:pt x="5" y="17"/>
                  <a:pt x="11" y="17"/>
                  <a:pt x="11" y="12"/>
                </a:cubicBezTo>
                <a:cubicBezTo>
                  <a:pt x="11" y="8"/>
                  <a:pt x="0" y="12"/>
                  <a:pt x="3" y="14"/>
                </a:cubicBezTo>
                <a:close/>
                <a:moveTo>
                  <a:pt x="12" y="6"/>
                </a:moveTo>
                <a:cubicBezTo>
                  <a:pt x="14" y="7"/>
                  <a:pt x="19" y="5"/>
                  <a:pt x="19" y="3"/>
                </a:cubicBezTo>
                <a:cubicBezTo>
                  <a:pt x="19" y="0"/>
                  <a:pt x="10" y="5"/>
                  <a:pt x="12"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3" name="Freeform 159"/>
          <p:cNvSpPr/>
          <p:nvPr/>
        </p:nvSpPr>
        <p:spPr bwMode="auto">
          <a:xfrm>
            <a:off x="5244580" y="2246760"/>
            <a:ext cx="277813" cy="179388"/>
          </a:xfrm>
          <a:custGeom>
            <a:avLst/>
            <a:gdLst>
              <a:gd name="T0" fmla="*/ 98 w 98"/>
              <a:gd name="T1" fmla="*/ 40 h 63"/>
              <a:gd name="T2" fmla="*/ 92 w 98"/>
              <a:gd name="T3" fmla="*/ 37 h 63"/>
              <a:gd name="T4" fmla="*/ 85 w 98"/>
              <a:gd name="T5" fmla="*/ 33 h 63"/>
              <a:gd name="T6" fmla="*/ 77 w 98"/>
              <a:gd name="T7" fmla="*/ 28 h 63"/>
              <a:gd name="T8" fmla="*/ 70 w 98"/>
              <a:gd name="T9" fmla="*/ 23 h 63"/>
              <a:gd name="T10" fmla="*/ 67 w 98"/>
              <a:gd name="T11" fmla="*/ 17 h 63"/>
              <a:gd name="T12" fmla="*/ 64 w 98"/>
              <a:gd name="T13" fmla="*/ 13 h 63"/>
              <a:gd name="T14" fmla="*/ 54 w 98"/>
              <a:gd name="T15" fmla="*/ 12 h 63"/>
              <a:gd name="T16" fmla="*/ 51 w 98"/>
              <a:gd name="T17" fmla="*/ 4 h 63"/>
              <a:gd name="T18" fmla="*/ 46 w 98"/>
              <a:gd name="T19" fmla="*/ 2 h 63"/>
              <a:gd name="T20" fmla="*/ 41 w 98"/>
              <a:gd name="T21" fmla="*/ 1 h 63"/>
              <a:gd name="T22" fmla="*/ 38 w 98"/>
              <a:gd name="T23" fmla="*/ 3 h 63"/>
              <a:gd name="T24" fmla="*/ 36 w 98"/>
              <a:gd name="T25" fmla="*/ 5 h 63"/>
              <a:gd name="T26" fmla="*/ 31 w 98"/>
              <a:gd name="T27" fmla="*/ 9 h 63"/>
              <a:gd name="T28" fmla="*/ 29 w 98"/>
              <a:gd name="T29" fmla="*/ 12 h 63"/>
              <a:gd name="T30" fmla="*/ 24 w 98"/>
              <a:gd name="T31" fmla="*/ 11 h 63"/>
              <a:gd name="T32" fmla="*/ 19 w 98"/>
              <a:gd name="T33" fmla="*/ 10 h 63"/>
              <a:gd name="T34" fmla="*/ 10 w 98"/>
              <a:gd name="T35" fmla="*/ 3 h 63"/>
              <a:gd name="T36" fmla="*/ 3 w 98"/>
              <a:gd name="T37" fmla="*/ 7 h 63"/>
              <a:gd name="T38" fmla="*/ 7 w 98"/>
              <a:gd name="T39" fmla="*/ 6 h 63"/>
              <a:gd name="T40" fmla="*/ 12 w 98"/>
              <a:gd name="T41" fmla="*/ 12 h 63"/>
              <a:gd name="T42" fmla="*/ 15 w 98"/>
              <a:gd name="T43" fmla="*/ 16 h 63"/>
              <a:gd name="T44" fmla="*/ 8 w 98"/>
              <a:gd name="T45" fmla="*/ 18 h 63"/>
              <a:gd name="T46" fmla="*/ 2 w 98"/>
              <a:gd name="T47" fmla="*/ 18 h 63"/>
              <a:gd name="T48" fmla="*/ 3 w 98"/>
              <a:gd name="T49" fmla="*/ 23 h 63"/>
              <a:gd name="T50" fmla="*/ 4 w 98"/>
              <a:gd name="T51" fmla="*/ 28 h 63"/>
              <a:gd name="T52" fmla="*/ 8 w 98"/>
              <a:gd name="T53" fmla="*/ 29 h 63"/>
              <a:gd name="T54" fmla="*/ 9 w 98"/>
              <a:gd name="T55" fmla="*/ 35 h 63"/>
              <a:gd name="T56" fmla="*/ 9 w 98"/>
              <a:gd name="T57" fmla="*/ 44 h 63"/>
              <a:gd name="T58" fmla="*/ 15 w 98"/>
              <a:gd name="T59" fmla="*/ 43 h 63"/>
              <a:gd name="T60" fmla="*/ 21 w 98"/>
              <a:gd name="T61" fmla="*/ 39 h 63"/>
              <a:gd name="T62" fmla="*/ 26 w 98"/>
              <a:gd name="T63" fmla="*/ 38 h 63"/>
              <a:gd name="T64" fmla="*/ 34 w 98"/>
              <a:gd name="T65" fmla="*/ 38 h 63"/>
              <a:gd name="T66" fmla="*/ 39 w 98"/>
              <a:gd name="T67" fmla="*/ 41 h 63"/>
              <a:gd name="T68" fmla="*/ 42 w 98"/>
              <a:gd name="T69" fmla="*/ 42 h 63"/>
              <a:gd name="T70" fmla="*/ 48 w 98"/>
              <a:gd name="T71" fmla="*/ 44 h 63"/>
              <a:gd name="T72" fmla="*/ 51 w 98"/>
              <a:gd name="T73" fmla="*/ 46 h 63"/>
              <a:gd name="T74" fmla="*/ 56 w 98"/>
              <a:gd name="T75" fmla="*/ 50 h 63"/>
              <a:gd name="T76" fmla="*/ 61 w 98"/>
              <a:gd name="T77" fmla="*/ 51 h 63"/>
              <a:gd name="T78" fmla="*/ 62 w 98"/>
              <a:gd name="T79" fmla="*/ 60 h 63"/>
              <a:gd name="T80" fmla="*/ 63 w 98"/>
              <a:gd name="T81" fmla="*/ 59 h 63"/>
              <a:gd name="T82" fmla="*/ 68 w 98"/>
              <a:gd name="T83" fmla="*/ 61 h 63"/>
              <a:gd name="T84" fmla="*/ 74 w 98"/>
              <a:gd name="T85" fmla="*/ 59 h 63"/>
              <a:gd name="T86" fmla="*/ 84 w 98"/>
              <a:gd name="T87" fmla="*/ 53 h 63"/>
              <a:gd name="T88" fmla="*/ 88 w 98"/>
              <a:gd name="T89" fmla="*/ 46 h 63"/>
              <a:gd name="T90" fmla="*/ 93 w 98"/>
              <a:gd name="T91" fmla="*/ 43 h 63"/>
              <a:gd name="T92" fmla="*/ 98 w 98"/>
              <a:gd name="T93" fmla="*/ 44 h 63"/>
              <a:gd name="T94" fmla="*/ 98 w 98"/>
              <a:gd name="T95" fmla="*/ 4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8" h="63">
                <a:moveTo>
                  <a:pt x="98" y="40"/>
                </a:moveTo>
                <a:cubicBezTo>
                  <a:pt x="98" y="40"/>
                  <a:pt x="93" y="37"/>
                  <a:pt x="92" y="37"/>
                </a:cubicBezTo>
                <a:cubicBezTo>
                  <a:pt x="90" y="38"/>
                  <a:pt x="88" y="34"/>
                  <a:pt x="85" y="33"/>
                </a:cubicBezTo>
                <a:cubicBezTo>
                  <a:pt x="82" y="32"/>
                  <a:pt x="78" y="30"/>
                  <a:pt x="77" y="28"/>
                </a:cubicBezTo>
                <a:cubicBezTo>
                  <a:pt x="76" y="26"/>
                  <a:pt x="70" y="24"/>
                  <a:pt x="70" y="23"/>
                </a:cubicBezTo>
                <a:cubicBezTo>
                  <a:pt x="69" y="22"/>
                  <a:pt x="68" y="19"/>
                  <a:pt x="67" y="17"/>
                </a:cubicBezTo>
                <a:cubicBezTo>
                  <a:pt x="65" y="16"/>
                  <a:pt x="65" y="13"/>
                  <a:pt x="64" y="13"/>
                </a:cubicBezTo>
                <a:cubicBezTo>
                  <a:pt x="63" y="13"/>
                  <a:pt x="54" y="13"/>
                  <a:pt x="54" y="12"/>
                </a:cubicBezTo>
                <a:cubicBezTo>
                  <a:pt x="54" y="10"/>
                  <a:pt x="53" y="5"/>
                  <a:pt x="51" y="4"/>
                </a:cubicBezTo>
                <a:cubicBezTo>
                  <a:pt x="50" y="4"/>
                  <a:pt x="47" y="3"/>
                  <a:pt x="46" y="2"/>
                </a:cubicBezTo>
                <a:cubicBezTo>
                  <a:pt x="45" y="1"/>
                  <a:pt x="42" y="0"/>
                  <a:pt x="41" y="1"/>
                </a:cubicBezTo>
                <a:cubicBezTo>
                  <a:pt x="41" y="2"/>
                  <a:pt x="39" y="3"/>
                  <a:pt x="38" y="3"/>
                </a:cubicBezTo>
                <a:cubicBezTo>
                  <a:pt x="38" y="3"/>
                  <a:pt x="38" y="6"/>
                  <a:pt x="36" y="5"/>
                </a:cubicBezTo>
                <a:cubicBezTo>
                  <a:pt x="34" y="5"/>
                  <a:pt x="31" y="8"/>
                  <a:pt x="31" y="9"/>
                </a:cubicBezTo>
                <a:cubicBezTo>
                  <a:pt x="31" y="10"/>
                  <a:pt x="31" y="12"/>
                  <a:pt x="29" y="12"/>
                </a:cubicBezTo>
                <a:cubicBezTo>
                  <a:pt x="27" y="12"/>
                  <a:pt x="25" y="12"/>
                  <a:pt x="24" y="11"/>
                </a:cubicBezTo>
                <a:cubicBezTo>
                  <a:pt x="23" y="11"/>
                  <a:pt x="21" y="13"/>
                  <a:pt x="19" y="10"/>
                </a:cubicBezTo>
                <a:cubicBezTo>
                  <a:pt x="16" y="7"/>
                  <a:pt x="13" y="3"/>
                  <a:pt x="10" y="3"/>
                </a:cubicBezTo>
                <a:cubicBezTo>
                  <a:pt x="9" y="3"/>
                  <a:pt x="2" y="3"/>
                  <a:pt x="3" y="7"/>
                </a:cubicBezTo>
                <a:cubicBezTo>
                  <a:pt x="4" y="6"/>
                  <a:pt x="5" y="6"/>
                  <a:pt x="7" y="6"/>
                </a:cubicBezTo>
                <a:cubicBezTo>
                  <a:pt x="11" y="6"/>
                  <a:pt x="9" y="12"/>
                  <a:pt x="12" y="12"/>
                </a:cubicBezTo>
                <a:cubicBezTo>
                  <a:pt x="15" y="12"/>
                  <a:pt x="18" y="17"/>
                  <a:pt x="15" y="16"/>
                </a:cubicBezTo>
                <a:cubicBezTo>
                  <a:pt x="13" y="16"/>
                  <a:pt x="11" y="19"/>
                  <a:pt x="8" y="18"/>
                </a:cubicBezTo>
                <a:cubicBezTo>
                  <a:pt x="6" y="17"/>
                  <a:pt x="3" y="15"/>
                  <a:pt x="2" y="18"/>
                </a:cubicBezTo>
                <a:cubicBezTo>
                  <a:pt x="1" y="21"/>
                  <a:pt x="0" y="24"/>
                  <a:pt x="3" y="23"/>
                </a:cubicBezTo>
                <a:cubicBezTo>
                  <a:pt x="7" y="23"/>
                  <a:pt x="6" y="25"/>
                  <a:pt x="4" y="28"/>
                </a:cubicBezTo>
                <a:cubicBezTo>
                  <a:pt x="1" y="30"/>
                  <a:pt x="7" y="27"/>
                  <a:pt x="8" y="29"/>
                </a:cubicBezTo>
                <a:cubicBezTo>
                  <a:pt x="8" y="31"/>
                  <a:pt x="10" y="32"/>
                  <a:pt x="9" y="35"/>
                </a:cubicBezTo>
                <a:cubicBezTo>
                  <a:pt x="8" y="37"/>
                  <a:pt x="9" y="41"/>
                  <a:pt x="9" y="44"/>
                </a:cubicBezTo>
                <a:cubicBezTo>
                  <a:pt x="11" y="44"/>
                  <a:pt x="14" y="44"/>
                  <a:pt x="15" y="43"/>
                </a:cubicBezTo>
                <a:cubicBezTo>
                  <a:pt x="16" y="42"/>
                  <a:pt x="19" y="39"/>
                  <a:pt x="21" y="39"/>
                </a:cubicBezTo>
                <a:cubicBezTo>
                  <a:pt x="23" y="39"/>
                  <a:pt x="25" y="40"/>
                  <a:pt x="26" y="38"/>
                </a:cubicBezTo>
                <a:cubicBezTo>
                  <a:pt x="27" y="37"/>
                  <a:pt x="33" y="37"/>
                  <a:pt x="34" y="38"/>
                </a:cubicBezTo>
                <a:cubicBezTo>
                  <a:pt x="35" y="40"/>
                  <a:pt x="38" y="41"/>
                  <a:pt x="39" y="41"/>
                </a:cubicBezTo>
                <a:cubicBezTo>
                  <a:pt x="40" y="41"/>
                  <a:pt x="40" y="42"/>
                  <a:pt x="42" y="42"/>
                </a:cubicBezTo>
                <a:cubicBezTo>
                  <a:pt x="44" y="42"/>
                  <a:pt x="48" y="43"/>
                  <a:pt x="48" y="44"/>
                </a:cubicBezTo>
                <a:cubicBezTo>
                  <a:pt x="48" y="45"/>
                  <a:pt x="49" y="46"/>
                  <a:pt x="51" y="46"/>
                </a:cubicBezTo>
                <a:cubicBezTo>
                  <a:pt x="53" y="46"/>
                  <a:pt x="54" y="51"/>
                  <a:pt x="56" y="50"/>
                </a:cubicBezTo>
                <a:cubicBezTo>
                  <a:pt x="57" y="50"/>
                  <a:pt x="61" y="50"/>
                  <a:pt x="61" y="51"/>
                </a:cubicBezTo>
                <a:cubicBezTo>
                  <a:pt x="61" y="52"/>
                  <a:pt x="61" y="57"/>
                  <a:pt x="62" y="60"/>
                </a:cubicBezTo>
                <a:cubicBezTo>
                  <a:pt x="62" y="59"/>
                  <a:pt x="63" y="59"/>
                  <a:pt x="63" y="59"/>
                </a:cubicBezTo>
                <a:cubicBezTo>
                  <a:pt x="64" y="60"/>
                  <a:pt x="68" y="59"/>
                  <a:pt x="68" y="61"/>
                </a:cubicBezTo>
                <a:cubicBezTo>
                  <a:pt x="69" y="63"/>
                  <a:pt x="74" y="62"/>
                  <a:pt x="74" y="59"/>
                </a:cubicBezTo>
                <a:cubicBezTo>
                  <a:pt x="74" y="56"/>
                  <a:pt x="83" y="56"/>
                  <a:pt x="84" y="53"/>
                </a:cubicBezTo>
                <a:cubicBezTo>
                  <a:pt x="85" y="50"/>
                  <a:pt x="86" y="45"/>
                  <a:pt x="88" y="46"/>
                </a:cubicBezTo>
                <a:cubicBezTo>
                  <a:pt x="90" y="47"/>
                  <a:pt x="91" y="43"/>
                  <a:pt x="93" y="43"/>
                </a:cubicBezTo>
                <a:cubicBezTo>
                  <a:pt x="95" y="43"/>
                  <a:pt x="96" y="44"/>
                  <a:pt x="98" y="44"/>
                </a:cubicBezTo>
                <a:lnTo>
                  <a:pt x="98" y="40"/>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4" name="Freeform 160"/>
          <p:cNvSpPr/>
          <p:nvPr/>
        </p:nvSpPr>
        <p:spPr bwMode="auto">
          <a:xfrm>
            <a:off x="5073130" y="2313435"/>
            <a:ext cx="387350" cy="327025"/>
          </a:xfrm>
          <a:custGeom>
            <a:avLst/>
            <a:gdLst>
              <a:gd name="T0" fmla="*/ 132 w 136"/>
              <a:gd name="T1" fmla="*/ 99 h 115"/>
              <a:gd name="T2" fmla="*/ 129 w 136"/>
              <a:gd name="T3" fmla="*/ 92 h 115"/>
              <a:gd name="T4" fmla="*/ 122 w 136"/>
              <a:gd name="T5" fmla="*/ 86 h 115"/>
              <a:gd name="T6" fmla="*/ 117 w 136"/>
              <a:gd name="T7" fmla="*/ 80 h 115"/>
              <a:gd name="T8" fmla="*/ 125 w 136"/>
              <a:gd name="T9" fmla="*/ 70 h 115"/>
              <a:gd name="T10" fmla="*/ 118 w 136"/>
              <a:gd name="T11" fmla="*/ 66 h 115"/>
              <a:gd name="T12" fmla="*/ 117 w 136"/>
              <a:gd name="T13" fmla="*/ 58 h 115"/>
              <a:gd name="T14" fmla="*/ 117 w 136"/>
              <a:gd name="T15" fmla="*/ 51 h 115"/>
              <a:gd name="T16" fmla="*/ 117 w 136"/>
              <a:gd name="T17" fmla="*/ 45 h 115"/>
              <a:gd name="T18" fmla="*/ 120 w 136"/>
              <a:gd name="T19" fmla="*/ 40 h 115"/>
              <a:gd name="T20" fmla="*/ 122 w 136"/>
              <a:gd name="T21" fmla="*/ 37 h 115"/>
              <a:gd name="T22" fmla="*/ 121 w 136"/>
              <a:gd name="T23" fmla="*/ 28 h 115"/>
              <a:gd name="T24" fmla="*/ 116 w 136"/>
              <a:gd name="T25" fmla="*/ 27 h 115"/>
              <a:gd name="T26" fmla="*/ 111 w 136"/>
              <a:gd name="T27" fmla="*/ 23 h 115"/>
              <a:gd name="T28" fmla="*/ 108 w 136"/>
              <a:gd name="T29" fmla="*/ 21 h 115"/>
              <a:gd name="T30" fmla="*/ 102 w 136"/>
              <a:gd name="T31" fmla="*/ 19 h 115"/>
              <a:gd name="T32" fmla="*/ 99 w 136"/>
              <a:gd name="T33" fmla="*/ 18 h 115"/>
              <a:gd name="T34" fmla="*/ 94 w 136"/>
              <a:gd name="T35" fmla="*/ 15 h 115"/>
              <a:gd name="T36" fmla="*/ 86 w 136"/>
              <a:gd name="T37" fmla="*/ 15 h 115"/>
              <a:gd name="T38" fmla="*/ 81 w 136"/>
              <a:gd name="T39" fmla="*/ 16 h 115"/>
              <a:gd name="T40" fmla="*/ 75 w 136"/>
              <a:gd name="T41" fmla="*/ 20 h 115"/>
              <a:gd name="T42" fmla="*/ 69 w 136"/>
              <a:gd name="T43" fmla="*/ 21 h 115"/>
              <a:gd name="T44" fmla="*/ 69 w 136"/>
              <a:gd name="T45" fmla="*/ 25 h 115"/>
              <a:gd name="T46" fmla="*/ 54 w 136"/>
              <a:gd name="T47" fmla="*/ 28 h 115"/>
              <a:gd name="T48" fmla="*/ 41 w 136"/>
              <a:gd name="T49" fmla="*/ 20 h 115"/>
              <a:gd name="T50" fmla="*/ 33 w 136"/>
              <a:gd name="T51" fmla="*/ 12 h 115"/>
              <a:gd name="T52" fmla="*/ 28 w 136"/>
              <a:gd name="T53" fmla="*/ 9 h 115"/>
              <a:gd name="T54" fmla="*/ 27 w 136"/>
              <a:gd name="T55" fmla="*/ 2 h 115"/>
              <a:gd name="T56" fmla="*/ 13 w 136"/>
              <a:gd name="T57" fmla="*/ 8 h 115"/>
              <a:gd name="T58" fmla="*/ 8 w 136"/>
              <a:gd name="T59" fmla="*/ 6 h 115"/>
              <a:gd name="T60" fmla="*/ 4 w 136"/>
              <a:gd name="T61" fmla="*/ 1 h 115"/>
              <a:gd name="T62" fmla="*/ 2 w 136"/>
              <a:gd name="T63" fmla="*/ 4 h 115"/>
              <a:gd name="T64" fmla="*/ 2 w 136"/>
              <a:gd name="T65" fmla="*/ 10 h 115"/>
              <a:gd name="T66" fmla="*/ 2 w 136"/>
              <a:gd name="T67" fmla="*/ 17 h 115"/>
              <a:gd name="T68" fmla="*/ 5 w 136"/>
              <a:gd name="T69" fmla="*/ 23 h 115"/>
              <a:gd name="T70" fmla="*/ 8 w 136"/>
              <a:gd name="T71" fmla="*/ 28 h 115"/>
              <a:gd name="T72" fmla="*/ 11 w 136"/>
              <a:gd name="T73" fmla="*/ 32 h 115"/>
              <a:gd name="T74" fmla="*/ 14 w 136"/>
              <a:gd name="T75" fmla="*/ 35 h 115"/>
              <a:gd name="T76" fmla="*/ 13 w 136"/>
              <a:gd name="T77" fmla="*/ 39 h 115"/>
              <a:gd name="T78" fmla="*/ 11 w 136"/>
              <a:gd name="T79" fmla="*/ 44 h 115"/>
              <a:gd name="T80" fmla="*/ 11 w 136"/>
              <a:gd name="T81" fmla="*/ 50 h 115"/>
              <a:gd name="T82" fmla="*/ 15 w 136"/>
              <a:gd name="T83" fmla="*/ 54 h 115"/>
              <a:gd name="T84" fmla="*/ 22 w 136"/>
              <a:gd name="T85" fmla="*/ 59 h 115"/>
              <a:gd name="T86" fmla="*/ 26 w 136"/>
              <a:gd name="T87" fmla="*/ 63 h 115"/>
              <a:gd name="T88" fmla="*/ 25 w 136"/>
              <a:gd name="T89" fmla="*/ 68 h 115"/>
              <a:gd name="T90" fmla="*/ 28 w 136"/>
              <a:gd name="T91" fmla="*/ 73 h 115"/>
              <a:gd name="T92" fmla="*/ 31 w 136"/>
              <a:gd name="T93" fmla="*/ 78 h 115"/>
              <a:gd name="T94" fmla="*/ 33 w 136"/>
              <a:gd name="T95" fmla="*/ 78 h 115"/>
              <a:gd name="T96" fmla="*/ 36 w 136"/>
              <a:gd name="T97" fmla="*/ 77 h 115"/>
              <a:gd name="T98" fmla="*/ 41 w 136"/>
              <a:gd name="T99" fmla="*/ 77 h 115"/>
              <a:gd name="T100" fmla="*/ 48 w 136"/>
              <a:gd name="T101" fmla="*/ 87 h 115"/>
              <a:gd name="T102" fmla="*/ 52 w 136"/>
              <a:gd name="T103" fmla="*/ 94 h 115"/>
              <a:gd name="T104" fmla="*/ 60 w 136"/>
              <a:gd name="T105" fmla="*/ 98 h 115"/>
              <a:gd name="T106" fmla="*/ 76 w 136"/>
              <a:gd name="T107" fmla="*/ 104 h 115"/>
              <a:gd name="T108" fmla="*/ 87 w 136"/>
              <a:gd name="T109" fmla="*/ 101 h 115"/>
              <a:gd name="T110" fmla="*/ 92 w 136"/>
              <a:gd name="T111" fmla="*/ 110 h 115"/>
              <a:gd name="T112" fmla="*/ 116 w 136"/>
              <a:gd name="T113" fmla="*/ 114 h 115"/>
              <a:gd name="T114" fmla="*/ 124 w 136"/>
              <a:gd name="T115" fmla="*/ 115 h 115"/>
              <a:gd name="T116" fmla="*/ 123 w 136"/>
              <a:gd name="T117" fmla="*/ 113 h 115"/>
              <a:gd name="T118" fmla="*/ 128 w 136"/>
              <a:gd name="T119" fmla="*/ 106 h 115"/>
              <a:gd name="T120" fmla="*/ 134 w 136"/>
              <a:gd name="T121" fmla="*/ 104 h 115"/>
              <a:gd name="T122" fmla="*/ 132 w 136"/>
              <a:gd name="T123" fmla="*/ 9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15">
                <a:moveTo>
                  <a:pt x="132" y="99"/>
                </a:moveTo>
                <a:cubicBezTo>
                  <a:pt x="131" y="99"/>
                  <a:pt x="132" y="93"/>
                  <a:pt x="129" y="92"/>
                </a:cubicBezTo>
                <a:cubicBezTo>
                  <a:pt x="126" y="90"/>
                  <a:pt x="123" y="88"/>
                  <a:pt x="122" y="86"/>
                </a:cubicBezTo>
                <a:cubicBezTo>
                  <a:pt x="121" y="83"/>
                  <a:pt x="117" y="81"/>
                  <a:pt x="117" y="80"/>
                </a:cubicBezTo>
                <a:cubicBezTo>
                  <a:pt x="118" y="78"/>
                  <a:pt x="126" y="73"/>
                  <a:pt x="125" y="70"/>
                </a:cubicBezTo>
                <a:cubicBezTo>
                  <a:pt x="123" y="67"/>
                  <a:pt x="118" y="67"/>
                  <a:pt x="118" y="66"/>
                </a:cubicBezTo>
                <a:cubicBezTo>
                  <a:pt x="117" y="65"/>
                  <a:pt x="118" y="61"/>
                  <a:pt x="117" y="58"/>
                </a:cubicBezTo>
                <a:cubicBezTo>
                  <a:pt x="115" y="55"/>
                  <a:pt x="118" y="53"/>
                  <a:pt x="117" y="51"/>
                </a:cubicBezTo>
                <a:cubicBezTo>
                  <a:pt x="116" y="49"/>
                  <a:pt x="117" y="46"/>
                  <a:pt x="117" y="45"/>
                </a:cubicBezTo>
                <a:cubicBezTo>
                  <a:pt x="118" y="44"/>
                  <a:pt x="120" y="42"/>
                  <a:pt x="120" y="40"/>
                </a:cubicBezTo>
                <a:cubicBezTo>
                  <a:pt x="120" y="38"/>
                  <a:pt x="121" y="37"/>
                  <a:pt x="122" y="37"/>
                </a:cubicBezTo>
                <a:cubicBezTo>
                  <a:pt x="121" y="34"/>
                  <a:pt x="121" y="29"/>
                  <a:pt x="121" y="28"/>
                </a:cubicBezTo>
                <a:cubicBezTo>
                  <a:pt x="121" y="27"/>
                  <a:pt x="117" y="27"/>
                  <a:pt x="116" y="27"/>
                </a:cubicBezTo>
                <a:cubicBezTo>
                  <a:pt x="114" y="28"/>
                  <a:pt x="113" y="23"/>
                  <a:pt x="111" y="23"/>
                </a:cubicBezTo>
                <a:cubicBezTo>
                  <a:pt x="109" y="23"/>
                  <a:pt x="108" y="22"/>
                  <a:pt x="108" y="21"/>
                </a:cubicBezTo>
                <a:cubicBezTo>
                  <a:pt x="108" y="20"/>
                  <a:pt x="104" y="19"/>
                  <a:pt x="102" y="19"/>
                </a:cubicBezTo>
                <a:cubicBezTo>
                  <a:pt x="100" y="19"/>
                  <a:pt x="100" y="18"/>
                  <a:pt x="99" y="18"/>
                </a:cubicBezTo>
                <a:cubicBezTo>
                  <a:pt x="98" y="18"/>
                  <a:pt x="95" y="17"/>
                  <a:pt x="94" y="15"/>
                </a:cubicBezTo>
                <a:cubicBezTo>
                  <a:pt x="93" y="14"/>
                  <a:pt x="87" y="14"/>
                  <a:pt x="86" y="15"/>
                </a:cubicBezTo>
                <a:cubicBezTo>
                  <a:pt x="85" y="17"/>
                  <a:pt x="83" y="16"/>
                  <a:pt x="81" y="16"/>
                </a:cubicBezTo>
                <a:cubicBezTo>
                  <a:pt x="79" y="16"/>
                  <a:pt x="76" y="19"/>
                  <a:pt x="75" y="20"/>
                </a:cubicBezTo>
                <a:cubicBezTo>
                  <a:pt x="74" y="21"/>
                  <a:pt x="71" y="21"/>
                  <a:pt x="69" y="21"/>
                </a:cubicBezTo>
                <a:cubicBezTo>
                  <a:pt x="69" y="23"/>
                  <a:pt x="69" y="24"/>
                  <a:pt x="69" y="25"/>
                </a:cubicBezTo>
                <a:cubicBezTo>
                  <a:pt x="68" y="26"/>
                  <a:pt x="60" y="28"/>
                  <a:pt x="54" y="28"/>
                </a:cubicBezTo>
                <a:cubicBezTo>
                  <a:pt x="48" y="28"/>
                  <a:pt x="48" y="20"/>
                  <a:pt x="41" y="20"/>
                </a:cubicBezTo>
                <a:cubicBezTo>
                  <a:pt x="37" y="20"/>
                  <a:pt x="33" y="16"/>
                  <a:pt x="33" y="12"/>
                </a:cubicBezTo>
                <a:cubicBezTo>
                  <a:pt x="30" y="11"/>
                  <a:pt x="28" y="9"/>
                  <a:pt x="28" y="9"/>
                </a:cubicBezTo>
                <a:cubicBezTo>
                  <a:pt x="29" y="8"/>
                  <a:pt x="30" y="1"/>
                  <a:pt x="27" y="2"/>
                </a:cubicBezTo>
                <a:cubicBezTo>
                  <a:pt x="23" y="4"/>
                  <a:pt x="19" y="9"/>
                  <a:pt x="13" y="8"/>
                </a:cubicBezTo>
                <a:cubicBezTo>
                  <a:pt x="7" y="8"/>
                  <a:pt x="11" y="7"/>
                  <a:pt x="8" y="6"/>
                </a:cubicBezTo>
                <a:cubicBezTo>
                  <a:pt x="5" y="4"/>
                  <a:pt x="7" y="1"/>
                  <a:pt x="4" y="1"/>
                </a:cubicBezTo>
                <a:cubicBezTo>
                  <a:pt x="1" y="0"/>
                  <a:pt x="3" y="4"/>
                  <a:pt x="2" y="4"/>
                </a:cubicBezTo>
                <a:cubicBezTo>
                  <a:pt x="0" y="4"/>
                  <a:pt x="1" y="9"/>
                  <a:pt x="2" y="10"/>
                </a:cubicBezTo>
                <a:cubicBezTo>
                  <a:pt x="3" y="11"/>
                  <a:pt x="1" y="17"/>
                  <a:pt x="2" y="17"/>
                </a:cubicBezTo>
                <a:cubicBezTo>
                  <a:pt x="3" y="17"/>
                  <a:pt x="6" y="22"/>
                  <a:pt x="5" y="23"/>
                </a:cubicBezTo>
                <a:cubicBezTo>
                  <a:pt x="5" y="23"/>
                  <a:pt x="8" y="26"/>
                  <a:pt x="8" y="28"/>
                </a:cubicBezTo>
                <a:cubicBezTo>
                  <a:pt x="8" y="30"/>
                  <a:pt x="10" y="32"/>
                  <a:pt x="11" y="32"/>
                </a:cubicBezTo>
                <a:cubicBezTo>
                  <a:pt x="13" y="32"/>
                  <a:pt x="15" y="33"/>
                  <a:pt x="14" y="35"/>
                </a:cubicBezTo>
                <a:cubicBezTo>
                  <a:pt x="14" y="36"/>
                  <a:pt x="15" y="39"/>
                  <a:pt x="13" y="39"/>
                </a:cubicBezTo>
                <a:cubicBezTo>
                  <a:pt x="12" y="39"/>
                  <a:pt x="12" y="43"/>
                  <a:pt x="11" y="44"/>
                </a:cubicBezTo>
                <a:cubicBezTo>
                  <a:pt x="9" y="45"/>
                  <a:pt x="10" y="50"/>
                  <a:pt x="11" y="50"/>
                </a:cubicBezTo>
                <a:cubicBezTo>
                  <a:pt x="13" y="51"/>
                  <a:pt x="15" y="52"/>
                  <a:pt x="15" y="54"/>
                </a:cubicBezTo>
                <a:cubicBezTo>
                  <a:pt x="14" y="56"/>
                  <a:pt x="20" y="59"/>
                  <a:pt x="22" y="59"/>
                </a:cubicBezTo>
                <a:cubicBezTo>
                  <a:pt x="24" y="60"/>
                  <a:pt x="25" y="62"/>
                  <a:pt x="26" y="63"/>
                </a:cubicBezTo>
                <a:cubicBezTo>
                  <a:pt x="27" y="64"/>
                  <a:pt x="25" y="67"/>
                  <a:pt x="25" y="68"/>
                </a:cubicBezTo>
                <a:cubicBezTo>
                  <a:pt x="25" y="69"/>
                  <a:pt x="28" y="70"/>
                  <a:pt x="28" y="73"/>
                </a:cubicBezTo>
                <a:cubicBezTo>
                  <a:pt x="27" y="74"/>
                  <a:pt x="30" y="76"/>
                  <a:pt x="31" y="78"/>
                </a:cubicBezTo>
                <a:cubicBezTo>
                  <a:pt x="32" y="78"/>
                  <a:pt x="33" y="78"/>
                  <a:pt x="33" y="78"/>
                </a:cubicBezTo>
                <a:cubicBezTo>
                  <a:pt x="35" y="78"/>
                  <a:pt x="35" y="76"/>
                  <a:pt x="36" y="77"/>
                </a:cubicBezTo>
                <a:cubicBezTo>
                  <a:pt x="38" y="78"/>
                  <a:pt x="40" y="77"/>
                  <a:pt x="41" y="77"/>
                </a:cubicBezTo>
                <a:cubicBezTo>
                  <a:pt x="42" y="77"/>
                  <a:pt x="46" y="84"/>
                  <a:pt x="48" y="87"/>
                </a:cubicBezTo>
                <a:cubicBezTo>
                  <a:pt x="50" y="91"/>
                  <a:pt x="50" y="92"/>
                  <a:pt x="52" y="94"/>
                </a:cubicBezTo>
                <a:cubicBezTo>
                  <a:pt x="54" y="95"/>
                  <a:pt x="57" y="95"/>
                  <a:pt x="60" y="98"/>
                </a:cubicBezTo>
                <a:cubicBezTo>
                  <a:pt x="64" y="101"/>
                  <a:pt x="72" y="104"/>
                  <a:pt x="76" y="104"/>
                </a:cubicBezTo>
                <a:cubicBezTo>
                  <a:pt x="80" y="104"/>
                  <a:pt x="82" y="100"/>
                  <a:pt x="87" y="101"/>
                </a:cubicBezTo>
                <a:cubicBezTo>
                  <a:pt x="92" y="102"/>
                  <a:pt x="91" y="108"/>
                  <a:pt x="92" y="110"/>
                </a:cubicBezTo>
                <a:cubicBezTo>
                  <a:pt x="94" y="112"/>
                  <a:pt x="113" y="114"/>
                  <a:pt x="116" y="114"/>
                </a:cubicBezTo>
                <a:cubicBezTo>
                  <a:pt x="118" y="115"/>
                  <a:pt x="120" y="115"/>
                  <a:pt x="124" y="115"/>
                </a:cubicBezTo>
                <a:cubicBezTo>
                  <a:pt x="124" y="114"/>
                  <a:pt x="124" y="114"/>
                  <a:pt x="123" y="113"/>
                </a:cubicBezTo>
                <a:cubicBezTo>
                  <a:pt x="123" y="110"/>
                  <a:pt x="126" y="107"/>
                  <a:pt x="128" y="106"/>
                </a:cubicBezTo>
                <a:cubicBezTo>
                  <a:pt x="130" y="105"/>
                  <a:pt x="132" y="105"/>
                  <a:pt x="134" y="104"/>
                </a:cubicBezTo>
                <a:cubicBezTo>
                  <a:pt x="136" y="104"/>
                  <a:pt x="134" y="100"/>
                  <a:pt x="132" y="9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5" name="Freeform 161"/>
          <p:cNvSpPr>
            <a:spLocks noEditPoints="1"/>
          </p:cNvSpPr>
          <p:nvPr/>
        </p:nvSpPr>
        <p:spPr bwMode="auto">
          <a:xfrm>
            <a:off x="5123930" y="1926085"/>
            <a:ext cx="798513" cy="374650"/>
          </a:xfrm>
          <a:custGeom>
            <a:avLst/>
            <a:gdLst>
              <a:gd name="T0" fmla="*/ 271 w 280"/>
              <a:gd name="T1" fmla="*/ 54 h 132"/>
              <a:gd name="T2" fmla="*/ 261 w 280"/>
              <a:gd name="T3" fmla="*/ 45 h 132"/>
              <a:gd name="T4" fmla="*/ 243 w 280"/>
              <a:gd name="T5" fmla="*/ 43 h 132"/>
              <a:gd name="T6" fmla="*/ 227 w 280"/>
              <a:gd name="T7" fmla="*/ 31 h 132"/>
              <a:gd name="T8" fmla="*/ 208 w 280"/>
              <a:gd name="T9" fmla="*/ 10 h 132"/>
              <a:gd name="T10" fmla="*/ 189 w 280"/>
              <a:gd name="T11" fmla="*/ 18 h 132"/>
              <a:gd name="T12" fmla="*/ 184 w 280"/>
              <a:gd name="T13" fmla="*/ 13 h 132"/>
              <a:gd name="T14" fmla="*/ 174 w 280"/>
              <a:gd name="T15" fmla="*/ 12 h 132"/>
              <a:gd name="T16" fmla="*/ 169 w 280"/>
              <a:gd name="T17" fmla="*/ 1 h 132"/>
              <a:gd name="T18" fmla="*/ 145 w 280"/>
              <a:gd name="T19" fmla="*/ 6 h 132"/>
              <a:gd name="T20" fmla="*/ 117 w 280"/>
              <a:gd name="T21" fmla="*/ 12 h 132"/>
              <a:gd name="T22" fmla="*/ 104 w 280"/>
              <a:gd name="T23" fmla="*/ 19 h 132"/>
              <a:gd name="T24" fmla="*/ 101 w 280"/>
              <a:gd name="T25" fmla="*/ 28 h 132"/>
              <a:gd name="T26" fmla="*/ 104 w 280"/>
              <a:gd name="T27" fmla="*/ 37 h 132"/>
              <a:gd name="T28" fmla="*/ 96 w 280"/>
              <a:gd name="T29" fmla="*/ 42 h 132"/>
              <a:gd name="T30" fmla="*/ 86 w 280"/>
              <a:gd name="T31" fmla="*/ 41 h 132"/>
              <a:gd name="T32" fmla="*/ 68 w 280"/>
              <a:gd name="T33" fmla="*/ 43 h 132"/>
              <a:gd name="T34" fmla="*/ 56 w 280"/>
              <a:gd name="T35" fmla="*/ 42 h 132"/>
              <a:gd name="T36" fmla="*/ 37 w 280"/>
              <a:gd name="T37" fmla="*/ 35 h 132"/>
              <a:gd name="T38" fmla="*/ 21 w 280"/>
              <a:gd name="T39" fmla="*/ 40 h 132"/>
              <a:gd name="T40" fmla="*/ 15 w 280"/>
              <a:gd name="T41" fmla="*/ 51 h 132"/>
              <a:gd name="T42" fmla="*/ 2 w 280"/>
              <a:gd name="T43" fmla="*/ 53 h 132"/>
              <a:gd name="T44" fmla="*/ 0 w 280"/>
              <a:gd name="T45" fmla="*/ 63 h 132"/>
              <a:gd name="T46" fmla="*/ 10 w 280"/>
              <a:gd name="T47" fmla="*/ 69 h 132"/>
              <a:gd name="T48" fmla="*/ 17 w 280"/>
              <a:gd name="T49" fmla="*/ 81 h 132"/>
              <a:gd name="T50" fmla="*/ 35 w 280"/>
              <a:gd name="T51" fmla="*/ 77 h 132"/>
              <a:gd name="T52" fmla="*/ 40 w 280"/>
              <a:gd name="T53" fmla="*/ 91 h 132"/>
              <a:gd name="T54" fmla="*/ 27 w 280"/>
              <a:gd name="T55" fmla="*/ 100 h 132"/>
              <a:gd name="T56" fmla="*/ 39 w 280"/>
              <a:gd name="T57" fmla="*/ 113 h 132"/>
              <a:gd name="T58" fmla="*/ 45 w 280"/>
              <a:gd name="T59" fmla="*/ 120 h 132"/>
              <a:gd name="T60" fmla="*/ 66 w 280"/>
              <a:gd name="T61" fmla="*/ 124 h 132"/>
              <a:gd name="T62" fmla="*/ 85 w 280"/>
              <a:gd name="T63" fmla="*/ 88 h 132"/>
              <a:gd name="T64" fmla="*/ 95 w 280"/>
              <a:gd name="T65" fmla="*/ 89 h 132"/>
              <a:gd name="T66" fmla="*/ 116 w 280"/>
              <a:gd name="T67" fmla="*/ 106 h 132"/>
              <a:gd name="T68" fmla="*/ 137 w 280"/>
              <a:gd name="T69" fmla="*/ 117 h 132"/>
              <a:gd name="T70" fmla="*/ 153 w 280"/>
              <a:gd name="T71" fmla="*/ 129 h 132"/>
              <a:gd name="T72" fmla="*/ 167 w 280"/>
              <a:gd name="T73" fmla="*/ 123 h 132"/>
              <a:gd name="T74" fmla="*/ 183 w 280"/>
              <a:gd name="T75" fmla="*/ 114 h 132"/>
              <a:gd name="T76" fmla="*/ 205 w 280"/>
              <a:gd name="T77" fmla="*/ 113 h 132"/>
              <a:gd name="T78" fmla="*/ 235 w 280"/>
              <a:gd name="T79" fmla="*/ 118 h 132"/>
              <a:gd name="T80" fmla="*/ 236 w 280"/>
              <a:gd name="T81" fmla="*/ 102 h 132"/>
              <a:gd name="T82" fmla="*/ 245 w 280"/>
              <a:gd name="T83" fmla="*/ 92 h 132"/>
              <a:gd name="T84" fmla="*/ 254 w 280"/>
              <a:gd name="T85" fmla="*/ 77 h 132"/>
              <a:gd name="T86" fmla="*/ 271 w 280"/>
              <a:gd name="T87" fmla="*/ 75 h 132"/>
              <a:gd name="T88" fmla="*/ 278 w 280"/>
              <a:gd name="T89" fmla="*/ 61 h 132"/>
              <a:gd name="T90" fmla="*/ 104 w 280"/>
              <a:gd name="T91" fmla="*/ 83 h 132"/>
              <a:gd name="T92" fmla="*/ 220 w 280"/>
              <a:gd name="T93" fmla="*/ 83 h 132"/>
              <a:gd name="T94" fmla="*/ 192 w 280"/>
              <a:gd name="T95" fmla="*/ 83 h 132"/>
              <a:gd name="T96" fmla="*/ 220 w 280"/>
              <a:gd name="T97" fmla="*/ 8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0" h="132">
                <a:moveTo>
                  <a:pt x="279" y="54"/>
                </a:moveTo>
                <a:cubicBezTo>
                  <a:pt x="278" y="52"/>
                  <a:pt x="277" y="53"/>
                  <a:pt x="276" y="53"/>
                </a:cubicBezTo>
                <a:cubicBezTo>
                  <a:pt x="275" y="54"/>
                  <a:pt x="272" y="54"/>
                  <a:pt x="271" y="54"/>
                </a:cubicBezTo>
                <a:cubicBezTo>
                  <a:pt x="269" y="54"/>
                  <a:pt x="267" y="53"/>
                  <a:pt x="267" y="52"/>
                </a:cubicBezTo>
                <a:cubicBezTo>
                  <a:pt x="267" y="50"/>
                  <a:pt x="267" y="49"/>
                  <a:pt x="266" y="49"/>
                </a:cubicBezTo>
                <a:cubicBezTo>
                  <a:pt x="265" y="49"/>
                  <a:pt x="263" y="48"/>
                  <a:pt x="261" y="45"/>
                </a:cubicBezTo>
                <a:cubicBezTo>
                  <a:pt x="260" y="43"/>
                  <a:pt x="258" y="43"/>
                  <a:pt x="257" y="42"/>
                </a:cubicBezTo>
                <a:cubicBezTo>
                  <a:pt x="256" y="41"/>
                  <a:pt x="252" y="43"/>
                  <a:pt x="250" y="44"/>
                </a:cubicBezTo>
                <a:cubicBezTo>
                  <a:pt x="248" y="44"/>
                  <a:pt x="246" y="43"/>
                  <a:pt x="243" y="43"/>
                </a:cubicBezTo>
                <a:cubicBezTo>
                  <a:pt x="241" y="42"/>
                  <a:pt x="240" y="38"/>
                  <a:pt x="238" y="39"/>
                </a:cubicBezTo>
                <a:cubicBezTo>
                  <a:pt x="236" y="39"/>
                  <a:pt x="236" y="43"/>
                  <a:pt x="234" y="43"/>
                </a:cubicBezTo>
                <a:cubicBezTo>
                  <a:pt x="233" y="43"/>
                  <a:pt x="230" y="35"/>
                  <a:pt x="227" y="31"/>
                </a:cubicBezTo>
                <a:cubicBezTo>
                  <a:pt x="224" y="27"/>
                  <a:pt x="219" y="18"/>
                  <a:pt x="214" y="16"/>
                </a:cubicBezTo>
                <a:cubicBezTo>
                  <a:pt x="210" y="14"/>
                  <a:pt x="211" y="12"/>
                  <a:pt x="212" y="11"/>
                </a:cubicBezTo>
                <a:cubicBezTo>
                  <a:pt x="214" y="10"/>
                  <a:pt x="210" y="9"/>
                  <a:pt x="208" y="10"/>
                </a:cubicBezTo>
                <a:cubicBezTo>
                  <a:pt x="206" y="11"/>
                  <a:pt x="204" y="13"/>
                  <a:pt x="201" y="14"/>
                </a:cubicBezTo>
                <a:cubicBezTo>
                  <a:pt x="199" y="14"/>
                  <a:pt x="196" y="18"/>
                  <a:pt x="194" y="17"/>
                </a:cubicBezTo>
                <a:cubicBezTo>
                  <a:pt x="192" y="16"/>
                  <a:pt x="191" y="20"/>
                  <a:pt x="189" y="18"/>
                </a:cubicBezTo>
                <a:cubicBezTo>
                  <a:pt x="187" y="16"/>
                  <a:pt x="191" y="15"/>
                  <a:pt x="191" y="14"/>
                </a:cubicBezTo>
                <a:cubicBezTo>
                  <a:pt x="191" y="12"/>
                  <a:pt x="188" y="14"/>
                  <a:pt x="188" y="13"/>
                </a:cubicBezTo>
                <a:cubicBezTo>
                  <a:pt x="187" y="12"/>
                  <a:pt x="184" y="11"/>
                  <a:pt x="184" y="13"/>
                </a:cubicBezTo>
                <a:cubicBezTo>
                  <a:pt x="184" y="14"/>
                  <a:pt x="182" y="13"/>
                  <a:pt x="182" y="12"/>
                </a:cubicBezTo>
                <a:cubicBezTo>
                  <a:pt x="182" y="11"/>
                  <a:pt x="181" y="9"/>
                  <a:pt x="180" y="11"/>
                </a:cubicBezTo>
                <a:cubicBezTo>
                  <a:pt x="179" y="12"/>
                  <a:pt x="174" y="13"/>
                  <a:pt x="174" y="12"/>
                </a:cubicBezTo>
                <a:cubicBezTo>
                  <a:pt x="173" y="11"/>
                  <a:pt x="174" y="10"/>
                  <a:pt x="174" y="9"/>
                </a:cubicBezTo>
                <a:cubicBezTo>
                  <a:pt x="174" y="7"/>
                  <a:pt x="173" y="6"/>
                  <a:pt x="173" y="4"/>
                </a:cubicBezTo>
                <a:cubicBezTo>
                  <a:pt x="173" y="2"/>
                  <a:pt x="170" y="1"/>
                  <a:pt x="169" y="1"/>
                </a:cubicBezTo>
                <a:cubicBezTo>
                  <a:pt x="167" y="2"/>
                  <a:pt x="165" y="1"/>
                  <a:pt x="163" y="0"/>
                </a:cubicBezTo>
                <a:cubicBezTo>
                  <a:pt x="162" y="0"/>
                  <a:pt x="155" y="1"/>
                  <a:pt x="155" y="2"/>
                </a:cubicBezTo>
                <a:cubicBezTo>
                  <a:pt x="154" y="4"/>
                  <a:pt x="146" y="5"/>
                  <a:pt x="145" y="6"/>
                </a:cubicBezTo>
                <a:cubicBezTo>
                  <a:pt x="143" y="6"/>
                  <a:pt x="137" y="7"/>
                  <a:pt x="135" y="8"/>
                </a:cubicBezTo>
                <a:cubicBezTo>
                  <a:pt x="133" y="8"/>
                  <a:pt x="131" y="10"/>
                  <a:pt x="128" y="10"/>
                </a:cubicBezTo>
                <a:cubicBezTo>
                  <a:pt x="125" y="10"/>
                  <a:pt x="120" y="10"/>
                  <a:pt x="117" y="12"/>
                </a:cubicBezTo>
                <a:cubicBezTo>
                  <a:pt x="115" y="14"/>
                  <a:pt x="111" y="12"/>
                  <a:pt x="109" y="13"/>
                </a:cubicBezTo>
                <a:cubicBezTo>
                  <a:pt x="107" y="13"/>
                  <a:pt x="104" y="12"/>
                  <a:pt x="103" y="13"/>
                </a:cubicBezTo>
                <a:cubicBezTo>
                  <a:pt x="103" y="14"/>
                  <a:pt x="103" y="17"/>
                  <a:pt x="104" y="19"/>
                </a:cubicBezTo>
                <a:cubicBezTo>
                  <a:pt x="105" y="20"/>
                  <a:pt x="110" y="21"/>
                  <a:pt x="110" y="22"/>
                </a:cubicBezTo>
                <a:cubicBezTo>
                  <a:pt x="110" y="23"/>
                  <a:pt x="105" y="23"/>
                  <a:pt x="103" y="23"/>
                </a:cubicBezTo>
                <a:cubicBezTo>
                  <a:pt x="100" y="23"/>
                  <a:pt x="101" y="27"/>
                  <a:pt x="101" y="28"/>
                </a:cubicBezTo>
                <a:cubicBezTo>
                  <a:pt x="102" y="30"/>
                  <a:pt x="99" y="31"/>
                  <a:pt x="97" y="32"/>
                </a:cubicBezTo>
                <a:cubicBezTo>
                  <a:pt x="95" y="32"/>
                  <a:pt x="97" y="35"/>
                  <a:pt x="99" y="35"/>
                </a:cubicBezTo>
                <a:cubicBezTo>
                  <a:pt x="101" y="35"/>
                  <a:pt x="102" y="37"/>
                  <a:pt x="104" y="37"/>
                </a:cubicBezTo>
                <a:cubicBezTo>
                  <a:pt x="105" y="37"/>
                  <a:pt x="106" y="40"/>
                  <a:pt x="106" y="42"/>
                </a:cubicBezTo>
                <a:cubicBezTo>
                  <a:pt x="106" y="44"/>
                  <a:pt x="104" y="44"/>
                  <a:pt x="101" y="44"/>
                </a:cubicBezTo>
                <a:cubicBezTo>
                  <a:pt x="99" y="44"/>
                  <a:pt x="98" y="42"/>
                  <a:pt x="96" y="42"/>
                </a:cubicBezTo>
                <a:cubicBezTo>
                  <a:pt x="95" y="42"/>
                  <a:pt x="95" y="45"/>
                  <a:pt x="94" y="45"/>
                </a:cubicBezTo>
                <a:cubicBezTo>
                  <a:pt x="92" y="46"/>
                  <a:pt x="92" y="43"/>
                  <a:pt x="90" y="43"/>
                </a:cubicBezTo>
                <a:cubicBezTo>
                  <a:pt x="88" y="43"/>
                  <a:pt x="86" y="43"/>
                  <a:pt x="86" y="41"/>
                </a:cubicBezTo>
                <a:cubicBezTo>
                  <a:pt x="85" y="39"/>
                  <a:pt x="81" y="39"/>
                  <a:pt x="79" y="41"/>
                </a:cubicBezTo>
                <a:cubicBezTo>
                  <a:pt x="77" y="43"/>
                  <a:pt x="77" y="42"/>
                  <a:pt x="75" y="41"/>
                </a:cubicBezTo>
                <a:cubicBezTo>
                  <a:pt x="74" y="39"/>
                  <a:pt x="69" y="41"/>
                  <a:pt x="68" y="43"/>
                </a:cubicBezTo>
                <a:cubicBezTo>
                  <a:pt x="68" y="44"/>
                  <a:pt x="64" y="45"/>
                  <a:pt x="62" y="43"/>
                </a:cubicBezTo>
                <a:cubicBezTo>
                  <a:pt x="59" y="42"/>
                  <a:pt x="58" y="41"/>
                  <a:pt x="58" y="43"/>
                </a:cubicBezTo>
                <a:cubicBezTo>
                  <a:pt x="58" y="45"/>
                  <a:pt x="56" y="44"/>
                  <a:pt x="56" y="42"/>
                </a:cubicBezTo>
                <a:cubicBezTo>
                  <a:pt x="56" y="41"/>
                  <a:pt x="52" y="39"/>
                  <a:pt x="50" y="37"/>
                </a:cubicBezTo>
                <a:cubicBezTo>
                  <a:pt x="48" y="36"/>
                  <a:pt x="43" y="36"/>
                  <a:pt x="42" y="35"/>
                </a:cubicBezTo>
                <a:cubicBezTo>
                  <a:pt x="42" y="34"/>
                  <a:pt x="38" y="33"/>
                  <a:pt x="37" y="35"/>
                </a:cubicBezTo>
                <a:cubicBezTo>
                  <a:pt x="37" y="37"/>
                  <a:pt x="35" y="36"/>
                  <a:pt x="34" y="35"/>
                </a:cubicBezTo>
                <a:cubicBezTo>
                  <a:pt x="33" y="34"/>
                  <a:pt x="30" y="36"/>
                  <a:pt x="29" y="37"/>
                </a:cubicBezTo>
                <a:cubicBezTo>
                  <a:pt x="27" y="37"/>
                  <a:pt x="23" y="40"/>
                  <a:pt x="21" y="40"/>
                </a:cubicBezTo>
                <a:cubicBezTo>
                  <a:pt x="19" y="40"/>
                  <a:pt x="20" y="43"/>
                  <a:pt x="18" y="43"/>
                </a:cubicBezTo>
                <a:cubicBezTo>
                  <a:pt x="15" y="44"/>
                  <a:pt x="15" y="46"/>
                  <a:pt x="16" y="47"/>
                </a:cubicBezTo>
                <a:cubicBezTo>
                  <a:pt x="16" y="48"/>
                  <a:pt x="18" y="50"/>
                  <a:pt x="15" y="51"/>
                </a:cubicBezTo>
                <a:cubicBezTo>
                  <a:pt x="13" y="52"/>
                  <a:pt x="12" y="48"/>
                  <a:pt x="10" y="47"/>
                </a:cubicBezTo>
                <a:cubicBezTo>
                  <a:pt x="8" y="45"/>
                  <a:pt x="6" y="47"/>
                  <a:pt x="6" y="49"/>
                </a:cubicBezTo>
                <a:cubicBezTo>
                  <a:pt x="6" y="51"/>
                  <a:pt x="3" y="51"/>
                  <a:pt x="2" y="53"/>
                </a:cubicBezTo>
                <a:cubicBezTo>
                  <a:pt x="1" y="56"/>
                  <a:pt x="4" y="56"/>
                  <a:pt x="4" y="57"/>
                </a:cubicBezTo>
                <a:cubicBezTo>
                  <a:pt x="4" y="58"/>
                  <a:pt x="2" y="59"/>
                  <a:pt x="2" y="59"/>
                </a:cubicBezTo>
                <a:cubicBezTo>
                  <a:pt x="1" y="59"/>
                  <a:pt x="0" y="62"/>
                  <a:pt x="0" y="63"/>
                </a:cubicBezTo>
                <a:cubicBezTo>
                  <a:pt x="1" y="64"/>
                  <a:pt x="4" y="64"/>
                  <a:pt x="4" y="66"/>
                </a:cubicBezTo>
                <a:cubicBezTo>
                  <a:pt x="4" y="68"/>
                  <a:pt x="4" y="70"/>
                  <a:pt x="5" y="70"/>
                </a:cubicBezTo>
                <a:cubicBezTo>
                  <a:pt x="7" y="69"/>
                  <a:pt x="9" y="69"/>
                  <a:pt x="10" y="69"/>
                </a:cubicBezTo>
                <a:cubicBezTo>
                  <a:pt x="12" y="69"/>
                  <a:pt x="12" y="72"/>
                  <a:pt x="15" y="74"/>
                </a:cubicBezTo>
                <a:cubicBezTo>
                  <a:pt x="17" y="77"/>
                  <a:pt x="18" y="78"/>
                  <a:pt x="15" y="78"/>
                </a:cubicBezTo>
                <a:cubicBezTo>
                  <a:pt x="13" y="79"/>
                  <a:pt x="14" y="80"/>
                  <a:pt x="17" y="81"/>
                </a:cubicBezTo>
                <a:cubicBezTo>
                  <a:pt x="18" y="82"/>
                  <a:pt x="19" y="82"/>
                  <a:pt x="19" y="83"/>
                </a:cubicBezTo>
                <a:cubicBezTo>
                  <a:pt x="20" y="83"/>
                  <a:pt x="20" y="82"/>
                  <a:pt x="20" y="82"/>
                </a:cubicBezTo>
                <a:cubicBezTo>
                  <a:pt x="24" y="79"/>
                  <a:pt x="30" y="76"/>
                  <a:pt x="35" y="77"/>
                </a:cubicBezTo>
                <a:cubicBezTo>
                  <a:pt x="40" y="78"/>
                  <a:pt x="43" y="76"/>
                  <a:pt x="46" y="79"/>
                </a:cubicBezTo>
                <a:cubicBezTo>
                  <a:pt x="48" y="82"/>
                  <a:pt x="46" y="87"/>
                  <a:pt x="46" y="89"/>
                </a:cubicBezTo>
                <a:cubicBezTo>
                  <a:pt x="47" y="91"/>
                  <a:pt x="43" y="92"/>
                  <a:pt x="40" y="91"/>
                </a:cubicBezTo>
                <a:cubicBezTo>
                  <a:pt x="37" y="91"/>
                  <a:pt x="30" y="92"/>
                  <a:pt x="31" y="94"/>
                </a:cubicBezTo>
                <a:cubicBezTo>
                  <a:pt x="32" y="96"/>
                  <a:pt x="34" y="100"/>
                  <a:pt x="30" y="98"/>
                </a:cubicBezTo>
                <a:cubicBezTo>
                  <a:pt x="26" y="96"/>
                  <a:pt x="24" y="100"/>
                  <a:pt x="27" y="100"/>
                </a:cubicBezTo>
                <a:cubicBezTo>
                  <a:pt x="29" y="100"/>
                  <a:pt x="32" y="103"/>
                  <a:pt x="32" y="105"/>
                </a:cubicBezTo>
                <a:cubicBezTo>
                  <a:pt x="32" y="107"/>
                  <a:pt x="32" y="111"/>
                  <a:pt x="34" y="110"/>
                </a:cubicBezTo>
                <a:cubicBezTo>
                  <a:pt x="36" y="110"/>
                  <a:pt x="36" y="113"/>
                  <a:pt x="39" y="113"/>
                </a:cubicBezTo>
                <a:cubicBezTo>
                  <a:pt x="42" y="113"/>
                  <a:pt x="44" y="114"/>
                  <a:pt x="42" y="116"/>
                </a:cubicBezTo>
                <a:cubicBezTo>
                  <a:pt x="40" y="119"/>
                  <a:pt x="44" y="126"/>
                  <a:pt x="44" y="125"/>
                </a:cubicBezTo>
                <a:cubicBezTo>
                  <a:pt x="45" y="124"/>
                  <a:pt x="45" y="122"/>
                  <a:pt x="45" y="120"/>
                </a:cubicBezTo>
                <a:cubicBezTo>
                  <a:pt x="44" y="116"/>
                  <a:pt x="51" y="116"/>
                  <a:pt x="52" y="116"/>
                </a:cubicBezTo>
                <a:cubicBezTo>
                  <a:pt x="55" y="116"/>
                  <a:pt x="58" y="120"/>
                  <a:pt x="61" y="123"/>
                </a:cubicBezTo>
                <a:cubicBezTo>
                  <a:pt x="63" y="126"/>
                  <a:pt x="66" y="124"/>
                  <a:pt x="66" y="124"/>
                </a:cubicBezTo>
                <a:cubicBezTo>
                  <a:pt x="67" y="94"/>
                  <a:pt x="67" y="94"/>
                  <a:pt x="67" y="94"/>
                </a:cubicBezTo>
                <a:cubicBezTo>
                  <a:pt x="84" y="89"/>
                  <a:pt x="84" y="89"/>
                  <a:pt x="84" y="89"/>
                </a:cubicBezTo>
                <a:cubicBezTo>
                  <a:pt x="84" y="89"/>
                  <a:pt x="84" y="88"/>
                  <a:pt x="85" y="88"/>
                </a:cubicBezTo>
                <a:cubicBezTo>
                  <a:pt x="87" y="85"/>
                  <a:pt x="90" y="87"/>
                  <a:pt x="91" y="88"/>
                </a:cubicBezTo>
                <a:cubicBezTo>
                  <a:pt x="92" y="89"/>
                  <a:pt x="91" y="85"/>
                  <a:pt x="94" y="85"/>
                </a:cubicBezTo>
                <a:cubicBezTo>
                  <a:pt x="96" y="85"/>
                  <a:pt x="94" y="89"/>
                  <a:pt x="95" y="89"/>
                </a:cubicBezTo>
                <a:cubicBezTo>
                  <a:pt x="97" y="89"/>
                  <a:pt x="100" y="94"/>
                  <a:pt x="99" y="98"/>
                </a:cubicBezTo>
                <a:cubicBezTo>
                  <a:pt x="102" y="100"/>
                  <a:pt x="107" y="105"/>
                  <a:pt x="107" y="107"/>
                </a:cubicBezTo>
                <a:cubicBezTo>
                  <a:pt x="108" y="108"/>
                  <a:pt x="115" y="106"/>
                  <a:pt x="116" y="106"/>
                </a:cubicBezTo>
                <a:cubicBezTo>
                  <a:pt x="117" y="107"/>
                  <a:pt x="128" y="107"/>
                  <a:pt x="130" y="107"/>
                </a:cubicBezTo>
                <a:cubicBezTo>
                  <a:pt x="132" y="107"/>
                  <a:pt x="133" y="110"/>
                  <a:pt x="135" y="111"/>
                </a:cubicBezTo>
                <a:cubicBezTo>
                  <a:pt x="138" y="111"/>
                  <a:pt x="137" y="115"/>
                  <a:pt x="137" y="117"/>
                </a:cubicBezTo>
                <a:cubicBezTo>
                  <a:pt x="137" y="120"/>
                  <a:pt x="141" y="122"/>
                  <a:pt x="141" y="124"/>
                </a:cubicBezTo>
                <a:cubicBezTo>
                  <a:pt x="141" y="126"/>
                  <a:pt x="145" y="125"/>
                  <a:pt x="147" y="126"/>
                </a:cubicBezTo>
                <a:cubicBezTo>
                  <a:pt x="149" y="126"/>
                  <a:pt x="152" y="127"/>
                  <a:pt x="153" y="129"/>
                </a:cubicBezTo>
                <a:cubicBezTo>
                  <a:pt x="153" y="132"/>
                  <a:pt x="156" y="130"/>
                  <a:pt x="156" y="128"/>
                </a:cubicBezTo>
                <a:cubicBezTo>
                  <a:pt x="156" y="127"/>
                  <a:pt x="159" y="125"/>
                  <a:pt x="163" y="123"/>
                </a:cubicBezTo>
                <a:cubicBezTo>
                  <a:pt x="165" y="122"/>
                  <a:pt x="166" y="122"/>
                  <a:pt x="167" y="123"/>
                </a:cubicBezTo>
                <a:cubicBezTo>
                  <a:pt x="168" y="121"/>
                  <a:pt x="168" y="119"/>
                  <a:pt x="169" y="119"/>
                </a:cubicBezTo>
                <a:cubicBezTo>
                  <a:pt x="170" y="118"/>
                  <a:pt x="173" y="116"/>
                  <a:pt x="173" y="114"/>
                </a:cubicBezTo>
                <a:cubicBezTo>
                  <a:pt x="173" y="112"/>
                  <a:pt x="179" y="112"/>
                  <a:pt x="183" y="114"/>
                </a:cubicBezTo>
                <a:cubicBezTo>
                  <a:pt x="186" y="116"/>
                  <a:pt x="188" y="116"/>
                  <a:pt x="189" y="113"/>
                </a:cubicBezTo>
                <a:cubicBezTo>
                  <a:pt x="189" y="110"/>
                  <a:pt x="194" y="109"/>
                  <a:pt x="196" y="110"/>
                </a:cubicBezTo>
                <a:cubicBezTo>
                  <a:pt x="197" y="111"/>
                  <a:pt x="202" y="114"/>
                  <a:pt x="205" y="113"/>
                </a:cubicBezTo>
                <a:cubicBezTo>
                  <a:pt x="207" y="112"/>
                  <a:pt x="220" y="113"/>
                  <a:pt x="223" y="114"/>
                </a:cubicBezTo>
                <a:cubicBezTo>
                  <a:pt x="226" y="114"/>
                  <a:pt x="226" y="112"/>
                  <a:pt x="229" y="115"/>
                </a:cubicBezTo>
                <a:cubicBezTo>
                  <a:pt x="231" y="118"/>
                  <a:pt x="232" y="116"/>
                  <a:pt x="235" y="118"/>
                </a:cubicBezTo>
                <a:cubicBezTo>
                  <a:pt x="235" y="117"/>
                  <a:pt x="235" y="116"/>
                  <a:pt x="235" y="115"/>
                </a:cubicBezTo>
                <a:cubicBezTo>
                  <a:pt x="235" y="113"/>
                  <a:pt x="238" y="111"/>
                  <a:pt x="238" y="110"/>
                </a:cubicBezTo>
                <a:cubicBezTo>
                  <a:pt x="239" y="108"/>
                  <a:pt x="236" y="104"/>
                  <a:pt x="236" y="102"/>
                </a:cubicBezTo>
                <a:cubicBezTo>
                  <a:pt x="236" y="101"/>
                  <a:pt x="236" y="97"/>
                  <a:pt x="234" y="96"/>
                </a:cubicBezTo>
                <a:cubicBezTo>
                  <a:pt x="233" y="95"/>
                  <a:pt x="237" y="93"/>
                  <a:pt x="238" y="93"/>
                </a:cubicBezTo>
                <a:cubicBezTo>
                  <a:pt x="240" y="94"/>
                  <a:pt x="244" y="91"/>
                  <a:pt x="245" y="92"/>
                </a:cubicBezTo>
                <a:cubicBezTo>
                  <a:pt x="246" y="93"/>
                  <a:pt x="248" y="93"/>
                  <a:pt x="249" y="93"/>
                </a:cubicBezTo>
                <a:cubicBezTo>
                  <a:pt x="251" y="93"/>
                  <a:pt x="251" y="91"/>
                  <a:pt x="249" y="90"/>
                </a:cubicBezTo>
                <a:cubicBezTo>
                  <a:pt x="248" y="89"/>
                  <a:pt x="253" y="80"/>
                  <a:pt x="254" y="77"/>
                </a:cubicBezTo>
                <a:cubicBezTo>
                  <a:pt x="254" y="74"/>
                  <a:pt x="256" y="77"/>
                  <a:pt x="258" y="77"/>
                </a:cubicBezTo>
                <a:cubicBezTo>
                  <a:pt x="261" y="77"/>
                  <a:pt x="263" y="77"/>
                  <a:pt x="265" y="78"/>
                </a:cubicBezTo>
                <a:cubicBezTo>
                  <a:pt x="266" y="78"/>
                  <a:pt x="270" y="77"/>
                  <a:pt x="271" y="75"/>
                </a:cubicBezTo>
                <a:cubicBezTo>
                  <a:pt x="272" y="74"/>
                  <a:pt x="270" y="73"/>
                  <a:pt x="270" y="70"/>
                </a:cubicBezTo>
                <a:cubicBezTo>
                  <a:pt x="270" y="66"/>
                  <a:pt x="272" y="64"/>
                  <a:pt x="275" y="64"/>
                </a:cubicBezTo>
                <a:cubicBezTo>
                  <a:pt x="277" y="64"/>
                  <a:pt x="278" y="62"/>
                  <a:pt x="278" y="61"/>
                </a:cubicBezTo>
                <a:cubicBezTo>
                  <a:pt x="278" y="59"/>
                  <a:pt x="280" y="58"/>
                  <a:pt x="280" y="56"/>
                </a:cubicBezTo>
                <a:cubicBezTo>
                  <a:pt x="279" y="55"/>
                  <a:pt x="279" y="54"/>
                  <a:pt x="279" y="54"/>
                </a:cubicBezTo>
                <a:close/>
                <a:moveTo>
                  <a:pt x="104" y="83"/>
                </a:moveTo>
                <a:cubicBezTo>
                  <a:pt x="104" y="85"/>
                  <a:pt x="96" y="82"/>
                  <a:pt x="95" y="81"/>
                </a:cubicBezTo>
                <a:cubicBezTo>
                  <a:pt x="94" y="79"/>
                  <a:pt x="106" y="81"/>
                  <a:pt x="104" y="83"/>
                </a:cubicBezTo>
                <a:close/>
                <a:moveTo>
                  <a:pt x="220" y="83"/>
                </a:moveTo>
                <a:cubicBezTo>
                  <a:pt x="214" y="83"/>
                  <a:pt x="202" y="80"/>
                  <a:pt x="197" y="85"/>
                </a:cubicBezTo>
                <a:cubicBezTo>
                  <a:pt x="191" y="91"/>
                  <a:pt x="195" y="94"/>
                  <a:pt x="193" y="94"/>
                </a:cubicBezTo>
                <a:cubicBezTo>
                  <a:pt x="190" y="95"/>
                  <a:pt x="189" y="86"/>
                  <a:pt x="192" y="83"/>
                </a:cubicBezTo>
                <a:cubicBezTo>
                  <a:pt x="195" y="80"/>
                  <a:pt x="204" y="79"/>
                  <a:pt x="210" y="80"/>
                </a:cubicBezTo>
                <a:cubicBezTo>
                  <a:pt x="216" y="82"/>
                  <a:pt x="226" y="79"/>
                  <a:pt x="227" y="79"/>
                </a:cubicBezTo>
                <a:cubicBezTo>
                  <a:pt x="229" y="80"/>
                  <a:pt x="226" y="83"/>
                  <a:pt x="220" y="83"/>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56" name="Freeform 162"/>
          <p:cNvSpPr>
            <a:spLocks noEditPoints="1"/>
          </p:cNvSpPr>
          <p:nvPr/>
        </p:nvSpPr>
        <p:spPr bwMode="auto">
          <a:xfrm>
            <a:off x="4596880" y="1000573"/>
            <a:ext cx="3352800" cy="1284288"/>
          </a:xfrm>
          <a:custGeom>
            <a:avLst/>
            <a:gdLst>
              <a:gd name="T0" fmla="*/ 514 w 1177"/>
              <a:gd name="T1" fmla="*/ 35 h 451"/>
              <a:gd name="T2" fmla="*/ 510 w 1177"/>
              <a:gd name="T3" fmla="*/ 26 h 451"/>
              <a:gd name="T4" fmla="*/ 417 w 1177"/>
              <a:gd name="T5" fmla="*/ 127 h 451"/>
              <a:gd name="T6" fmla="*/ 823 w 1177"/>
              <a:gd name="T7" fmla="*/ 101 h 451"/>
              <a:gd name="T8" fmla="*/ 301 w 1177"/>
              <a:gd name="T9" fmla="*/ 12 h 451"/>
              <a:gd name="T10" fmla="*/ 565 w 1177"/>
              <a:gd name="T11" fmla="*/ 35 h 451"/>
              <a:gd name="T12" fmla="*/ 838 w 1177"/>
              <a:gd name="T13" fmla="*/ 351 h 451"/>
              <a:gd name="T14" fmla="*/ 178 w 1177"/>
              <a:gd name="T15" fmla="*/ 15 h 451"/>
              <a:gd name="T16" fmla="*/ 1146 w 1177"/>
              <a:gd name="T17" fmla="*/ 205 h 451"/>
              <a:gd name="T18" fmla="*/ 1039 w 1177"/>
              <a:gd name="T19" fmla="*/ 181 h 451"/>
              <a:gd name="T20" fmla="*/ 928 w 1177"/>
              <a:gd name="T21" fmla="*/ 154 h 451"/>
              <a:gd name="T22" fmla="*/ 863 w 1177"/>
              <a:gd name="T23" fmla="*/ 133 h 451"/>
              <a:gd name="T24" fmla="*/ 787 w 1177"/>
              <a:gd name="T25" fmla="*/ 148 h 451"/>
              <a:gd name="T26" fmla="*/ 734 w 1177"/>
              <a:gd name="T27" fmla="*/ 121 h 451"/>
              <a:gd name="T28" fmla="*/ 643 w 1177"/>
              <a:gd name="T29" fmla="*/ 120 h 451"/>
              <a:gd name="T30" fmla="*/ 617 w 1177"/>
              <a:gd name="T31" fmla="*/ 110 h 451"/>
              <a:gd name="T32" fmla="*/ 602 w 1177"/>
              <a:gd name="T33" fmla="*/ 77 h 451"/>
              <a:gd name="T34" fmla="*/ 541 w 1177"/>
              <a:gd name="T35" fmla="*/ 80 h 451"/>
              <a:gd name="T36" fmla="*/ 476 w 1177"/>
              <a:gd name="T37" fmla="*/ 96 h 451"/>
              <a:gd name="T38" fmla="*/ 458 w 1177"/>
              <a:gd name="T39" fmla="*/ 116 h 451"/>
              <a:gd name="T40" fmla="*/ 395 w 1177"/>
              <a:gd name="T41" fmla="*/ 142 h 451"/>
              <a:gd name="T42" fmla="*/ 377 w 1177"/>
              <a:gd name="T43" fmla="*/ 176 h 451"/>
              <a:gd name="T44" fmla="*/ 374 w 1177"/>
              <a:gd name="T45" fmla="*/ 203 h 451"/>
              <a:gd name="T46" fmla="*/ 373 w 1177"/>
              <a:gd name="T47" fmla="*/ 190 h 451"/>
              <a:gd name="T48" fmla="*/ 329 w 1177"/>
              <a:gd name="T49" fmla="*/ 154 h 451"/>
              <a:gd name="T50" fmla="*/ 273 w 1177"/>
              <a:gd name="T51" fmla="*/ 160 h 451"/>
              <a:gd name="T52" fmla="*/ 238 w 1177"/>
              <a:gd name="T53" fmla="*/ 182 h 451"/>
              <a:gd name="T54" fmla="*/ 175 w 1177"/>
              <a:gd name="T55" fmla="*/ 182 h 451"/>
              <a:gd name="T56" fmla="*/ 144 w 1177"/>
              <a:gd name="T57" fmla="*/ 227 h 451"/>
              <a:gd name="T58" fmla="*/ 99 w 1177"/>
              <a:gd name="T59" fmla="*/ 209 h 451"/>
              <a:gd name="T60" fmla="*/ 103 w 1177"/>
              <a:gd name="T61" fmla="*/ 172 h 451"/>
              <a:gd name="T62" fmla="*/ 67 w 1177"/>
              <a:gd name="T63" fmla="*/ 187 h 451"/>
              <a:gd name="T64" fmla="*/ 61 w 1177"/>
              <a:gd name="T65" fmla="*/ 267 h 451"/>
              <a:gd name="T66" fmla="*/ 58 w 1177"/>
              <a:gd name="T67" fmla="*/ 311 h 451"/>
              <a:gd name="T68" fmla="*/ 88 w 1177"/>
              <a:gd name="T69" fmla="*/ 353 h 451"/>
              <a:gd name="T70" fmla="*/ 138 w 1177"/>
              <a:gd name="T71" fmla="*/ 382 h 451"/>
              <a:gd name="T72" fmla="*/ 137 w 1177"/>
              <a:gd name="T73" fmla="*/ 430 h 451"/>
              <a:gd name="T74" fmla="*/ 189 w 1177"/>
              <a:gd name="T75" fmla="*/ 425 h 451"/>
              <a:gd name="T76" fmla="*/ 200 w 1177"/>
              <a:gd name="T77" fmla="*/ 376 h 451"/>
              <a:gd name="T78" fmla="*/ 271 w 1177"/>
              <a:gd name="T79" fmla="*/ 366 h 451"/>
              <a:gd name="T80" fmla="*/ 302 w 1177"/>
              <a:gd name="T81" fmla="*/ 337 h 451"/>
              <a:gd name="T82" fmla="*/ 374 w 1177"/>
              <a:gd name="T83" fmla="*/ 343 h 451"/>
              <a:gd name="T84" fmla="*/ 456 w 1177"/>
              <a:gd name="T85" fmla="*/ 379 h 451"/>
              <a:gd name="T86" fmla="*/ 529 w 1177"/>
              <a:gd name="T87" fmla="*/ 377 h 451"/>
              <a:gd name="T88" fmla="*/ 585 w 1177"/>
              <a:gd name="T89" fmla="*/ 371 h 451"/>
              <a:gd name="T90" fmla="*/ 681 w 1177"/>
              <a:gd name="T91" fmla="*/ 373 h 451"/>
              <a:gd name="T92" fmla="*/ 749 w 1177"/>
              <a:gd name="T93" fmla="*/ 382 h 451"/>
              <a:gd name="T94" fmla="*/ 764 w 1177"/>
              <a:gd name="T95" fmla="*/ 432 h 451"/>
              <a:gd name="T96" fmla="*/ 832 w 1177"/>
              <a:gd name="T97" fmla="*/ 344 h 451"/>
              <a:gd name="T98" fmla="*/ 813 w 1177"/>
              <a:gd name="T99" fmla="*/ 314 h 451"/>
              <a:gd name="T100" fmla="*/ 911 w 1177"/>
              <a:gd name="T101" fmla="*/ 290 h 451"/>
              <a:gd name="T102" fmla="*/ 974 w 1177"/>
              <a:gd name="T103" fmla="*/ 268 h 451"/>
              <a:gd name="T104" fmla="*/ 934 w 1177"/>
              <a:gd name="T105" fmla="*/ 326 h 451"/>
              <a:gd name="T106" fmla="*/ 984 w 1177"/>
              <a:gd name="T107" fmla="*/ 313 h 451"/>
              <a:gd name="T108" fmla="*/ 1050 w 1177"/>
              <a:gd name="T109" fmla="*/ 270 h 451"/>
              <a:gd name="T110" fmla="*/ 1090 w 1177"/>
              <a:gd name="T111" fmla="*/ 229 h 451"/>
              <a:gd name="T112" fmla="*/ 1153 w 1177"/>
              <a:gd name="T113" fmla="*/ 234 h 451"/>
              <a:gd name="T114" fmla="*/ 574 w 1177"/>
              <a:gd name="T115" fmla="*/ 362 h 451"/>
              <a:gd name="T116" fmla="*/ 262 w 1177"/>
              <a:gd name="T117" fmla="*/ 7 h 451"/>
              <a:gd name="T118" fmla="*/ 231 w 1177"/>
              <a:gd name="T119" fmla="*/ 147 h 451"/>
              <a:gd name="T120" fmla="*/ 310 w 1177"/>
              <a:gd name="T121" fmla="*/ 80 h 451"/>
              <a:gd name="T122" fmla="*/ 199 w 1177"/>
              <a:gd name="T123" fmla="*/ 17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77" h="451">
                <a:moveTo>
                  <a:pt x="18" y="326"/>
                </a:moveTo>
                <a:cubicBezTo>
                  <a:pt x="17" y="327"/>
                  <a:pt x="15" y="326"/>
                  <a:pt x="14" y="325"/>
                </a:cubicBezTo>
                <a:cubicBezTo>
                  <a:pt x="13" y="324"/>
                  <a:pt x="12" y="324"/>
                  <a:pt x="10" y="324"/>
                </a:cubicBezTo>
                <a:cubicBezTo>
                  <a:pt x="10" y="325"/>
                  <a:pt x="11" y="325"/>
                  <a:pt x="11" y="325"/>
                </a:cubicBezTo>
                <a:cubicBezTo>
                  <a:pt x="12" y="327"/>
                  <a:pt x="7" y="327"/>
                  <a:pt x="9" y="329"/>
                </a:cubicBezTo>
                <a:cubicBezTo>
                  <a:pt x="10" y="331"/>
                  <a:pt x="5" y="331"/>
                  <a:pt x="5" y="329"/>
                </a:cubicBezTo>
                <a:cubicBezTo>
                  <a:pt x="5" y="327"/>
                  <a:pt x="1" y="328"/>
                  <a:pt x="1" y="330"/>
                </a:cubicBezTo>
                <a:cubicBezTo>
                  <a:pt x="1" y="330"/>
                  <a:pt x="1" y="331"/>
                  <a:pt x="0" y="331"/>
                </a:cubicBezTo>
                <a:cubicBezTo>
                  <a:pt x="2" y="332"/>
                  <a:pt x="3" y="332"/>
                  <a:pt x="4" y="332"/>
                </a:cubicBezTo>
                <a:cubicBezTo>
                  <a:pt x="5" y="333"/>
                  <a:pt x="17" y="334"/>
                  <a:pt x="22" y="333"/>
                </a:cubicBezTo>
                <a:cubicBezTo>
                  <a:pt x="21" y="332"/>
                  <a:pt x="22" y="330"/>
                  <a:pt x="22" y="329"/>
                </a:cubicBezTo>
                <a:cubicBezTo>
                  <a:pt x="22" y="327"/>
                  <a:pt x="19" y="326"/>
                  <a:pt x="18" y="326"/>
                </a:cubicBezTo>
                <a:close/>
                <a:moveTo>
                  <a:pt x="513" y="28"/>
                </a:moveTo>
                <a:cubicBezTo>
                  <a:pt x="513" y="30"/>
                  <a:pt x="507" y="32"/>
                  <a:pt x="509" y="34"/>
                </a:cubicBezTo>
                <a:cubicBezTo>
                  <a:pt x="510" y="35"/>
                  <a:pt x="512" y="35"/>
                  <a:pt x="514" y="35"/>
                </a:cubicBezTo>
                <a:cubicBezTo>
                  <a:pt x="516" y="36"/>
                  <a:pt x="517" y="41"/>
                  <a:pt x="520" y="40"/>
                </a:cubicBezTo>
                <a:cubicBezTo>
                  <a:pt x="524" y="39"/>
                  <a:pt x="534" y="44"/>
                  <a:pt x="540" y="44"/>
                </a:cubicBezTo>
                <a:cubicBezTo>
                  <a:pt x="546" y="44"/>
                  <a:pt x="546" y="39"/>
                  <a:pt x="545" y="39"/>
                </a:cubicBezTo>
                <a:cubicBezTo>
                  <a:pt x="543" y="39"/>
                  <a:pt x="544" y="36"/>
                  <a:pt x="548" y="31"/>
                </a:cubicBezTo>
                <a:cubicBezTo>
                  <a:pt x="551" y="26"/>
                  <a:pt x="537" y="23"/>
                  <a:pt x="537" y="27"/>
                </a:cubicBezTo>
                <a:cubicBezTo>
                  <a:pt x="537" y="30"/>
                  <a:pt x="534" y="26"/>
                  <a:pt x="532" y="24"/>
                </a:cubicBezTo>
                <a:cubicBezTo>
                  <a:pt x="531" y="21"/>
                  <a:pt x="513" y="25"/>
                  <a:pt x="513" y="28"/>
                </a:cubicBezTo>
                <a:close/>
                <a:moveTo>
                  <a:pt x="497" y="7"/>
                </a:moveTo>
                <a:cubicBezTo>
                  <a:pt x="498" y="4"/>
                  <a:pt x="485" y="6"/>
                  <a:pt x="488" y="9"/>
                </a:cubicBezTo>
                <a:cubicBezTo>
                  <a:pt x="489" y="10"/>
                  <a:pt x="496" y="11"/>
                  <a:pt x="497" y="7"/>
                </a:cubicBezTo>
                <a:close/>
                <a:moveTo>
                  <a:pt x="502" y="22"/>
                </a:moveTo>
                <a:cubicBezTo>
                  <a:pt x="506" y="24"/>
                  <a:pt x="505" y="25"/>
                  <a:pt x="501" y="25"/>
                </a:cubicBezTo>
                <a:cubicBezTo>
                  <a:pt x="497" y="25"/>
                  <a:pt x="493" y="26"/>
                  <a:pt x="496" y="27"/>
                </a:cubicBezTo>
                <a:cubicBezTo>
                  <a:pt x="498" y="28"/>
                  <a:pt x="498" y="30"/>
                  <a:pt x="502" y="31"/>
                </a:cubicBezTo>
                <a:cubicBezTo>
                  <a:pt x="506" y="32"/>
                  <a:pt x="511" y="29"/>
                  <a:pt x="510" y="26"/>
                </a:cubicBezTo>
                <a:cubicBezTo>
                  <a:pt x="510" y="24"/>
                  <a:pt x="525" y="22"/>
                  <a:pt x="529" y="20"/>
                </a:cubicBezTo>
                <a:cubicBezTo>
                  <a:pt x="533" y="19"/>
                  <a:pt x="527" y="15"/>
                  <a:pt x="531" y="15"/>
                </a:cubicBezTo>
                <a:cubicBezTo>
                  <a:pt x="535" y="14"/>
                  <a:pt x="534" y="12"/>
                  <a:pt x="528" y="12"/>
                </a:cubicBezTo>
                <a:cubicBezTo>
                  <a:pt x="523" y="11"/>
                  <a:pt x="525" y="6"/>
                  <a:pt x="523" y="4"/>
                </a:cubicBezTo>
                <a:cubicBezTo>
                  <a:pt x="521" y="3"/>
                  <a:pt x="520" y="6"/>
                  <a:pt x="513" y="8"/>
                </a:cubicBezTo>
                <a:cubicBezTo>
                  <a:pt x="506" y="9"/>
                  <a:pt x="502" y="11"/>
                  <a:pt x="505" y="13"/>
                </a:cubicBezTo>
                <a:cubicBezTo>
                  <a:pt x="508" y="14"/>
                  <a:pt x="505" y="17"/>
                  <a:pt x="502" y="17"/>
                </a:cubicBezTo>
                <a:cubicBezTo>
                  <a:pt x="499" y="17"/>
                  <a:pt x="499" y="20"/>
                  <a:pt x="502" y="22"/>
                </a:cubicBezTo>
                <a:close/>
                <a:moveTo>
                  <a:pt x="352" y="126"/>
                </a:moveTo>
                <a:cubicBezTo>
                  <a:pt x="355" y="126"/>
                  <a:pt x="362" y="125"/>
                  <a:pt x="363" y="123"/>
                </a:cubicBezTo>
                <a:cubicBezTo>
                  <a:pt x="363" y="122"/>
                  <a:pt x="360" y="120"/>
                  <a:pt x="355" y="120"/>
                </a:cubicBezTo>
                <a:cubicBezTo>
                  <a:pt x="350" y="120"/>
                  <a:pt x="350" y="126"/>
                  <a:pt x="352" y="126"/>
                </a:cubicBezTo>
                <a:close/>
                <a:moveTo>
                  <a:pt x="417" y="127"/>
                </a:moveTo>
                <a:cubicBezTo>
                  <a:pt x="416" y="123"/>
                  <a:pt x="409" y="128"/>
                  <a:pt x="411" y="129"/>
                </a:cubicBezTo>
                <a:cubicBezTo>
                  <a:pt x="415" y="131"/>
                  <a:pt x="417" y="130"/>
                  <a:pt x="417" y="127"/>
                </a:cubicBezTo>
                <a:close/>
                <a:moveTo>
                  <a:pt x="1096" y="155"/>
                </a:moveTo>
                <a:cubicBezTo>
                  <a:pt x="1100" y="157"/>
                  <a:pt x="1103" y="153"/>
                  <a:pt x="1106" y="155"/>
                </a:cubicBezTo>
                <a:cubicBezTo>
                  <a:pt x="1109" y="157"/>
                  <a:pt x="1117" y="154"/>
                  <a:pt x="1121" y="153"/>
                </a:cubicBezTo>
                <a:cubicBezTo>
                  <a:pt x="1124" y="153"/>
                  <a:pt x="1122" y="149"/>
                  <a:pt x="1113" y="147"/>
                </a:cubicBezTo>
                <a:cubicBezTo>
                  <a:pt x="1104" y="146"/>
                  <a:pt x="1092" y="153"/>
                  <a:pt x="1096" y="155"/>
                </a:cubicBezTo>
                <a:close/>
                <a:moveTo>
                  <a:pt x="886" y="104"/>
                </a:moveTo>
                <a:cubicBezTo>
                  <a:pt x="895" y="104"/>
                  <a:pt x="902" y="103"/>
                  <a:pt x="902" y="101"/>
                </a:cubicBezTo>
                <a:cubicBezTo>
                  <a:pt x="903" y="98"/>
                  <a:pt x="894" y="95"/>
                  <a:pt x="891" y="97"/>
                </a:cubicBezTo>
                <a:cubicBezTo>
                  <a:pt x="888" y="99"/>
                  <a:pt x="886" y="94"/>
                  <a:pt x="883" y="95"/>
                </a:cubicBezTo>
                <a:cubicBezTo>
                  <a:pt x="880" y="96"/>
                  <a:pt x="875" y="96"/>
                  <a:pt x="874" y="93"/>
                </a:cubicBezTo>
                <a:cubicBezTo>
                  <a:pt x="872" y="91"/>
                  <a:pt x="867" y="98"/>
                  <a:pt x="869" y="98"/>
                </a:cubicBezTo>
                <a:cubicBezTo>
                  <a:pt x="874" y="98"/>
                  <a:pt x="876" y="103"/>
                  <a:pt x="886" y="104"/>
                </a:cubicBezTo>
                <a:close/>
                <a:moveTo>
                  <a:pt x="807" y="98"/>
                </a:moveTo>
                <a:cubicBezTo>
                  <a:pt x="810" y="100"/>
                  <a:pt x="811" y="101"/>
                  <a:pt x="813" y="103"/>
                </a:cubicBezTo>
                <a:cubicBezTo>
                  <a:pt x="815" y="104"/>
                  <a:pt x="821" y="102"/>
                  <a:pt x="823" y="101"/>
                </a:cubicBezTo>
                <a:cubicBezTo>
                  <a:pt x="826" y="100"/>
                  <a:pt x="826" y="105"/>
                  <a:pt x="830" y="102"/>
                </a:cubicBezTo>
                <a:cubicBezTo>
                  <a:pt x="834" y="100"/>
                  <a:pt x="837" y="101"/>
                  <a:pt x="842" y="101"/>
                </a:cubicBezTo>
                <a:cubicBezTo>
                  <a:pt x="846" y="101"/>
                  <a:pt x="841" y="96"/>
                  <a:pt x="841" y="93"/>
                </a:cubicBezTo>
                <a:cubicBezTo>
                  <a:pt x="841" y="91"/>
                  <a:pt x="847" y="92"/>
                  <a:pt x="845" y="94"/>
                </a:cubicBezTo>
                <a:cubicBezTo>
                  <a:pt x="843" y="96"/>
                  <a:pt x="847" y="101"/>
                  <a:pt x="854" y="101"/>
                </a:cubicBezTo>
                <a:cubicBezTo>
                  <a:pt x="860" y="100"/>
                  <a:pt x="855" y="96"/>
                  <a:pt x="859" y="95"/>
                </a:cubicBezTo>
                <a:cubicBezTo>
                  <a:pt x="862" y="93"/>
                  <a:pt x="862" y="92"/>
                  <a:pt x="857" y="89"/>
                </a:cubicBezTo>
                <a:cubicBezTo>
                  <a:pt x="852" y="86"/>
                  <a:pt x="846" y="88"/>
                  <a:pt x="842" y="86"/>
                </a:cubicBezTo>
                <a:cubicBezTo>
                  <a:pt x="838" y="84"/>
                  <a:pt x="833" y="84"/>
                  <a:pt x="832" y="88"/>
                </a:cubicBezTo>
                <a:cubicBezTo>
                  <a:pt x="832" y="93"/>
                  <a:pt x="824" y="84"/>
                  <a:pt x="819" y="82"/>
                </a:cubicBezTo>
                <a:cubicBezTo>
                  <a:pt x="815" y="81"/>
                  <a:pt x="801" y="95"/>
                  <a:pt x="807" y="98"/>
                </a:cubicBezTo>
                <a:close/>
                <a:moveTo>
                  <a:pt x="313" y="13"/>
                </a:moveTo>
                <a:cubicBezTo>
                  <a:pt x="320" y="12"/>
                  <a:pt x="320" y="8"/>
                  <a:pt x="316" y="7"/>
                </a:cubicBezTo>
                <a:cubicBezTo>
                  <a:pt x="312" y="6"/>
                  <a:pt x="312" y="9"/>
                  <a:pt x="310" y="9"/>
                </a:cubicBezTo>
                <a:cubicBezTo>
                  <a:pt x="307" y="9"/>
                  <a:pt x="300" y="10"/>
                  <a:pt x="301" y="12"/>
                </a:cubicBezTo>
                <a:cubicBezTo>
                  <a:pt x="303" y="14"/>
                  <a:pt x="309" y="13"/>
                  <a:pt x="313" y="13"/>
                </a:cubicBezTo>
                <a:close/>
                <a:moveTo>
                  <a:pt x="850" y="124"/>
                </a:moveTo>
                <a:cubicBezTo>
                  <a:pt x="854" y="123"/>
                  <a:pt x="847" y="117"/>
                  <a:pt x="841" y="116"/>
                </a:cubicBezTo>
                <a:cubicBezTo>
                  <a:pt x="835" y="115"/>
                  <a:pt x="829" y="120"/>
                  <a:pt x="830" y="121"/>
                </a:cubicBezTo>
                <a:cubicBezTo>
                  <a:pt x="831" y="124"/>
                  <a:pt x="846" y="125"/>
                  <a:pt x="850" y="124"/>
                </a:cubicBezTo>
                <a:close/>
                <a:moveTo>
                  <a:pt x="834" y="111"/>
                </a:moveTo>
                <a:cubicBezTo>
                  <a:pt x="834" y="108"/>
                  <a:pt x="823" y="112"/>
                  <a:pt x="827" y="114"/>
                </a:cubicBezTo>
                <a:cubicBezTo>
                  <a:pt x="830" y="114"/>
                  <a:pt x="834" y="114"/>
                  <a:pt x="834" y="111"/>
                </a:cubicBezTo>
                <a:close/>
                <a:moveTo>
                  <a:pt x="545" y="56"/>
                </a:moveTo>
                <a:cubicBezTo>
                  <a:pt x="548" y="58"/>
                  <a:pt x="557" y="54"/>
                  <a:pt x="563" y="54"/>
                </a:cubicBezTo>
                <a:cubicBezTo>
                  <a:pt x="569" y="55"/>
                  <a:pt x="586" y="50"/>
                  <a:pt x="587" y="47"/>
                </a:cubicBezTo>
                <a:cubicBezTo>
                  <a:pt x="587" y="43"/>
                  <a:pt x="580" y="44"/>
                  <a:pt x="578" y="41"/>
                </a:cubicBezTo>
                <a:cubicBezTo>
                  <a:pt x="575" y="38"/>
                  <a:pt x="569" y="40"/>
                  <a:pt x="568" y="43"/>
                </a:cubicBezTo>
                <a:cubicBezTo>
                  <a:pt x="566" y="45"/>
                  <a:pt x="565" y="43"/>
                  <a:pt x="569" y="39"/>
                </a:cubicBezTo>
                <a:cubicBezTo>
                  <a:pt x="573" y="35"/>
                  <a:pt x="565" y="32"/>
                  <a:pt x="565" y="35"/>
                </a:cubicBezTo>
                <a:cubicBezTo>
                  <a:pt x="564" y="37"/>
                  <a:pt x="557" y="35"/>
                  <a:pt x="557" y="37"/>
                </a:cubicBezTo>
                <a:cubicBezTo>
                  <a:pt x="557" y="39"/>
                  <a:pt x="555" y="40"/>
                  <a:pt x="555" y="43"/>
                </a:cubicBezTo>
                <a:cubicBezTo>
                  <a:pt x="555" y="45"/>
                  <a:pt x="550" y="41"/>
                  <a:pt x="550" y="47"/>
                </a:cubicBezTo>
                <a:cubicBezTo>
                  <a:pt x="550" y="52"/>
                  <a:pt x="542" y="55"/>
                  <a:pt x="545" y="56"/>
                </a:cubicBezTo>
                <a:close/>
                <a:moveTo>
                  <a:pt x="263" y="18"/>
                </a:moveTo>
                <a:cubicBezTo>
                  <a:pt x="264" y="19"/>
                  <a:pt x="262" y="19"/>
                  <a:pt x="258" y="19"/>
                </a:cubicBezTo>
                <a:cubicBezTo>
                  <a:pt x="254" y="19"/>
                  <a:pt x="252" y="22"/>
                  <a:pt x="254" y="24"/>
                </a:cubicBezTo>
                <a:cubicBezTo>
                  <a:pt x="256" y="26"/>
                  <a:pt x="267" y="25"/>
                  <a:pt x="269" y="22"/>
                </a:cubicBezTo>
                <a:cubicBezTo>
                  <a:pt x="271" y="20"/>
                  <a:pt x="276" y="22"/>
                  <a:pt x="276" y="19"/>
                </a:cubicBezTo>
                <a:cubicBezTo>
                  <a:pt x="277" y="17"/>
                  <a:pt x="262" y="16"/>
                  <a:pt x="263" y="18"/>
                </a:cubicBezTo>
                <a:close/>
                <a:moveTo>
                  <a:pt x="848" y="359"/>
                </a:moveTo>
                <a:cubicBezTo>
                  <a:pt x="846" y="354"/>
                  <a:pt x="852" y="348"/>
                  <a:pt x="848" y="345"/>
                </a:cubicBezTo>
                <a:cubicBezTo>
                  <a:pt x="843" y="342"/>
                  <a:pt x="845" y="335"/>
                  <a:pt x="843" y="337"/>
                </a:cubicBezTo>
                <a:cubicBezTo>
                  <a:pt x="841" y="338"/>
                  <a:pt x="843" y="343"/>
                  <a:pt x="840" y="344"/>
                </a:cubicBezTo>
                <a:cubicBezTo>
                  <a:pt x="837" y="344"/>
                  <a:pt x="840" y="347"/>
                  <a:pt x="838" y="351"/>
                </a:cubicBezTo>
                <a:cubicBezTo>
                  <a:pt x="837" y="355"/>
                  <a:pt x="839" y="361"/>
                  <a:pt x="841" y="365"/>
                </a:cubicBezTo>
                <a:cubicBezTo>
                  <a:pt x="842" y="369"/>
                  <a:pt x="838" y="388"/>
                  <a:pt x="840" y="391"/>
                </a:cubicBezTo>
                <a:cubicBezTo>
                  <a:pt x="842" y="395"/>
                  <a:pt x="837" y="409"/>
                  <a:pt x="839" y="411"/>
                </a:cubicBezTo>
                <a:cubicBezTo>
                  <a:pt x="841" y="414"/>
                  <a:pt x="840" y="407"/>
                  <a:pt x="843" y="406"/>
                </a:cubicBezTo>
                <a:cubicBezTo>
                  <a:pt x="847" y="406"/>
                  <a:pt x="847" y="410"/>
                  <a:pt x="849" y="411"/>
                </a:cubicBezTo>
                <a:cubicBezTo>
                  <a:pt x="851" y="412"/>
                  <a:pt x="850" y="405"/>
                  <a:pt x="848" y="405"/>
                </a:cubicBezTo>
                <a:cubicBezTo>
                  <a:pt x="846" y="406"/>
                  <a:pt x="844" y="400"/>
                  <a:pt x="843" y="397"/>
                </a:cubicBezTo>
                <a:cubicBezTo>
                  <a:pt x="842" y="394"/>
                  <a:pt x="845" y="390"/>
                  <a:pt x="845" y="386"/>
                </a:cubicBezTo>
                <a:cubicBezTo>
                  <a:pt x="845" y="382"/>
                  <a:pt x="850" y="382"/>
                  <a:pt x="853" y="385"/>
                </a:cubicBezTo>
                <a:cubicBezTo>
                  <a:pt x="857" y="388"/>
                  <a:pt x="857" y="386"/>
                  <a:pt x="856" y="384"/>
                </a:cubicBezTo>
                <a:cubicBezTo>
                  <a:pt x="854" y="382"/>
                  <a:pt x="851" y="365"/>
                  <a:pt x="848" y="359"/>
                </a:cubicBezTo>
                <a:close/>
                <a:moveTo>
                  <a:pt x="189" y="15"/>
                </a:moveTo>
                <a:cubicBezTo>
                  <a:pt x="194" y="11"/>
                  <a:pt x="200" y="15"/>
                  <a:pt x="201" y="13"/>
                </a:cubicBezTo>
                <a:cubicBezTo>
                  <a:pt x="201" y="11"/>
                  <a:pt x="192" y="11"/>
                  <a:pt x="188" y="12"/>
                </a:cubicBezTo>
                <a:cubicBezTo>
                  <a:pt x="185" y="14"/>
                  <a:pt x="177" y="13"/>
                  <a:pt x="178" y="15"/>
                </a:cubicBezTo>
                <a:cubicBezTo>
                  <a:pt x="178" y="16"/>
                  <a:pt x="184" y="20"/>
                  <a:pt x="189" y="15"/>
                </a:cubicBezTo>
                <a:close/>
                <a:moveTo>
                  <a:pt x="199" y="178"/>
                </a:moveTo>
                <a:cubicBezTo>
                  <a:pt x="205" y="183"/>
                  <a:pt x="210" y="176"/>
                  <a:pt x="212" y="175"/>
                </a:cubicBezTo>
                <a:cubicBezTo>
                  <a:pt x="215" y="175"/>
                  <a:pt x="211" y="172"/>
                  <a:pt x="206" y="171"/>
                </a:cubicBezTo>
                <a:cubicBezTo>
                  <a:pt x="202" y="170"/>
                  <a:pt x="195" y="174"/>
                  <a:pt x="199" y="178"/>
                </a:cubicBezTo>
                <a:close/>
                <a:moveTo>
                  <a:pt x="633" y="107"/>
                </a:moveTo>
                <a:cubicBezTo>
                  <a:pt x="632" y="109"/>
                  <a:pt x="628" y="109"/>
                  <a:pt x="629" y="110"/>
                </a:cubicBezTo>
                <a:cubicBezTo>
                  <a:pt x="631" y="113"/>
                  <a:pt x="641" y="112"/>
                  <a:pt x="641" y="108"/>
                </a:cubicBezTo>
                <a:cubicBezTo>
                  <a:pt x="641" y="105"/>
                  <a:pt x="634" y="106"/>
                  <a:pt x="633" y="107"/>
                </a:cubicBezTo>
                <a:close/>
                <a:moveTo>
                  <a:pt x="1175" y="213"/>
                </a:moveTo>
                <a:cubicBezTo>
                  <a:pt x="1173" y="212"/>
                  <a:pt x="1166" y="208"/>
                  <a:pt x="1164" y="206"/>
                </a:cubicBezTo>
                <a:cubicBezTo>
                  <a:pt x="1163" y="203"/>
                  <a:pt x="1155" y="202"/>
                  <a:pt x="1155" y="203"/>
                </a:cubicBezTo>
                <a:cubicBezTo>
                  <a:pt x="1155" y="205"/>
                  <a:pt x="1152" y="203"/>
                  <a:pt x="1152" y="202"/>
                </a:cubicBezTo>
                <a:cubicBezTo>
                  <a:pt x="1151" y="200"/>
                  <a:pt x="1143" y="200"/>
                  <a:pt x="1143" y="202"/>
                </a:cubicBezTo>
                <a:cubicBezTo>
                  <a:pt x="1143" y="203"/>
                  <a:pt x="1145" y="203"/>
                  <a:pt x="1146" y="205"/>
                </a:cubicBezTo>
                <a:cubicBezTo>
                  <a:pt x="1147" y="206"/>
                  <a:pt x="1144" y="207"/>
                  <a:pt x="1145" y="209"/>
                </a:cubicBezTo>
                <a:cubicBezTo>
                  <a:pt x="1146" y="211"/>
                  <a:pt x="1142" y="208"/>
                  <a:pt x="1141" y="207"/>
                </a:cubicBezTo>
                <a:cubicBezTo>
                  <a:pt x="1139" y="206"/>
                  <a:pt x="1140" y="202"/>
                  <a:pt x="1140" y="200"/>
                </a:cubicBezTo>
                <a:cubicBezTo>
                  <a:pt x="1141" y="198"/>
                  <a:pt x="1138" y="199"/>
                  <a:pt x="1138" y="196"/>
                </a:cubicBezTo>
                <a:cubicBezTo>
                  <a:pt x="1137" y="194"/>
                  <a:pt x="1128" y="190"/>
                  <a:pt x="1124" y="189"/>
                </a:cubicBezTo>
                <a:cubicBezTo>
                  <a:pt x="1120" y="187"/>
                  <a:pt x="1115" y="186"/>
                  <a:pt x="1114" y="184"/>
                </a:cubicBezTo>
                <a:cubicBezTo>
                  <a:pt x="1113" y="182"/>
                  <a:pt x="1106" y="181"/>
                  <a:pt x="1103" y="179"/>
                </a:cubicBezTo>
                <a:cubicBezTo>
                  <a:pt x="1101" y="176"/>
                  <a:pt x="1089" y="171"/>
                  <a:pt x="1084" y="171"/>
                </a:cubicBezTo>
                <a:cubicBezTo>
                  <a:pt x="1079" y="170"/>
                  <a:pt x="1080" y="168"/>
                  <a:pt x="1078" y="168"/>
                </a:cubicBezTo>
                <a:cubicBezTo>
                  <a:pt x="1075" y="168"/>
                  <a:pt x="1065" y="168"/>
                  <a:pt x="1062" y="167"/>
                </a:cubicBezTo>
                <a:cubicBezTo>
                  <a:pt x="1058" y="167"/>
                  <a:pt x="1058" y="169"/>
                  <a:pt x="1055" y="168"/>
                </a:cubicBezTo>
                <a:cubicBezTo>
                  <a:pt x="1053" y="167"/>
                  <a:pt x="1041" y="163"/>
                  <a:pt x="1039" y="165"/>
                </a:cubicBezTo>
                <a:cubicBezTo>
                  <a:pt x="1038" y="166"/>
                  <a:pt x="1039" y="169"/>
                  <a:pt x="1037" y="169"/>
                </a:cubicBezTo>
                <a:cubicBezTo>
                  <a:pt x="1036" y="170"/>
                  <a:pt x="1037" y="172"/>
                  <a:pt x="1040" y="175"/>
                </a:cubicBezTo>
                <a:cubicBezTo>
                  <a:pt x="1044" y="178"/>
                  <a:pt x="1042" y="180"/>
                  <a:pt x="1039" y="181"/>
                </a:cubicBezTo>
                <a:cubicBezTo>
                  <a:pt x="1036" y="183"/>
                  <a:pt x="1031" y="180"/>
                  <a:pt x="1029" y="178"/>
                </a:cubicBezTo>
                <a:cubicBezTo>
                  <a:pt x="1028" y="175"/>
                  <a:pt x="1024" y="176"/>
                  <a:pt x="1023" y="173"/>
                </a:cubicBezTo>
                <a:cubicBezTo>
                  <a:pt x="1022" y="170"/>
                  <a:pt x="1024" y="170"/>
                  <a:pt x="1026" y="172"/>
                </a:cubicBezTo>
                <a:cubicBezTo>
                  <a:pt x="1028" y="173"/>
                  <a:pt x="1031" y="172"/>
                  <a:pt x="1031" y="170"/>
                </a:cubicBezTo>
                <a:cubicBezTo>
                  <a:pt x="1031" y="167"/>
                  <a:pt x="1025" y="166"/>
                  <a:pt x="1022" y="166"/>
                </a:cubicBezTo>
                <a:cubicBezTo>
                  <a:pt x="1019" y="166"/>
                  <a:pt x="1017" y="171"/>
                  <a:pt x="1014" y="172"/>
                </a:cubicBezTo>
                <a:cubicBezTo>
                  <a:pt x="1011" y="174"/>
                  <a:pt x="998" y="172"/>
                  <a:pt x="997" y="171"/>
                </a:cubicBezTo>
                <a:cubicBezTo>
                  <a:pt x="996" y="169"/>
                  <a:pt x="978" y="171"/>
                  <a:pt x="976" y="172"/>
                </a:cubicBezTo>
                <a:cubicBezTo>
                  <a:pt x="974" y="173"/>
                  <a:pt x="976" y="178"/>
                  <a:pt x="975" y="178"/>
                </a:cubicBezTo>
                <a:cubicBezTo>
                  <a:pt x="974" y="179"/>
                  <a:pt x="973" y="173"/>
                  <a:pt x="973" y="172"/>
                </a:cubicBezTo>
                <a:cubicBezTo>
                  <a:pt x="973" y="170"/>
                  <a:pt x="971" y="170"/>
                  <a:pt x="968" y="170"/>
                </a:cubicBezTo>
                <a:cubicBezTo>
                  <a:pt x="964" y="170"/>
                  <a:pt x="963" y="170"/>
                  <a:pt x="964" y="168"/>
                </a:cubicBezTo>
                <a:cubicBezTo>
                  <a:pt x="965" y="167"/>
                  <a:pt x="963" y="166"/>
                  <a:pt x="965" y="164"/>
                </a:cubicBezTo>
                <a:cubicBezTo>
                  <a:pt x="968" y="162"/>
                  <a:pt x="961" y="157"/>
                  <a:pt x="954" y="154"/>
                </a:cubicBezTo>
                <a:cubicBezTo>
                  <a:pt x="947" y="151"/>
                  <a:pt x="932" y="153"/>
                  <a:pt x="928" y="154"/>
                </a:cubicBezTo>
                <a:cubicBezTo>
                  <a:pt x="924" y="155"/>
                  <a:pt x="916" y="155"/>
                  <a:pt x="912" y="155"/>
                </a:cubicBezTo>
                <a:cubicBezTo>
                  <a:pt x="908" y="155"/>
                  <a:pt x="911" y="154"/>
                  <a:pt x="910" y="152"/>
                </a:cubicBezTo>
                <a:cubicBezTo>
                  <a:pt x="909" y="150"/>
                  <a:pt x="902" y="148"/>
                  <a:pt x="901" y="149"/>
                </a:cubicBezTo>
                <a:cubicBezTo>
                  <a:pt x="900" y="151"/>
                  <a:pt x="899" y="149"/>
                  <a:pt x="899" y="148"/>
                </a:cubicBezTo>
                <a:cubicBezTo>
                  <a:pt x="899" y="147"/>
                  <a:pt x="892" y="145"/>
                  <a:pt x="890" y="145"/>
                </a:cubicBezTo>
                <a:cubicBezTo>
                  <a:pt x="888" y="146"/>
                  <a:pt x="886" y="143"/>
                  <a:pt x="889" y="143"/>
                </a:cubicBezTo>
                <a:cubicBezTo>
                  <a:pt x="892" y="143"/>
                  <a:pt x="897" y="144"/>
                  <a:pt x="895" y="140"/>
                </a:cubicBezTo>
                <a:cubicBezTo>
                  <a:pt x="893" y="137"/>
                  <a:pt x="874" y="136"/>
                  <a:pt x="873" y="137"/>
                </a:cubicBezTo>
                <a:cubicBezTo>
                  <a:pt x="871" y="137"/>
                  <a:pt x="873" y="140"/>
                  <a:pt x="869" y="143"/>
                </a:cubicBezTo>
                <a:cubicBezTo>
                  <a:pt x="865" y="147"/>
                  <a:pt x="861" y="145"/>
                  <a:pt x="861" y="143"/>
                </a:cubicBezTo>
                <a:cubicBezTo>
                  <a:pt x="862" y="141"/>
                  <a:pt x="867" y="141"/>
                  <a:pt x="867" y="139"/>
                </a:cubicBezTo>
                <a:cubicBezTo>
                  <a:pt x="867" y="138"/>
                  <a:pt x="860" y="139"/>
                  <a:pt x="859" y="137"/>
                </a:cubicBezTo>
                <a:cubicBezTo>
                  <a:pt x="858" y="136"/>
                  <a:pt x="860" y="134"/>
                  <a:pt x="863" y="135"/>
                </a:cubicBezTo>
                <a:cubicBezTo>
                  <a:pt x="865" y="136"/>
                  <a:pt x="870" y="136"/>
                  <a:pt x="870" y="135"/>
                </a:cubicBezTo>
                <a:cubicBezTo>
                  <a:pt x="870" y="134"/>
                  <a:pt x="867" y="134"/>
                  <a:pt x="863" y="133"/>
                </a:cubicBezTo>
                <a:cubicBezTo>
                  <a:pt x="859" y="132"/>
                  <a:pt x="849" y="130"/>
                  <a:pt x="844" y="131"/>
                </a:cubicBezTo>
                <a:cubicBezTo>
                  <a:pt x="839" y="131"/>
                  <a:pt x="836" y="129"/>
                  <a:pt x="834" y="129"/>
                </a:cubicBezTo>
                <a:cubicBezTo>
                  <a:pt x="831" y="128"/>
                  <a:pt x="831" y="130"/>
                  <a:pt x="832" y="132"/>
                </a:cubicBezTo>
                <a:cubicBezTo>
                  <a:pt x="833" y="133"/>
                  <a:pt x="829" y="134"/>
                  <a:pt x="826" y="134"/>
                </a:cubicBezTo>
                <a:cubicBezTo>
                  <a:pt x="823" y="133"/>
                  <a:pt x="818" y="136"/>
                  <a:pt x="820" y="138"/>
                </a:cubicBezTo>
                <a:cubicBezTo>
                  <a:pt x="822" y="141"/>
                  <a:pt x="824" y="137"/>
                  <a:pt x="825" y="138"/>
                </a:cubicBezTo>
                <a:cubicBezTo>
                  <a:pt x="827" y="139"/>
                  <a:pt x="821" y="141"/>
                  <a:pt x="823" y="142"/>
                </a:cubicBezTo>
                <a:cubicBezTo>
                  <a:pt x="826" y="143"/>
                  <a:pt x="825" y="145"/>
                  <a:pt x="825" y="147"/>
                </a:cubicBezTo>
                <a:cubicBezTo>
                  <a:pt x="826" y="148"/>
                  <a:pt x="821" y="148"/>
                  <a:pt x="820" y="147"/>
                </a:cubicBezTo>
                <a:cubicBezTo>
                  <a:pt x="818" y="145"/>
                  <a:pt x="816" y="146"/>
                  <a:pt x="813" y="146"/>
                </a:cubicBezTo>
                <a:cubicBezTo>
                  <a:pt x="811" y="146"/>
                  <a:pt x="808" y="147"/>
                  <a:pt x="811" y="148"/>
                </a:cubicBezTo>
                <a:cubicBezTo>
                  <a:pt x="814" y="148"/>
                  <a:pt x="815" y="150"/>
                  <a:pt x="811" y="150"/>
                </a:cubicBezTo>
                <a:cubicBezTo>
                  <a:pt x="807" y="151"/>
                  <a:pt x="808" y="147"/>
                  <a:pt x="806" y="147"/>
                </a:cubicBezTo>
                <a:cubicBezTo>
                  <a:pt x="803" y="148"/>
                  <a:pt x="798" y="145"/>
                  <a:pt x="795" y="145"/>
                </a:cubicBezTo>
                <a:cubicBezTo>
                  <a:pt x="792" y="145"/>
                  <a:pt x="791" y="148"/>
                  <a:pt x="787" y="148"/>
                </a:cubicBezTo>
                <a:cubicBezTo>
                  <a:pt x="784" y="148"/>
                  <a:pt x="779" y="146"/>
                  <a:pt x="777" y="144"/>
                </a:cubicBezTo>
                <a:cubicBezTo>
                  <a:pt x="775" y="142"/>
                  <a:pt x="775" y="141"/>
                  <a:pt x="773" y="144"/>
                </a:cubicBezTo>
                <a:cubicBezTo>
                  <a:pt x="771" y="146"/>
                  <a:pt x="771" y="150"/>
                  <a:pt x="769" y="151"/>
                </a:cubicBezTo>
                <a:cubicBezTo>
                  <a:pt x="768" y="151"/>
                  <a:pt x="767" y="155"/>
                  <a:pt x="765" y="156"/>
                </a:cubicBezTo>
                <a:cubicBezTo>
                  <a:pt x="763" y="157"/>
                  <a:pt x="763" y="155"/>
                  <a:pt x="761" y="155"/>
                </a:cubicBezTo>
                <a:cubicBezTo>
                  <a:pt x="758" y="155"/>
                  <a:pt x="751" y="148"/>
                  <a:pt x="750" y="145"/>
                </a:cubicBezTo>
                <a:cubicBezTo>
                  <a:pt x="750" y="143"/>
                  <a:pt x="745" y="139"/>
                  <a:pt x="744" y="138"/>
                </a:cubicBezTo>
                <a:cubicBezTo>
                  <a:pt x="743" y="138"/>
                  <a:pt x="745" y="137"/>
                  <a:pt x="747" y="139"/>
                </a:cubicBezTo>
                <a:cubicBezTo>
                  <a:pt x="748" y="140"/>
                  <a:pt x="750" y="140"/>
                  <a:pt x="752" y="139"/>
                </a:cubicBezTo>
                <a:cubicBezTo>
                  <a:pt x="753" y="138"/>
                  <a:pt x="753" y="134"/>
                  <a:pt x="751" y="134"/>
                </a:cubicBezTo>
                <a:cubicBezTo>
                  <a:pt x="748" y="134"/>
                  <a:pt x="749" y="132"/>
                  <a:pt x="750" y="132"/>
                </a:cubicBezTo>
                <a:cubicBezTo>
                  <a:pt x="752" y="131"/>
                  <a:pt x="747" y="127"/>
                  <a:pt x="749" y="127"/>
                </a:cubicBezTo>
                <a:cubicBezTo>
                  <a:pt x="750" y="126"/>
                  <a:pt x="750" y="125"/>
                  <a:pt x="747" y="124"/>
                </a:cubicBezTo>
                <a:cubicBezTo>
                  <a:pt x="745" y="124"/>
                  <a:pt x="743" y="122"/>
                  <a:pt x="743" y="121"/>
                </a:cubicBezTo>
                <a:cubicBezTo>
                  <a:pt x="743" y="120"/>
                  <a:pt x="733" y="120"/>
                  <a:pt x="734" y="121"/>
                </a:cubicBezTo>
                <a:cubicBezTo>
                  <a:pt x="734" y="123"/>
                  <a:pt x="731" y="122"/>
                  <a:pt x="731" y="121"/>
                </a:cubicBezTo>
                <a:cubicBezTo>
                  <a:pt x="732" y="120"/>
                  <a:pt x="728" y="120"/>
                  <a:pt x="723" y="119"/>
                </a:cubicBezTo>
                <a:cubicBezTo>
                  <a:pt x="719" y="118"/>
                  <a:pt x="719" y="115"/>
                  <a:pt x="717" y="114"/>
                </a:cubicBezTo>
                <a:cubicBezTo>
                  <a:pt x="716" y="114"/>
                  <a:pt x="716" y="119"/>
                  <a:pt x="714" y="118"/>
                </a:cubicBezTo>
                <a:cubicBezTo>
                  <a:pt x="712" y="117"/>
                  <a:pt x="709" y="119"/>
                  <a:pt x="710" y="121"/>
                </a:cubicBezTo>
                <a:cubicBezTo>
                  <a:pt x="712" y="124"/>
                  <a:pt x="711" y="124"/>
                  <a:pt x="710" y="126"/>
                </a:cubicBezTo>
                <a:cubicBezTo>
                  <a:pt x="710" y="129"/>
                  <a:pt x="709" y="128"/>
                  <a:pt x="706" y="127"/>
                </a:cubicBezTo>
                <a:cubicBezTo>
                  <a:pt x="704" y="126"/>
                  <a:pt x="704" y="129"/>
                  <a:pt x="698" y="128"/>
                </a:cubicBezTo>
                <a:cubicBezTo>
                  <a:pt x="692" y="126"/>
                  <a:pt x="690" y="128"/>
                  <a:pt x="689" y="126"/>
                </a:cubicBezTo>
                <a:cubicBezTo>
                  <a:pt x="688" y="124"/>
                  <a:pt x="686" y="124"/>
                  <a:pt x="686" y="125"/>
                </a:cubicBezTo>
                <a:cubicBezTo>
                  <a:pt x="686" y="127"/>
                  <a:pt x="677" y="126"/>
                  <a:pt x="676" y="124"/>
                </a:cubicBezTo>
                <a:cubicBezTo>
                  <a:pt x="675" y="122"/>
                  <a:pt x="678" y="121"/>
                  <a:pt x="679" y="121"/>
                </a:cubicBezTo>
                <a:cubicBezTo>
                  <a:pt x="680" y="120"/>
                  <a:pt x="677" y="119"/>
                  <a:pt x="673" y="120"/>
                </a:cubicBezTo>
                <a:cubicBezTo>
                  <a:pt x="668" y="120"/>
                  <a:pt x="665" y="117"/>
                  <a:pt x="660" y="118"/>
                </a:cubicBezTo>
                <a:cubicBezTo>
                  <a:pt x="655" y="118"/>
                  <a:pt x="644" y="119"/>
                  <a:pt x="643" y="120"/>
                </a:cubicBezTo>
                <a:cubicBezTo>
                  <a:pt x="641" y="121"/>
                  <a:pt x="644" y="123"/>
                  <a:pt x="642" y="123"/>
                </a:cubicBezTo>
                <a:cubicBezTo>
                  <a:pt x="639" y="124"/>
                  <a:pt x="641" y="119"/>
                  <a:pt x="641" y="117"/>
                </a:cubicBezTo>
                <a:cubicBezTo>
                  <a:pt x="640" y="115"/>
                  <a:pt x="637" y="114"/>
                  <a:pt x="637" y="116"/>
                </a:cubicBezTo>
                <a:cubicBezTo>
                  <a:pt x="638" y="118"/>
                  <a:pt x="632" y="118"/>
                  <a:pt x="630" y="117"/>
                </a:cubicBezTo>
                <a:cubicBezTo>
                  <a:pt x="629" y="116"/>
                  <a:pt x="626" y="114"/>
                  <a:pt x="622" y="113"/>
                </a:cubicBezTo>
                <a:cubicBezTo>
                  <a:pt x="618" y="112"/>
                  <a:pt x="613" y="116"/>
                  <a:pt x="614" y="117"/>
                </a:cubicBezTo>
                <a:cubicBezTo>
                  <a:pt x="615" y="119"/>
                  <a:pt x="618" y="118"/>
                  <a:pt x="619" y="119"/>
                </a:cubicBezTo>
                <a:cubicBezTo>
                  <a:pt x="619" y="120"/>
                  <a:pt x="610" y="120"/>
                  <a:pt x="610" y="121"/>
                </a:cubicBezTo>
                <a:cubicBezTo>
                  <a:pt x="610" y="122"/>
                  <a:pt x="602" y="124"/>
                  <a:pt x="600" y="125"/>
                </a:cubicBezTo>
                <a:cubicBezTo>
                  <a:pt x="593" y="125"/>
                  <a:pt x="591" y="125"/>
                  <a:pt x="588" y="128"/>
                </a:cubicBezTo>
                <a:cubicBezTo>
                  <a:pt x="585" y="131"/>
                  <a:pt x="588" y="126"/>
                  <a:pt x="590" y="123"/>
                </a:cubicBezTo>
                <a:cubicBezTo>
                  <a:pt x="592" y="121"/>
                  <a:pt x="595" y="122"/>
                  <a:pt x="596" y="120"/>
                </a:cubicBezTo>
                <a:cubicBezTo>
                  <a:pt x="598" y="118"/>
                  <a:pt x="600" y="118"/>
                  <a:pt x="604" y="118"/>
                </a:cubicBezTo>
                <a:cubicBezTo>
                  <a:pt x="608" y="117"/>
                  <a:pt x="608" y="115"/>
                  <a:pt x="609" y="114"/>
                </a:cubicBezTo>
                <a:cubicBezTo>
                  <a:pt x="611" y="113"/>
                  <a:pt x="616" y="111"/>
                  <a:pt x="617" y="110"/>
                </a:cubicBezTo>
                <a:cubicBezTo>
                  <a:pt x="617" y="108"/>
                  <a:pt x="627" y="105"/>
                  <a:pt x="628" y="105"/>
                </a:cubicBezTo>
                <a:cubicBezTo>
                  <a:pt x="630" y="105"/>
                  <a:pt x="631" y="101"/>
                  <a:pt x="632" y="101"/>
                </a:cubicBezTo>
                <a:cubicBezTo>
                  <a:pt x="633" y="101"/>
                  <a:pt x="638" y="99"/>
                  <a:pt x="640" y="98"/>
                </a:cubicBezTo>
                <a:cubicBezTo>
                  <a:pt x="642" y="97"/>
                  <a:pt x="643" y="95"/>
                  <a:pt x="643" y="94"/>
                </a:cubicBezTo>
                <a:cubicBezTo>
                  <a:pt x="643" y="92"/>
                  <a:pt x="640" y="93"/>
                  <a:pt x="640" y="91"/>
                </a:cubicBezTo>
                <a:cubicBezTo>
                  <a:pt x="640" y="90"/>
                  <a:pt x="641" y="91"/>
                  <a:pt x="644" y="90"/>
                </a:cubicBezTo>
                <a:cubicBezTo>
                  <a:pt x="646" y="89"/>
                  <a:pt x="644" y="86"/>
                  <a:pt x="642" y="87"/>
                </a:cubicBezTo>
                <a:cubicBezTo>
                  <a:pt x="640" y="87"/>
                  <a:pt x="643" y="85"/>
                  <a:pt x="641" y="84"/>
                </a:cubicBezTo>
                <a:cubicBezTo>
                  <a:pt x="640" y="82"/>
                  <a:pt x="637" y="85"/>
                  <a:pt x="637" y="83"/>
                </a:cubicBezTo>
                <a:cubicBezTo>
                  <a:pt x="637" y="81"/>
                  <a:pt x="637" y="78"/>
                  <a:pt x="635" y="77"/>
                </a:cubicBezTo>
                <a:cubicBezTo>
                  <a:pt x="634" y="76"/>
                  <a:pt x="632" y="79"/>
                  <a:pt x="629" y="77"/>
                </a:cubicBezTo>
                <a:cubicBezTo>
                  <a:pt x="627" y="75"/>
                  <a:pt x="619" y="74"/>
                  <a:pt x="619" y="75"/>
                </a:cubicBezTo>
                <a:cubicBezTo>
                  <a:pt x="619" y="76"/>
                  <a:pt x="616" y="74"/>
                  <a:pt x="615" y="75"/>
                </a:cubicBezTo>
                <a:cubicBezTo>
                  <a:pt x="614" y="75"/>
                  <a:pt x="608" y="75"/>
                  <a:pt x="607" y="75"/>
                </a:cubicBezTo>
                <a:cubicBezTo>
                  <a:pt x="605" y="74"/>
                  <a:pt x="602" y="76"/>
                  <a:pt x="602" y="77"/>
                </a:cubicBezTo>
                <a:cubicBezTo>
                  <a:pt x="602" y="79"/>
                  <a:pt x="595" y="79"/>
                  <a:pt x="593" y="78"/>
                </a:cubicBezTo>
                <a:cubicBezTo>
                  <a:pt x="592" y="78"/>
                  <a:pt x="598" y="73"/>
                  <a:pt x="598" y="72"/>
                </a:cubicBezTo>
                <a:cubicBezTo>
                  <a:pt x="598" y="71"/>
                  <a:pt x="588" y="72"/>
                  <a:pt x="587" y="71"/>
                </a:cubicBezTo>
                <a:cubicBezTo>
                  <a:pt x="587" y="70"/>
                  <a:pt x="581" y="70"/>
                  <a:pt x="579" y="70"/>
                </a:cubicBezTo>
                <a:cubicBezTo>
                  <a:pt x="577" y="70"/>
                  <a:pt x="579" y="69"/>
                  <a:pt x="581" y="69"/>
                </a:cubicBezTo>
                <a:cubicBezTo>
                  <a:pt x="583" y="69"/>
                  <a:pt x="585" y="67"/>
                  <a:pt x="587" y="67"/>
                </a:cubicBezTo>
                <a:cubicBezTo>
                  <a:pt x="590" y="66"/>
                  <a:pt x="589" y="65"/>
                  <a:pt x="588" y="64"/>
                </a:cubicBezTo>
                <a:cubicBezTo>
                  <a:pt x="587" y="62"/>
                  <a:pt x="585" y="63"/>
                  <a:pt x="583" y="62"/>
                </a:cubicBezTo>
                <a:cubicBezTo>
                  <a:pt x="580" y="62"/>
                  <a:pt x="577" y="61"/>
                  <a:pt x="575" y="61"/>
                </a:cubicBezTo>
                <a:cubicBezTo>
                  <a:pt x="573" y="61"/>
                  <a:pt x="571" y="62"/>
                  <a:pt x="566" y="63"/>
                </a:cubicBezTo>
                <a:cubicBezTo>
                  <a:pt x="561" y="63"/>
                  <a:pt x="561" y="67"/>
                  <a:pt x="559" y="68"/>
                </a:cubicBezTo>
                <a:cubicBezTo>
                  <a:pt x="556" y="69"/>
                  <a:pt x="552" y="74"/>
                  <a:pt x="554" y="74"/>
                </a:cubicBezTo>
                <a:cubicBezTo>
                  <a:pt x="556" y="75"/>
                  <a:pt x="555" y="76"/>
                  <a:pt x="555" y="77"/>
                </a:cubicBezTo>
                <a:cubicBezTo>
                  <a:pt x="556" y="79"/>
                  <a:pt x="554" y="79"/>
                  <a:pt x="551" y="78"/>
                </a:cubicBezTo>
                <a:cubicBezTo>
                  <a:pt x="549" y="78"/>
                  <a:pt x="541" y="78"/>
                  <a:pt x="541" y="80"/>
                </a:cubicBezTo>
                <a:cubicBezTo>
                  <a:pt x="541" y="82"/>
                  <a:pt x="546" y="82"/>
                  <a:pt x="545" y="83"/>
                </a:cubicBezTo>
                <a:cubicBezTo>
                  <a:pt x="545" y="84"/>
                  <a:pt x="542" y="83"/>
                  <a:pt x="540" y="82"/>
                </a:cubicBezTo>
                <a:cubicBezTo>
                  <a:pt x="539" y="81"/>
                  <a:pt x="535" y="82"/>
                  <a:pt x="534" y="84"/>
                </a:cubicBezTo>
                <a:cubicBezTo>
                  <a:pt x="533" y="85"/>
                  <a:pt x="531" y="85"/>
                  <a:pt x="530" y="85"/>
                </a:cubicBezTo>
                <a:cubicBezTo>
                  <a:pt x="529" y="84"/>
                  <a:pt x="527" y="85"/>
                  <a:pt x="525" y="85"/>
                </a:cubicBezTo>
                <a:cubicBezTo>
                  <a:pt x="524" y="84"/>
                  <a:pt x="528" y="82"/>
                  <a:pt x="527" y="81"/>
                </a:cubicBezTo>
                <a:cubicBezTo>
                  <a:pt x="526" y="80"/>
                  <a:pt x="521" y="81"/>
                  <a:pt x="521" y="83"/>
                </a:cubicBezTo>
                <a:cubicBezTo>
                  <a:pt x="520" y="85"/>
                  <a:pt x="517" y="81"/>
                  <a:pt x="516" y="82"/>
                </a:cubicBezTo>
                <a:cubicBezTo>
                  <a:pt x="515" y="83"/>
                  <a:pt x="514" y="83"/>
                  <a:pt x="512" y="84"/>
                </a:cubicBezTo>
                <a:cubicBezTo>
                  <a:pt x="509" y="85"/>
                  <a:pt x="506" y="83"/>
                  <a:pt x="505" y="85"/>
                </a:cubicBezTo>
                <a:cubicBezTo>
                  <a:pt x="504" y="86"/>
                  <a:pt x="509" y="87"/>
                  <a:pt x="509" y="88"/>
                </a:cubicBezTo>
                <a:cubicBezTo>
                  <a:pt x="509" y="88"/>
                  <a:pt x="498" y="88"/>
                  <a:pt x="498" y="89"/>
                </a:cubicBezTo>
                <a:cubicBezTo>
                  <a:pt x="497" y="91"/>
                  <a:pt x="494" y="91"/>
                  <a:pt x="489" y="91"/>
                </a:cubicBezTo>
                <a:cubicBezTo>
                  <a:pt x="484" y="91"/>
                  <a:pt x="486" y="93"/>
                  <a:pt x="483" y="94"/>
                </a:cubicBezTo>
                <a:cubicBezTo>
                  <a:pt x="479" y="94"/>
                  <a:pt x="477" y="94"/>
                  <a:pt x="476" y="96"/>
                </a:cubicBezTo>
                <a:cubicBezTo>
                  <a:pt x="475" y="98"/>
                  <a:pt x="472" y="98"/>
                  <a:pt x="471" y="97"/>
                </a:cubicBezTo>
                <a:cubicBezTo>
                  <a:pt x="470" y="96"/>
                  <a:pt x="466" y="98"/>
                  <a:pt x="468" y="98"/>
                </a:cubicBezTo>
                <a:cubicBezTo>
                  <a:pt x="470" y="98"/>
                  <a:pt x="468" y="100"/>
                  <a:pt x="467" y="100"/>
                </a:cubicBezTo>
                <a:cubicBezTo>
                  <a:pt x="466" y="99"/>
                  <a:pt x="463" y="102"/>
                  <a:pt x="465" y="101"/>
                </a:cubicBezTo>
                <a:cubicBezTo>
                  <a:pt x="466" y="101"/>
                  <a:pt x="467" y="103"/>
                  <a:pt x="466" y="104"/>
                </a:cubicBezTo>
                <a:cubicBezTo>
                  <a:pt x="465" y="105"/>
                  <a:pt x="461" y="102"/>
                  <a:pt x="460" y="103"/>
                </a:cubicBezTo>
                <a:cubicBezTo>
                  <a:pt x="459" y="104"/>
                  <a:pt x="462" y="106"/>
                  <a:pt x="464" y="106"/>
                </a:cubicBezTo>
                <a:cubicBezTo>
                  <a:pt x="466" y="105"/>
                  <a:pt x="467" y="107"/>
                  <a:pt x="467" y="108"/>
                </a:cubicBezTo>
                <a:cubicBezTo>
                  <a:pt x="467" y="109"/>
                  <a:pt x="463" y="107"/>
                  <a:pt x="462" y="108"/>
                </a:cubicBezTo>
                <a:cubicBezTo>
                  <a:pt x="461" y="109"/>
                  <a:pt x="463" y="110"/>
                  <a:pt x="465" y="110"/>
                </a:cubicBezTo>
                <a:cubicBezTo>
                  <a:pt x="467" y="110"/>
                  <a:pt x="465" y="111"/>
                  <a:pt x="467" y="113"/>
                </a:cubicBezTo>
                <a:cubicBezTo>
                  <a:pt x="467" y="113"/>
                  <a:pt x="467" y="113"/>
                  <a:pt x="467" y="113"/>
                </a:cubicBezTo>
                <a:cubicBezTo>
                  <a:pt x="468" y="114"/>
                  <a:pt x="466" y="115"/>
                  <a:pt x="467" y="116"/>
                </a:cubicBezTo>
                <a:cubicBezTo>
                  <a:pt x="467" y="117"/>
                  <a:pt x="465" y="118"/>
                  <a:pt x="465" y="116"/>
                </a:cubicBezTo>
                <a:cubicBezTo>
                  <a:pt x="465" y="115"/>
                  <a:pt x="459" y="115"/>
                  <a:pt x="458" y="116"/>
                </a:cubicBezTo>
                <a:cubicBezTo>
                  <a:pt x="457" y="117"/>
                  <a:pt x="456" y="118"/>
                  <a:pt x="455" y="117"/>
                </a:cubicBezTo>
                <a:cubicBezTo>
                  <a:pt x="454" y="116"/>
                  <a:pt x="450" y="117"/>
                  <a:pt x="445" y="118"/>
                </a:cubicBezTo>
                <a:cubicBezTo>
                  <a:pt x="440" y="118"/>
                  <a:pt x="429" y="118"/>
                  <a:pt x="427" y="119"/>
                </a:cubicBezTo>
                <a:cubicBezTo>
                  <a:pt x="424" y="120"/>
                  <a:pt x="422" y="124"/>
                  <a:pt x="425" y="126"/>
                </a:cubicBezTo>
                <a:cubicBezTo>
                  <a:pt x="427" y="128"/>
                  <a:pt x="425" y="129"/>
                  <a:pt x="425" y="131"/>
                </a:cubicBezTo>
                <a:cubicBezTo>
                  <a:pt x="425" y="132"/>
                  <a:pt x="431" y="136"/>
                  <a:pt x="434" y="136"/>
                </a:cubicBezTo>
                <a:cubicBezTo>
                  <a:pt x="437" y="136"/>
                  <a:pt x="440" y="140"/>
                  <a:pt x="438" y="143"/>
                </a:cubicBezTo>
                <a:cubicBezTo>
                  <a:pt x="436" y="145"/>
                  <a:pt x="430" y="142"/>
                  <a:pt x="426" y="139"/>
                </a:cubicBezTo>
                <a:cubicBezTo>
                  <a:pt x="422" y="136"/>
                  <a:pt x="413" y="135"/>
                  <a:pt x="410" y="135"/>
                </a:cubicBezTo>
                <a:cubicBezTo>
                  <a:pt x="408" y="135"/>
                  <a:pt x="409" y="132"/>
                  <a:pt x="405" y="132"/>
                </a:cubicBezTo>
                <a:cubicBezTo>
                  <a:pt x="402" y="132"/>
                  <a:pt x="399" y="136"/>
                  <a:pt x="401" y="136"/>
                </a:cubicBezTo>
                <a:cubicBezTo>
                  <a:pt x="404" y="136"/>
                  <a:pt x="405" y="136"/>
                  <a:pt x="404" y="137"/>
                </a:cubicBezTo>
                <a:cubicBezTo>
                  <a:pt x="403" y="138"/>
                  <a:pt x="405" y="138"/>
                  <a:pt x="408" y="139"/>
                </a:cubicBezTo>
                <a:cubicBezTo>
                  <a:pt x="411" y="140"/>
                  <a:pt x="405" y="142"/>
                  <a:pt x="402" y="140"/>
                </a:cubicBezTo>
                <a:cubicBezTo>
                  <a:pt x="399" y="138"/>
                  <a:pt x="396" y="140"/>
                  <a:pt x="395" y="142"/>
                </a:cubicBezTo>
                <a:cubicBezTo>
                  <a:pt x="394" y="143"/>
                  <a:pt x="398" y="148"/>
                  <a:pt x="404" y="149"/>
                </a:cubicBezTo>
                <a:cubicBezTo>
                  <a:pt x="409" y="149"/>
                  <a:pt x="407" y="151"/>
                  <a:pt x="410" y="152"/>
                </a:cubicBezTo>
                <a:cubicBezTo>
                  <a:pt x="413" y="153"/>
                  <a:pt x="411" y="154"/>
                  <a:pt x="409" y="154"/>
                </a:cubicBezTo>
                <a:cubicBezTo>
                  <a:pt x="407" y="154"/>
                  <a:pt x="404" y="151"/>
                  <a:pt x="401" y="150"/>
                </a:cubicBezTo>
                <a:cubicBezTo>
                  <a:pt x="398" y="149"/>
                  <a:pt x="391" y="151"/>
                  <a:pt x="389" y="149"/>
                </a:cubicBezTo>
                <a:cubicBezTo>
                  <a:pt x="388" y="147"/>
                  <a:pt x="390" y="146"/>
                  <a:pt x="389" y="145"/>
                </a:cubicBezTo>
                <a:cubicBezTo>
                  <a:pt x="387" y="143"/>
                  <a:pt x="389" y="141"/>
                  <a:pt x="391" y="138"/>
                </a:cubicBezTo>
                <a:cubicBezTo>
                  <a:pt x="392" y="135"/>
                  <a:pt x="390" y="130"/>
                  <a:pt x="388" y="129"/>
                </a:cubicBezTo>
                <a:cubicBezTo>
                  <a:pt x="385" y="128"/>
                  <a:pt x="385" y="131"/>
                  <a:pt x="386" y="132"/>
                </a:cubicBezTo>
                <a:cubicBezTo>
                  <a:pt x="386" y="133"/>
                  <a:pt x="386" y="137"/>
                  <a:pt x="384" y="139"/>
                </a:cubicBezTo>
                <a:cubicBezTo>
                  <a:pt x="382" y="142"/>
                  <a:pt x="376" y="142"/>
                  <a:pt x="376" y="143"/>
                </a:cubicBezTo>
                <a:cubicBezTo>
                  <a:pt x="376" y="145"/>
                  <a:pt x="372" y="147"/>
                  <a:pt x="373" y="148"/>
                </a:cubicBezTo>
                <a:cubicBezTo>
                  <a:pt x="374" y="149"/>
                  <a:pt x="380" y="155"/>
                  <a:pt x="381" y="157"/>
                </a:cubicBezTo>
                <a:cubicBezTo>
                  <a:pt x="382" y="159"/>
                  <a:pt x="376" y="165"/>
                  <a:pt x="377" y="169"/>
                </a:cubicBezTo>
                <a:cubicBezTo>
                  <a:pt x="378" y="172"/>
                  <a:pt x="376" y="174"/>
                  <a:pt x="377" y="176"/>
                </a:cubicBezTo>
                <a:cubicBezTo>
                  <a:pt x="378" y="177"/>
                  <a:pt x="381" y="176"/>
                  <a:pt x="382" y="177"/>
                </a:cubicBezTo>
                <a:cubicBezTo>
                  <a:pt x="384" y="177"/>
                  <a:pt x="387" y="176"/>
                  <a:pt x="390" y="175"/>
                </a:cubicBezTo>
                <a:cubicBezTo>
                  <a:pt x="394" y="174"/>
                  <a:pt x="401" y="178"/>
                  <a:pt x="404" y="179"/>
                </a:cubicBezTo>
                <a:cubicBezTo>
                  <a:pt x="406" y="181"/>
                  <a:pt x="405" y="183"/>
                  <a:pt x="406" y="185"/>
                </a:cubicBezTo>
                <a:cubicBezTo>
                  <a:pt x="408" y="187"/>
                  <a:pt x="403" y="187"/>
                  <a:pt x="403" y="190"/>
                </a:cubicBezTo>
                <a:cubicBezTo>
                  <a:pt x="403" y="193"/>
                  <a:pt x="411" y="194"/>
                  <a:pt x="411" y="195"/>
                </a:cubicBezTo>
                <a:cubicBezTo>
                  <a:pt x="411" y="196"/>
                  <a:pt x="405" y="195"/>
                  <a:pt x="403" y="194"/>
                </a:cubicBezTo>
                <a:cubicBezTo>
                  <a:pt x="401" y="194"/>
                  <a:pt x="401" y="191"/>
                  <a:pt x="400" y="190"/>
                </a:cubicBezTo>
                <a:cubicBezTo>
                  <a:pt x="399" y="189"/>
                  <a:pt x="402" y="187"/>
                  <a:pt x="402" y="185"/>
                </a:cubicBezTo>
                <a:cubicBezTo>
                  <a:pt x="402" y="183"/>
                  <a:pt x="399" y="182"/>
                  <a:pt x="398" y="181"/>
                </a:cubicBezTo>
                <a:cubicBezTo>
                  <a:pt x="397" y="179"/>
                  <a:pt x="396" y="177"/>
                  <a:pt x="394" y="178"/>
                </a:cubicBezTo>
                <a:cubicBezTo>
                  <a:pt x="392" y="178"/>
                  <a:pt x="385" y="179"/>
                  <a:pt x="383" y="181"/>
                </a:cubicBezTo>
                <a:cubicBezTo>
                  <a:pt x="381" y="183"/>
                  <a:pt x="384" y="188"/>
                  <a:pt x="385" y="190"/>
                </a:cubicBezTo>
                <a:cubicBezTo>
                  <a:pt x="386" y="193"/>
                  <a:pt x="379" y="196"/>
                  <a:pt x="379" y="198"/>
                </a:cubicBezTo>
                <a:cubicBezTo>
                  <a:pt x="379" y="200"/>
                  <a:pt x="377" y="201"/>
                  <a:pt x="374" y="203"/>
                </a:cubicBezTo>
                <a:cubicBezTo>
                  <a:pt x="371" y="205"/>
                  <a:pt x="368" y="206"/>
                  <a:pt x="368" y="208"/>
                </a:cubicBezTo>
                <a:cubicBezTo>
                  <a:pt x="368" y="211"/>
                  <a:pt x="364" y="210"/>
                  <a:pt x="361" y="208"/>
                </a:cubicBezTo>
                <a:cubicBezTo>
                  <a:pt x="359" y="207"/>
                  <a:pt x="357" y="209"/>
                  <a:pt x="353" y="209"/>
                </a:cubicBezTo>
                <a:cubicBezTo>
                  <a:pt x="350" y="209"/>
                  <a:pt x="350" y="206"/>
                  <a:pt x="348" y="207"/>
                </a:cubicBezTo>
                <a:cubicBezTo>
                  <a:pt x="346" y="208"/>
                  <a:pt x="344" y="206"/>
                  <a:pt x="345" y="204"/>
                </a:cubicBezTo>
                <a:cubicBezTo>
                  <a:pt x="345" y="203"/>
                  <a:pt x="348" y="204"/>
                  <a:pt x="348" y="205"/>
                </a:cubicBezTo>
                <a:cubicBezTo>
                  <a:pt x="348" y="207"/>
                  <a:pt x="350" y="206"/>
                  <a:pt x="352" y="205"/>
                </a:cubicBezTo>
                <a:cubicBezTo>
                  <a:pt x="354" y="204"/>
                  <a:pt x="353" y="206"/>
                  <a:pt x="356" y="207"/>
                </a:cubicBezTo>
                <a:cubicBezTo>
                  <a:pt x="359" y="207"/>
                  <a:pt x="358" y="205"/>
                  <a:pt x="360" y="205"/>
                </a:cubicBezTo>
                <a:cubicBezTo>
                  <a:pt x="362" y="205"/>
                  <a:pt x="362" y="205"/>
                  <a:pt x="361" y="204"/>
                </a:cubicBezTo>
                <a:cubicBezTo>
                  <a:pt x="361" y="202"/>
                  <a:pt x="363" y="202"/>
                  <a:pt x="364" y="201"/>
                </a:cubicBezTo>
                <a:cubicBezTo>
                  <a:pt x="366" y="200"/>
                  <a:pt x="365" y="198"/>
                  <a:pt x="367" y="197"/>
                </a:cubicBezTo>
                <a:cubicBezTo>
                  <a:pt x="368" y="197"/>
                  <a:pt x="367" y="195"/>
                  <a:pt x="368" y="195"/>
                </a:cubicBezTo>
                <a:cubicBezTo>
                  <a:pt x="370" y="195"/>
                  <a:pt x="370" y="193"/>
                  <a:pt x="372" y="193"/>
                </a:cubicBezTo>
                <a:cubicBezTo>
                  <a:pt x="373" y="193"/>
                  <a:pt x="374" y="191"/>
                  <a:pt x="373" y="190"/>
                </a:cubicBezTo>
                <a:cubicBezTo>
                  <a:pt x="372" y="189"/>
                  <a:pt x="374" y="186"/>
                  <a:pt x="375" y="185"/>
                </a:cubicBezTo>
                <a:cubicBezTo>
                  <a:pt x="376" y="185"/>
                  <a:pt x="376" y="183"/>
                  <a:pt x="375" y="183"/>
                </a:cubicBezTo>
                <a:cubicBezTo>
                  <a:pt x="374" y="182"/>
                  <a:pt x="369" y="179"/>
                  <a:pt x="370" y="177"/>
                </a:cubicBezTo>
                <a:cubicBezTo>
                  <a:pt x="370" y="175"/>
                  <a:pt x="369" y="171"/>
                  <a:pt x="369" y="170"/>
                </a:cubicBezTo>
                <a:cubicBezTo>
                  <a:pt x="370" y="168"/>
                  <a:pt x="370" y="165"/>
                  <a:pt x="369" y="163"/>
                </a:cubicBezTo>
                <a:cubicBezTo>
                  <a:pt x="369" y="161"/>
                  <a:pt x="370" y="159"/>
                  <a:pt x="371" y="156"/>
                </a:cubicBezTo>
                <a:cubicBezTo>
                  <a:pt x="372" y="153"/>
                  <a:pt x="368" y="149"/>
                  <a:pt x="365" y="148"/>
                </a:cubicBezTo>
                <a:cubicBezTo>
                  <a:pt x="363" y="147"/>
                  <a:pt x="365" y="145"/>
                  <a:pt x="368" y="143"/>
                </a:cubicBezTo>
                <a:cubicBezTo>
                  <a:pt x="371" y="140"/>
                  <a:pt x="371" y="133"/>
                  <a:pt x="371" y="131"/>
                </a:cubicBezTo>
                <a:cubicBezTo>
                  <a:pt x="370" y="130"/>
                  <a:pt x="364" y="128"/>
                  <a:pt x="362" y="128"/>
                </a:cubicBezTo>
                <a:cubicBezTo>
                  <a:pt x="360" y="129"/>
                  <a:pt x="351" y="128"/>
                  <a:pt x="349" y="128"/>
                </a:cubicBezTo>
                <a:cubicBezTo>
                  <a:pt x="347" y="127"/>
                  <a:pt x="346" y="130"/>
                  <a:pt x="345" y="132"/>
                </a:cubicBezTo>
                <a:cubicBezTo>
                  <a:pt x="344" y="134"/>
                  <a:pt x="342" y="137"/>
                  <a:pt x="341" y="141"/>
                </a:cubicBezTo>
                <a:cubicBezTo>
                  <a:pt x="339" y="146"/>
                  <a:pt x="334" y="147"/>
                  <a:pt x="331" y="148"/>
                </a:cubicBezTo>
                <a:cubicBezTo>
                  <a:pt x="329" y="149"/>
                  <a:pt x="327" y="153"/>
                  <a:pt x="329" y="154"/>
                </a:cubicBezTo>
                <a:cubicBezTo>
                  <a:pt x="330" y="156"/>
                  <a:pt x="331" y="155"/>
                  <a:pt x="332" y="155"/>
                </a:cubicBezTo>
                <a:cubicBezTo>
                  <a:pt x="334" y="156"/>
                  <a:pt x="332" y="160"/>
                  <a:pt x="332" y="161"/>
                </a:cubicBezTo>
                <a:cubicBezTo>
                  <a:pt x="331" y="161"/>
                  <a:pt x="333" y="163"/>
                  <a:pt x="331" y="164"/>
                </a:cubicBezTo>
                <a:cubicBezTo>
                  <a:pt x="329" y="165"/>
                  <a:pt x="328" y="167"/>
                  <a:pt x="329" y="169"/>
                </a:cubicBezTo>
                <a:cubicBezTo>
                  <a:pt x="330" y="170"/>
                  <a:pt x="335" y="171"/>
                  <a:pt x="337" y="172"/>
                </a:cubicBezTo>
                <a:cubicBezTo>
                  <a:pt x="339" y="173"/>
                  <a:pt x="338" y="175"/>
                  <a:pt x="340" y="177"/>
                </a:cubicBezTo>
                <a:cubicBezTo>
                  <a:pt x="342" y="179"/>
                  <a:pt x="343" y="178"/>
                  <a:pt x="344" y="179"/>
                </a:cubicBezTo>
                <a:cubicBezTo>
                  <a:pt x="345" y="181"/>
                  <a:pt x="341" y="186"/>
                  <a:pt x="340" y="186"/>
                </a:cubicBezTo>
                <a:cubicBezTo>
                  <a:pt x="339" y="187"/>
                  <a:pt x="333" y="181"/>
                  <a:pt x="331" y="180"/>
                </a:cubicBezTo>
                <a:cubicBezTo>
                  <a:pt x="330" y="178"/>
                  <a:pt x="324" y="177"/>
                  <a:pt x="320" y="175"/>
                </a:cubicBezTo>
                <a:cubicBezTo>
                  <a:pt x="317" y="173"/>
                  <a:pt x="315" y="173"/>
                  <a:pt x="311" y="171"/>
                </a:cubicBezTo>
                <a:cubicBezTo>
                  <a:pt x="308" y="169"/>
                  <a:pt x="305" y="168"/>
                  <a:pt x="299" y="168"/>
                </a:cubicBezTo>
                <a:cubicBezTo>
                  <a:pt x="292" y="168"/>
                  <a:pt x="288" y="166"/>
                  <a:pt x="286" y="167"/>
                </a:cubicBezTo>
                <a:cubicBezTo>
                  <a:pt x="284" y="167"/>
                  <a:pt x="285" y="165"/>
                  <a:pt x="281" y="163"/>
                </a:cubicBezTo>
                <a:cubicBezTo>
                  <a:pt x="277" y="161"/>
                  <a:pt x="275" y="159"/>
                  <a:pt x="273" y="160"/>
                </a:cubicBezTo>
                <a:cubicBezTo>
                  <a:pt x="270" y="161"/>
                  <a:pt x="271" y="165"/>
                  <a:pt x="275" y="166"/>
                </a:cubicBezTo>
                <a:cubicBezTo>
                  <a:pt x="278" y="166"/>
                  <a:pt x="276" y="168"/>
                  <a:pt x="280" y="168"/>
                </a:cubicBezTo>
                <a:cubicBezTo>
                  <a:pt x="283" y="168"/>
                  <a:pt x="284" y="169"/>
                  <a:pt x="284" y="171"/>
                </a:cubicBezTo>
                <a:cubicBezTo>
                  <a:pt x="284" y="173"/>
                  <a:pt x="286" y="175"/>
                  <a:pt x="287" y="177"/>
                </a:cubicBezTo>
                <a:cubicBezTo>
                  <a:pt x="289" y="178"/>
                  <a:pt x="288" y="180"/>
                  <a:pt x="285" y="180"/>
                </a:cubicBezTo>
                <a:cubicBezTo>
                  <a:pt x="282" y="180"/>
                  <a:pt x="279" y="181"/>
                  <a:pt x="280" y="183"/>
                </a:cubicBezTo>
                <a:cubicBezTo>
                  <a:pt x="282" y="185"/>
                  <a:pt x="279" y="185"/>
                  <a:pt x="277" y="184"/>
                </a:cubicBezTo>
                <a:cubicBezTo>
                  <a:pt x="274" y="183"/>
                  <a:pt x="276" y="181"/>
                  <a:pt x="277" y="180"/>
                </a:cubicBezTo>
                <a:cubicBezTo>
                  <a:pt x="278" y="179"/>
                  <a:pt x="274" y="178"/>
                  <a:pt x="273" y="177"/>
                </a:cubicBezTo>
                <a:cubicBezTo>
                  <a:pt x="271" y="176"/>
                  <a:pt x="264" y="182"/>
                  <a:pt x="262" y="182"/>
                </a:cubicBezTo>
                <a:cubicBezTo>
                  <a:pt x="260" y="183"/>
                  <a:pt x="255" y="181"/>
                  <a:pt x="250" y="182"/>
                </a:cubicBezTo>
                <a:cubicBezTo>
                  <a:pt x="245" y="184"/>
                  <a:pt x="246" y="187"/>
                  <a:pt x="244" y="187"/>
                </a:cubicBezTo>
                <a:cubicBezTo>
                  <a:pt x="242" y="187"/>
                  <a:pt x="237" y="188"/>
                  <a:pt x="235" y="186"/>
                </a:cubicBezTo>
                <a:cubicBezTo>
                  <a:pt x="233" y="185"/>
                  <a:pt x="234" y="184"/>
                  <a:pt x="236" y="184"/>
                </a:cubicBezTo>
                <a:cubicBezTo>
                  <a:pt x="239" y="185"/>
                  <a:pt x="239" y="184"/>
                  <a:pt x="238" y="182"/>
                </a:cubicBezTo>
                <a:cubicBezTo>
                  <a:pt x="237" y="181"/>
                  <a:pt x="240" y="179"/>
                  <a:pt x="240" y="178"/>
                </a:cubicBezTo>
                <a:cubicBezTo>
                  <a:pt x="239" y="177"/>
                  <a:pt x="232" y="179"/>
                  <a:pt x="230" y="180"/>
                </a:cubicBezTo>
                <a:cubicBezTo>
                  <a:pt x="229" y="182"/>
                  <a:pt x="230" y="184"/>
                  <a:pt x="229" y="184"/>
                </a:cubicBezTo>
                <a:cubicBezTo>
                  <a:pt x="227" y="185"/>
                  <a:pt x="227" y="183"/>
                  <a:pt x="226" y="183"/>
                </a:cubicBezTo>
                <a:cubicBezTo>
                  <a:pt x="224" y="182"/>
                  <a:pt x="212" y="185"/>
                  <a:pt x="210" y="187"/>
                </a:cubicBezTo>
                <a:cubicBezTo>
                  <a:pt x="208" y="190"/>
                  <a:pt x="203" y="190"/>
                  <a:pt x="203" y="191"/>
                </a:cubicBezTo>
                <a:cubicBezTo>
                  <a:pt x="203" y="193"/>
                  <a:pt x="198" y="193"/>
                  <a:pt x="196" y="194"/>
                </a:cubicBezTo>
                <a:cubicBezTo>
                  <a:pt x="194" y="195"/>
                  <a:pt x="195" y="199"/>
                  <a:pt x="194" y="201"/>
                </a:cubicBezTo>
                <a:cubicBezTo>
                  <a:pt x="194" y="203"/>
                  <a:pt x="185" y="202"/>
                  <a:pt x="183" y="202"/>
                </a:cubicBezTo>
                <a:cubicBezTo>
                  <a:pt x="180" y="202"/>
                  <a:pt x="179" y="197"/>
                  <a:pt x="177" y="197"/>
                </a:cubicBezTo>
                <a:cubicBezTo>
                  <a:pt x="175" y="197"/>
                  <a:pt x="176" y="194"/>
                  <a:pt x="177" y="193"/>
                </a:cubicBezTo>
                <a:cubicBezTo>
                  <a:pt x="178" y="192"/>
                  <a:pt x="179" y="193"/>
                  <a:pt x="182" y="191"/>
                </a:cubicBezTo>
                <a:cubicBezTo>
                  <a:pt x="184" y="189"/>
                  <a:pt x="187" y="192"/>
                  <a:pt x="188" y="191"/>
                </a:cubicBezTo>
                <a:cubicBezTo>
                  <a:pt x="189" y="190"/>
                  <a:pt x="184" y="187"/>
                  <a:pt x="184" y="184"/>
                </a:cubicBezTo>
                <a:cubicBezTo>
                  <a:pt x="183" y="182"/>
                  <a:pt x="178" y="181"/>
                  <a:pt x="175" y="182"/>
                </a:cubicBezTo>
                <a:cubicBezTo>
                  <a:pt x="172" y="182"/>
                  <a:pt x="169" y="182"/>
                  <a:pt x="166" y="181"/>
                </a:cubicBezTo>
                <a:cubicBezTo>
                  <a:pt x="164" y="180"/>
                  <a:pt x="164" y="183"/>
                  <a:pt x="168" y="183"/>
                </a:cubicBezTo>
                <a:cubicBezTo>
                  <a:pt x="171" y="184"/>
                  <a:pt x="169" y="187"/>
                  <a:pt x="170" y="188"/>
                </a:cubicBezTo>
                <a:cubicBezTo>
                  <a:pt x="170" y="190"/>
                  <a:pt x="169" y="193"/>
                  <a:pt x="167" y="196"/>
                </a:cubicBezTo>
                <a:cubicBezTo>
                  <a:pt x="165" y="198"/>
                  <a:pt x="166" y="198"/>
                  <a:pt x="169" y="198"/>
                </a:cubicBezTo>
                <a:cubicBezTo>
                  <a:pt x="172" y="198"/>
                  <a:pt x="172" y="202"/>
                  <a:pt x="172" y="204"/>
                </a:cubicBezTo>
                <a:cubicBezTo>
                  <a:pt x="172" y="207"/>
                  <a:pt x="170" y="208"/>
                  <a:pt x="170" y="210"/>
                </a:cubicBezTo>
                <a:cubicBezTo>
                  <a:pt x="170" y="212"/>
                  <a:pt x="167" y="209"/>
                  <a:pt x="167" y="210"/>
                </a:cubicBezTo>
                <a:cubicBezTo>
                  <a:pt x="166" y="210"/>
                  <a:pt x="165" y="209"/>
                  <a:pt x="165" y="207"/>
                </a:cubicBezTo>
                <a:cubicBezTo>
                  <a:pt x="164" y="206"/>
                  <a:pt x="160" y="207"/>
                  <a:pt x="158" y="206"/>
                </a:cubicBezTo>
                <a:cubicBezTo>
                  <a:pt x="155" y="206"/>
                  <a:pt x="154" y="207"/>
                  <a:pt x="153" y="208"/>
                </a:cubicBezTo>
                <a:cubicBezTo>
                  <a:pt x="152" y="210"/>
                  <a:pt x="149" y="211"/>
                  <a:pt x="147" y="211"/>
                </a:cubicBezTo>
                <a:cubicBezTo>
                  <a:pt x="145" y="211"/>
                  <a:pt x="142" y="215"/>
                  <a:pt x="141" y="216"/>
                </a:cubicBezTo>
                <a:cubicBezTo>
                  <a:pt x="139" y="217"/>
                  <a:pt x="138" y="219"/>
                  <a:pt x="141" y="222"/>
                </a:cubicBezTo>
                <a:cubicBezTo>
                  <a:pt x="144" y="224"/>
                  <a:pt x="144" y="226"/>
                  <a:pt x="144" y="227"/>
                </a:cubicBezTo>
                <a:cubicBezTo>
                  <a:pt x="144" y="228"/>
                  <a:pt x="137" y="228"/>
                  <a:pt x="136" y="227"/>
                </a:cubicBezTo>
                <a:cubicBezTo>
                  <a:pt x="135" y="225"/>
                  <a:pt x="130" y="225"/>
                  <a:pt x="129" y="225"/>
                </a:cubicBezTo>
                <a:cubicBezTo>
                  <a:pt x="127" y="225"/>
                  <a:pt x="123" y="220"/>
                  <a:pt x="121" y="220"/>
                </a:cubicBezTo>
                <a:cubicBezTo>
                  <a:pt x="119" y="220"/>
                  <a:pt x="117" y="223"/>
                  <a:pt x="117" y="224"/>
                </a:cubicBezTo>
                <a:cubicBezTo>
                  <a:pt x="116" y="225"/>
                  <a:pt x="118" y="226"/>
                  <a:pt x="119" y="228"/>
                </a:cubicBezTo>
                <a:cubicBezTo>
                  <a:pt x="120" y="230"/>
                  <a:pt x="123" y="230"/>
                  <a:pt x="125" y="230"/>
                </a:cubicBezTo>
                <a:cubicBezTo>
                  <a:pt x="127" y="230"/>
                  <a:pt x="126" y="233"/>
                  <a:pt x="126" y="235"/>
                </a:cubicBezTo>
                <a:cubicBezTo>
                  <a:pt x="125" y="236"/>
                  <a:pt x="122" y="237"/>
                  <a:pt x="121" y="235"/>
                </a:cubicBezTo>
                <a:cubicBezTo>
                  <a:pt x="120" y="234"/>
                  <a:pt x="115" y="235"/>
                  <a:pt x="115" y="234"/>
                </a:cubicBezTo>
                <a:cubicBezTo>
                  <a:pt x="115" y="232"/>
                  <a:pt x="112" y="230"/>
                  <a:pt x="109" y="230"/>
                </a:cubicBezTo>
                <a:cubicBezTo>
                  <a:pt x="106" y="231"/>
                  <a:pt x="105" y="229"/>
                  <a:pt x="105" y="226"/>
                </a:cubicBezTo>
                <a:cubicBezTo>
                  <a:pt x="106" y="224"/>
                  <a:pt x="104" y="222"/>
                  <a:pt x="104" y="221"/>
                </a:cubicBezTo>
                <a:cubicBezTo>
                  <a:pt x="104" y="220"/>
                  <a:pt x="102" y="218"/>
                  <a:pt x="104" y="217"/>
                </a:cubicBezTo>
                <a:cubicBezTo>
                  <a:pt x="106" y="216"/>
                  <a:pt x="104" y="214"/>
                  <a:pt x="105" y="212"/>
                </a:cubicBezTo>
                <a:cubicBezTo>
                  <a:pt x="105" y="211"/>
                  <a:pt x="102" y="209"/>
                  <a:pt x="99" y="209"/>
                </a:cubicBezTo>
                <a:cubicBezTo>
                  <a:pt x="97" y="209"/>
                  <a:pt x="97" y="206"/>
                  <a:pt x="95" y="206"/>
                </a:cubicBezTo>
                <a:cubicBezTo>
                  <a:pt x="93" y="205"/>
                  <a:pt x="89" y="201"/>
                  <a:pt x="88" y="200"/>
                </a:cubicBezTo>
                <a:cubicBezTo>
                  <a:pt x="88" y="198"/>
                  <a:pt x="85" y="198"/>
                  <a:pt x="86" y="198"/>
                </a:cubicBezTo>
                <a:cubicBezTo>
                  <a:pt x="87" y="197"/>
                  <a:pt x="90" y="198"/>
                  <a:pt x="91" y="200"/>
                </a:cubicBezTo>
                <a:cubicBezTo>
                  <a:pt x="93" y="202"/>
                  <a:pt x="96" y="203"/>
                  <a:pt x="101" y="204"/>
                </a:cubicBezTo>
                <a:cubicBezTo>
                  <a:pt x="106" y="204"/>
                  <a:pt x="108" y="207"/>
                  <a:pt x="113" y="208"/>
                </a:cubicBezTo>
                <a:cubicBezTo>
                  <a:pt x="118" y="208"/>
                  <a:pt x="121" y="209"/>
                  <a:pt x="129" y="210"/>
                </a:cubicBezTo>
                <a:cubicBezTo>
                  <a:pt x="137" y="211"/>
                  <a:pt x="147" y="204"/>
                  <a:pt x="149" y="201"/>
                </a:cubicBezTo>
                <a:cubicBezTo>
                  <a:pt x="151" y="199"/>
                  <a:pt x="148" y="195"/>
                  <a:pt x="148" y="193"/>
                </a:cubicBezTo>
                <a:cubicBezTo>
                  <a:pt x="148" y="192"/>
                  <a:pt x="145" y="192"/>
                  <a:pt x="144" y="190"/>
                </a:cubicBezTo>
                <a:cubicBezTo>
                  <a:pt x="144" y="189"/>
                  <a:pt x="142" y="187"/>
                  <a:pt x="139" y="187"/>
                </a:cubicBezTo>
                <a:cubicBezTo>
                  <a:pt x="136" y="187"/>
                  <a:pt x="135" y="183"/>
                  <a:pt x="133" y="184"/>
                </a:cubicBezTo>
                <a:cubicBezTo>
                  <a:pt x="131" y="184"/>
                  <a:pt x="129" y="183"/>
                  <a:pt x="123" y="179"/>
                </a:cubicBezTo>
                <a:cubicBezTo>
                  <a:pt x="117" y="174"/>
                  <a:pt x="108" y="172"/>
                  <a:pt x="107" y="172"/>
                </a:cubicBezTo>
                <a:cubicBezTo>
                  <a:pt x="105" y="173"/>
                  <a:pt x="104" y="173"/>
                  <a:pt x="103" y="172"/>
                </a:cubicBezTo>
                <a:cubicBezTo>
                  <a:pt x="102" y="170"/>
                  <a:pt x="100" y="171"/>
                  <a:pt x="98" y="172"/>
                </a:cubicBezTo>
                <a:cubicBezTo>
                  <a:pt x="97" y="173"/>
                  <a:pt x="95" y="171"/>
                  <a:pt x="92" y="171"/>
                </a:cubicBezTo>
                <a:cubicBezTo>
                  <a:pt x="89" y="172"/>
                  <a:pt x="87" y="170"/>
                  <a:pt x="88" y="169"/>
                </a:cubicBezTo>
                <a:cubicBezTo>
                  <a:pt x="89" y="168"/>
                  <a:pt x="93" y="169"/>
                  <a:pt x="93" y="167"/>
                </a:cubicBezTo>
                <a:cubicBezTo>
                  <a:pt x="93" y="166"/>
                  <a:pt x="91" y="167"/>
                  <a:pt x="89" y="166"/>
                </a:cubicBezTo>
                <a:cubicBezTo>
                  <a:pt x="86" y="164"/>
                  <a:pt x="84" y="165"/>
                  <a:pt x="84" y="167"/>
                </a:cubicBezTo>
                <a:cubicBezTo>
                  <a:pt x="83" y="168"/>
                  <a:pt x="81" y="168"/>
                  <a:pt x="80" y="166"/>
                </a:cubicBezTo>
                <a:cubicBezTo>
                  <a:pt x="79" y="166"/>
                  <a:pt x="79" y="166"/>
                  <a:pt x="79" y="166"/>
                </a:cubicBezTo>
                <a:cubicBezTo>
                  <a:pt x="79" y="169"/>
                  <a:pt x="77" y="169"/>
                  <a:pt x="76" y="168"/>
                </a:cubicBezTo>
                <a:cubicBezTo>
                  <a:pt x="74" y="168"/>
                  <a:pt x="72" y="171"/>
                  <a:pt x="70" y="171"/>
                </a:cubicBezTo>
                <a:cubicBezTo>
                  <a:pt x="68" y="171"/>
                  <a:pt x="66" y="173"/>
                  <a:pt x="65" y="175"/>
                </a:cubicBezTo>
                <a:cubicBezTo>
                  <a:pt x="65" y="177"/>
                  <a:pt x="63" y="176"/>
                  <a:pt x="63" y="177"/>
                </a:cubicBezTo>
                <a:cubicBezTo>
                  <a:pt x="63" y="178"/>
                  <a:pt x="63" y="180"/>
                  <a:pt x="62" y="181"/>
                </a:cubicBezTo>
                <a:cubicBezTo>
                  <a:pt x="61" y="182"/>
                  <a:pt x="62" y="183"/>
                  <a:pt x="63" y="185"/>
                </a:cubicBezTo>
                <a:cubicBezTo>
                  <a:pt x="64" y="187"/>
                  <a:pt x="66" y="187"/>
                  <a:pt x="67" y="187"/>
                </a:cubicBezTo>
                <a:cubicBezTo>
                  <a:pt x="68" y="188"/>
                  <a:pt x="72" y="191"/>
                  <a:pt x="72" y="192"/>
                </a:cubicBezTo>
                <a:cubicBezTo>
                  <a:pt x="72" y="194"/>
                  <a:pt x="69" y="197"/>
                  <a:pt x="67" y="197"/>
                </a:cubicBezTo>
                <a:cubicBezTo>
                  <a:pt x="66" y="198"/>
                  <a:pt x="65" y="200"/>
                  <a:pt x="65" y="201"/>
                </a:cubicBezTo>
                <a:cubicBezTo>
                  <a:pt x="66" y="203"/>
                  <a:pt x="70" y="208"/>
                  <a:pt x="72" y="212"/>
                </a:cubicBezTo>
                <a:cubicBezTo>
                  <a:pt x="74" y="216"/>
                  <a:pt x="71" y="214"/>
                  <a:pt x="70" y="216"/>
                </a:cubicBezTo>
                <a:cubicBezTo>
                  <a:pt x="68" y="218"/>
                  <a:pt x="70" y="220"/>
                  <a:pt x="71" y="221"/>
                </a:cubicBezTo>
                <a:cubicBezTo>
                  <a:pt x="71" y="222"/>
                  <a:pt x="69" y="222"/>
                  <a:pt x="69" y="223"/>
                </a:cubicBezTo>
                <a:cubicBezTo>
                  <a:pt x="69" y="224"/>
                  <a:pt x="72" y="225"/>
                  <a:pt x="73" y="225"/>
                </a:cubicBezTo>
                <a:cubicBezTo>
                  <a:pt x="73" y="226"/>
                  <a:pt x="71" y="227"/>
                  <a:pt x="72" y="229"/>
                </a:cubicBezTo>
                <a:cubicBezTo>
                  <a:pt x="73" y="231"/>
                  <a:pt x="75" y="231"/>
                  <a:pt x="75" y="233"/>
                </a:cubicBezTo>
                <a:cubicBezTo>
                  <a:pt x="75" y="235"/>
                  <a:pt x="71" y="235"/>
                  <a:pt x="71" y="236"/>
                </a:cubicBezTo>
                <a:cubicBezTo>
                  <a:pt x="71" y="238"/>
                  <a:pt x="77" y="240"/>
                  <a:pt x="80" y="243"/>
                </a:cubicBezTo>
                <a:cubicBezTo>
                  <a:pt x="82" y="246"/>
                  <a:pt x="82" y="247"/>
                  <a:pt x="81" y="249"/>
                </a:cubicBezTo>
                <a:cubicBezTo>
                  <a:pt x="80" y="252"/>
                  <a:pt x="73" y="255"/>
                  <a:pt x="71" y="258"/>
                </a:cubicBezTo>
                <a:cubicBezTo>
                  <a:pt x="70" y="262"/>
                  <a:pt x="64" y="264"/>
                  <a:pt x="61" y="267"/>
                </a:cubicBezTo>
                <a:cubicBezTo>
                  <a:pt x="60" y="268"/>
                  <a:pt x="58" y="270"/>
                  <a:pt x="57" y="271"/>
                </a:cubicBezTo>
                <a:cubicBezTo>
                  <a:pt x="59" y="271"/>
                  <a:pt x="60" y="271"/>
                  <a:pt x="60" y="270"/>
                </a:cubicBezTo>
                <a:cubicBezTo>
                  <a:pt x="62" y="269"/>
                  <a:pt x="63" y="273"/>
                  <a:pt x="65" y="275"/>
                </a:cubicBezTo>
                <a:cubicBezTo>
                  <a:pt x="66" y="276"/>
                  <a:pt x="70" y="275"/>
                  <a:pt x="71" y="276"/>
                </a:cubicBezTo>
                <a:cubicBezTo>
                  <a:pt x="72" y="277"/>
                  <a:pt x="70" y="277"/>
                  <a:pt x="67" y="277"/>
                </a:cubicBezTo>
                <a:cubicBezTo>
                  <a:pt x="65" y="276"/>
                  <a:pt x="64" y="278"/>
                  <a:pt x="61" y="279"/>
                </a:cubicBezTo>
                <a:cubicBezTo>
                  <a:pt x="58" y="280"/>
                  <a:pt x="58" y="281"/>
                  <a:pt x="57" y="282"/>
                </a:cubicBezTo>
                <a:cubicBezTo>
                  <a:pt x="59" y="284"/>
                  <a:pt x="57" y="284"/>
                  <a:pt x="56" y="286"/>
                </a:cubicBezTo>
                <a:cubicBezTo>
                  <a:pt x="55" y="288"/>
                  <a:pt x="54" y="289"/>
                  <a:pt x="54" y="290"/>
                </a:cubicBezTo>
                <a:cubicBezTo>
                  <a:pt x="54" y="291"/>
                  <a:pt x="54" y="292"/>
                  <a:pt x="54" y="294"/>
                </a:cubicBezTo>
                <a:cubicBezTo>
                  <a:pt x="54" y="296"/>
                  <a:pt x="55" y="296"/>
                  <a:pt x="56" y="297"/>
                </a:cubicBezTo>
                <a:cubicBezTo>
                  <a:pt x="57" y="299"/>
                  <a:pt x="55" y="299"/>
                  <a:pt x="54" y="300"/>
                </a:cubicBezTo>
                <a:cubicBezTo>
                  <a:pt x="53" y="301"/>
                  <a:pt x="54" y="302"/>
                  <a:pt x="55" y="303"/>
                </a:cubicBezTo>
                <a:cubicBezTo>
                  <a:pt x="56" y="305"/>
                  <a:pt x="56" y="306"/>
                  <a:pt x="56" y="307"/>
                </a:cubicBezTo>
                <a:cubicBezTo>
                  <a:pt x="55" y="308"/>
                  <a:pt x="57" y="310"/>
                  <a:pt x="58" y="311"/>
                </a:cubicBezTo>
                <a:cubicBezTo>
                  <a:pt x="59" y="312"/>
                  <a:pt x="59" y="315"/>
                  <a:pt x="60" y="316"/>
                </a:cubicBezTo>
                <a:cubicBezTo>
                  <a:pt x="60" y="317"/>
                  <a:pt x="62" y="317"/>
                  <a:pt x="63" y="317"/>
                </a:cubicBezTo>
                <a:cubicBezTo>
                  <a:pt x="65" y="317"/>
                  <a:pt x="66" y="317"/>
                  <a:pt x="67" y="319"/>
                </a:cubicBezTo>
                <a:cubicBezTo>
                  <a:pt x="67" y="320"/>
                  <a:pt x="69" y="319"/>
                  <a:pt x="70" y="319"/>
                </a:cubicBezTo>
                <a:cubicBezTo>
                  <a:pt x="72" y="318"/>
                  <a:pt x="76" y="320"/>
                  <a:pt x="77" y="321"/>
                </a:cubicBezTo>
                <a:cubicBezTo>
                  <a:pt x="78" y="321"/>
                  <a:pt x="77" y="324"/>
                  <a:pt x="77" y="325"/>
                </a:cubicBezTo>
                <a:cubicBezTo>
                  <a:pt x="78" y="327"/>
                  <a:pt x="77" y="329"/>
                  <a:pt x="78" y="330"/>
                </a:cubicBezTo>
                <a:cubicBezTo>
                  <a:pt x="80" y="331"/>
                  <a:pt x="79" y="334"/>
                  <a:pt x="81" y="334"/>
                </a:cubicBezTo>
                <a:cubicBezTo>
                  <a:pt x="83" y="335"/>
                  <a:pt x="84" y="338"/>
                  <a:pt x="85" y="338"/>
                </a:cubicBezTo>
                <a:cubicBezTo>
                  <a:pt x="87" y="339"/>
                  <a:pt x="89" y="340"/>
                  <a:pt x="89" y="342"/>
                </a:cubicBezTo>
                <a:cubicBezTo>
                  <a:pt x="89" y="343"/>
                  <a:pt x="87" y="344"/>
                  <a:pt x="86" y="345"/>
                </a:cubicBezTo>
                <a:cubicBezTo>
                  <a:pt x="84" y="346"/>
                  <a:pt x="82" y="343"/>
                  <a:pt x="81" y="344"/>
                </a:cubicBezTo>
                <a:cubicBezTo>
                  <a:pt x="80" y="345"/>
                  <a:pt x="81" y="347"/>
                  <a:pt x="82" y="351"/>
                </a:cubicBezTo>
                <a:cubicBezTo>
                  <a:pt x="83" y="354"/>
                  <a:pt x="83" y="354"/>
                  <a:pt x="85" y="354"/>
                </a:cubicBezTo>
                <a:cubicBezTo>
                  <a:pt x="86" y="354"/>
                  <a:pt x="87" y="353"/>
                  <a:pt x="88" y="353"/>
                </a:cubicBezTo>
                <a:cubicBezTo>
                  <a:pt x="89" y="352"/>
                  <a:pt x="91" y="353"/>
                  <a:pt x="93" y="352"/>
                </a:cubicBezTo>
                <a:cubicBezTo>
                  <a:pt x="94" y="352"/>
                  <a:pt x="97" y="352"/>
                  <a:pt x="98" y="353"/>
                </a:cubicBezTo>
                <a:cubicBezTo>
                  <a:pt x="99" y="354"/>
                  <a:pt x="100" y="357"/>
                  <a:pt x="99" y="358"/>
                </a:cubicBezTo>
                <a:cubicBezTo>
                  <a:pt x="98" y="359"/>
                  <a:pt x="100" y="361"/>
                  <a:pt x="101" y="362"/>
                </a:cubicBezTo>
                <a:cubicBezTo>
                  <a:pt x="101" y="364"/>
                  <a:pt x="105" y="363"/>
                  <a:pt x="106" y="363"/>
                </a:cubicBezTo>
                <a:cubicBezTo>
                  <a:pt x="107" y="364"/>
                  <a:pt x="109" y="367"/>
                  <a:pt x="109" y="369"/>
                </a:cubicBezTo>
                <a:cubicBezTo>
                  <a:pt x="108" y="370"/>
                  <a:pt x="110" y="370"/>
                  <a:pt x="111" y="370"/>
                </a:cubicBezTo>
                <a:cubicBezTo>
                  <a:pt x="112" y="370"/>
                  <a:pt x="113" y="371"/>
                  <a:pt x="115" y="372"/>
                </a:cubicBezTo>
                <a:cubicBezTo>
                  <a:pt x="116" y="372"/>
                  <a:pt x="117" y="372"/>
                  <a:pt x="118" y="371"/>
                </a:cubicBezTo>
                <a:cubicBezTo>
                  <a:pt x="119" y="370"/>
                  <a:pt x="121" y="370"/>
                  <a:pt x="122" y="371"/>
                </a:cubicBezTo>
                <a:cubicBezTo>
                  <a:pt x="123" y="372"/>
                  <a:pt x="125" y="374"/>
                  <a:pt x="125" y="375"/>
                </a:cubicBezTo>
                <a:cubicBezTo>
                  <a:pt x="125" y="375"/>
                  <a:pt x="129" y="375"/>
                  <a:pt x="131" y="375"/>
                </a:cubicBezTo>
                <a:cubicBezTo>
                  <a:pt x="133" y="376"/>
                  <a:pt x="135" y="376"/>
                  <a:pt x="137" y="377"/>
                </a:cubicBezTo>
                <a:cubicBezTo>
                  <a:pt x="138" y="378"/>
                  <a:pt x="140" y="378"/>
                  <a:pt x="140" y="379"/>
                </a:cubicBezTo>
                <a:cubicBezTo>
                  <a:pt x="141" y="381"/>
                  <a:pt x="138" y="382"/>
                  <a:pt x="138" y="382"/>
                </a:cubicBezTo>
                <a:cubicBezTo>
                  <a:pt x="138" y="383"/>
                  <a:pt x="140" y="383"/>
                  <a:pt x="140" y="384"/>
                </a:cubicBezTo>
                <a:cubicBezTo>
                  <a:pt x="140" y="385"/>
                  <a:pt x="138" y="385"/>
                  <a:pt x="138" y="386"/>
                </a:cubicBezTo>
                <a:cubicBezTo>
                  <a:pt x="137" y="387"/>
                  <a:pt x="139" y="388"/>
                  <a:pt x="139" y="389"/>
                </a:cubicBezTo>
                <a:cubicBezTo>
                  <a:pt x="140" y="389"/>
                  <a:pt x="138" y="392"/>
                  <a:pt x="138" y="393"/>
                </a:cubicBezTo>
                <a:cubicBezTo>
                  <a:pt x="138" y="394"/>
                  <a:pt x="133" y="393"/>
                  <a:pt x="132" y="393"/>
                </a:cubicBezTo>
                <a:cubicBezTo>
                  <a:pt x="131" y="393"/>
                  <a:pt x="128" y="396"/>
                  <a:pt x="127" y="396"/>
                </a:cubicBezTo>
                <a:cubicBezTo>
                  <a:pt x="126" y="396"/>
                  <a:pt x="127" y="398"/>
                  <a:pt x="127" y="400"/>
                </a:cubicBezTo>
                <a:cubicBezTo>
                  <a:pt x="130" y="399"/>
                  <a:pt x="134" y="399"/>
                  <a:pt x="134" y="399"/>
                </a:cubicBezTo>
                <a:cubicBezTo>
                  <a:pt x="135" y="401"/>
                  <a:pt x="127" y="404"/>
                  <a:pt x="125" y="404"/>
                </a:cubicBezTo>
                <a:cubicBezTo>
                  <a:pt x="124" y="405"/>
                  <a:pt x="128" y="407"/>
                  <a:pt x="128" y="408"/>
                </a:cubicBezTo>
                <a:cubicBezTo>
                  <a:pt x="128" y="409"/>
                  <a:pt x="124" y="410"/>
                  <a:pt x="124" y="412"/>
                </a:cubicBezTo>
                <a:cubicBezTo>
                  <a:pt x="124" y="415"/>
                  <a:pt x="123" y="415"/>
                  <a:pt x="120" y="415"/>
                </a:cubicBezTo>
                <a:cubicBezTo>
                  <a:pt x="118" y="415"/>
                  <a:pt x="117" y="417"/>
                  <a:pt x="118" y="417"/>
                </a:cubicBezTo>
                <a:cubicBezTo>
                  <a:pt x="119" y="417"/>
                  <a:pt x="119" y="420"/>
                  <a:pt x="124" y="421"/>
                </a:cubicBezTo>
                <a:cubicBezTo>
                  <a:pt x="128" y="422"/>
                  <a:pt x="133" y="426"/>
                  <a:pt x="137" y="430"/>
                </a:cubicBezTo>
                <a:cubicBezTo>
                  <a:pt x="137" y="431"/>
                  <a:pt x="138" y="431"/>
                  <a:pt x="138" y="432"/>
                </a:cubicBezTo>
                <a:cubicBezTo>
                  <a:pt x="139" y="431"/>
                  <a:pt x="140" y="431"/>
                  <a:pt x="141" y="431"/>
                </a:cubicBezTo>
                <a:cubicBezTo>
                  <a:pt x="143" y="430"/>
                  <a:pt x="147" y="432"/>
                  <a:pt x="149" y="433"/>
                </a:cubicBezTo>
                <a:cubicBezTo>
                  <a:pt x="151" y="435"/>
                  <a:pt x="159" y="433"/>
                  <a:pt x="160" y="434"/>
                </a:cubicBezTo>
                <a:cubicBezTo>
                  <a:pt x="161" y="435"/>
                  <a:pt x="163" y="437"/>
                  <a:pt x="164" y="437"/>
                </a:cubicBezTo>
                <a:cubicBezTo>
                  <a:pt x="166" y="437"/>
                  <a:pt x="167" y="440"/>
                  <a:pt x="168" y="439"/>
                </a:cubicBezTo>
                <a:cubicBezTo>
                  <a:pt x="170" y="438"/>
                  <a:pt x="174" y="438"/>
                  <a:pt x="175" y="438"/>
                </a:cubicBezTo>
                <a:cubicBezTo>
                  <a:pt x="177" y="438"/>
                  <a:pt x="177" y="439"/>
                  <a:pt x="178" y="439"/>
                </a:cubicBezTo>
                <a:cubicBezTo>
                  <a:pt x="179" y="439"/>
                  <a:pt x="179" y="443"/>
                  <a:pt x="180" y="443"/>
                </a:cubicBezTo>
                <a:cubicBezTo>
                  <a:pt x="181" y="443"/>
                  <a:pt x="184" y="446"/>
                  <a:pt x="186" y="446"/>
                </a:cubicBezTo>
                <a:cubicBezTo>
                  <a:pt x="189" y="446"/>
                  <a:pt x="191" y="450"/>
                  <a:pt x="192" y="450"/>
                </a:cubicBezTo>
                <a:cubicBezTo>
                  <a:pt x="193" y="450"/>
                  <a:pt x="194" y="451"/>
                  <a:pt x="195" y="450"/>
                </a:cubicBezTo>
                <a:cubicBezTo>
                  <a:pt x="195" y="448"/>
                  <a:pt x="198" y="449"/>
                  <a:pt x="199" y="447"/>
                </a:cubicBezTo>
                <a:cubicBezTo>
                  <a:pt x="195" y="442"/>
                  <a:pt x="191" y="437"/>
                  <a:pt x="191" y="435"/>
                </a:cubicBezTo>
                <a:cubicBezTo>
                  <a:pt x="191" y="431"/>
                  <a:pt x="193" y="429"/>
                  <a:pt x="189" y="425"/>
                </a:cubicBezTo>
                <a:cubicBezTo>
                  <a:pt x="184" y="422"/>
                  <a:pt x="189" y="419"/>
                  <a:pt x="192" y="415"/>
                </a:cubicBezTo>
                <a:cubicBezTo>
                  <a:pt x="195" y="412"/>
                  <a:pt x="201" y="410"/>
                  <a:pt x="204" y="408"/>
                </a:cubicBezTo>
                <a:cubicBezTo>
                  <a:pt x="204" y="407"/>
                  <a:pt x="203" y="407"/>
                  <a:pt x="202" y="406"/>
                </a:cubicBezTo>
                <a:cubicBezTo>
                  <a:pt x="199" y="405"/>
                  <a:pt x="198" y="404"/>
                  <a:pt x="200" y="403"/>
                </a:cubicBezTo>
                <a:cubicBezTo>
                  <a:pt x="203" y="403"/>
                  <a:pt x="202" y="402"/>
                  <a:pt x="200" y="399"/>
                </a:cubicBezTo>
                <a:cubicBezTo>
                  <a:pt x="197" y="397"/>
                  <a:pt x="197" y="394"/>
                  <a:pt x="195" y="394"/>
                </a:cubicBezTo>
                <a:cubicBezTo>
                  <a:pt x="194" y="394"/>
                  <a:pt x="192" y="394"/>
                  <a:pt x="190" y="395"/>
                </a:cubicBezTo>
                <a:cubicBezTo>
                  <a:pt x="189" y="395"/>
                  <a:pt x="189" y="393"/>
                  <a:pt x="189" y="391"/>
                </a:cubicBezTo>
                <a:cubicBezTo>
                  <a:pt x="189" y="389"/>
                  <a:pt x="186" y="389"/>
                  <a:pt x="185" y="388"/>
                </a:cubicBezTo>
                <a:cubicBezTo>
                  <a:pt x="185" y="387"/>
                  <a:pt x="186" y="384"/>
                  <a:pt x="187" y="384"/>
                </a:cubicBezTo>
                <a:cubicBezTo>
                  <a:pt x="187" y="384"/>
                  <a:pt x="189" y="383"/>
                  <a:pt x="189" y="382"/>
                </a:cubicBezTo>
                <a:cubicBezTo>
                  <a:pt x="189" y="381"/>
                  <a:pt x="186" y="381"/>
                  <a:pt x="187" y="378"/>
                </a:cubicBezTo>
                <a:cubicBezTo>
                  <a:pt x="188" y="376"/>
                  <a:pt x="191" y="376"/>
                  <a:pt x="191" y="374"/>
                </a:cubicBezTo>
                <a:cubicBezTo>
                  <a:pt x="191" y="372"/>
                  <a:pt x="193" y="370"/>
                  <a:pt x="195" y="372"/>
                </a:cubicBezTo>
                <a:cubicBezTo>
                  <a:pt x="197" y="373"/>
                  <a:pt x="198" y="377"/>
                  <a:pt x="200" y="376"/>
                </a:cubicBezTo>
                <a:cubicBezTo>
                  <a:pt x="203" y="375"/>
                  <a:pt x="201" y="373"/>
                  <a:pt x="201" y="372"/>
                </a:cubicBezTo>
                <a:cubicBezTo>
                  <a:pt x="200" y="371"/>
                  <a:pt x="200" y="369"/>
                  <a:pt x="203" y="368"/>
                </a:cubicBezTo>
                <a:cubicBezTo>
                  <a:pt x="205" y="368"/>
                  <a:pt x="204" y="365"/>
                  <a:pt x="206" y="365"/>
                </a:cubicBezTo>
                <a:cubicBezTo>
                  <a:pt x="208" y="365"/>
                  <a:pt x="212" y="362"/>
                  <a:pt x="214" y="362"/>
                </a:cubicBezTo>
                <a:cubicBezTo>
                  <a:pt x="215" y="361"/>
                  <a:pt x="218" y="359"/>
                  <a:pt x="219" y="360"/>
                </a:cubicBezTo>
                <a:cubicBezTo>
                  <a:pt x="220" y="361"/>
                  <a:pt x="222" y="362"/>
                  <a:pt x="222" y="360"/>
                </a:cubicBezTo>
                <a:cubicBezTo>
                  <a:pt x="223" y="358"/>
                  <a:pt x="227" y="359"/>
                  <a:pt x="227" y="360"/>
                </a:cubicBezTo>
                <a:cubicBezTo>
                  <a:pt x="228" y="361"/>
                  <a:pt x="233" y="361"/>
                  <a:pt x="235" y="362"/>
                </a:cubicBezTo>
                <a:cubicBezTo>
                  <a:pt x="237" y="364"/>
                  <a:pt x="241" y="366"/>
                  <a:pt x="241" y="367"/>
                </a:cubicBezTo>
                <a:cubicBezTo>
                  <a:pt x="241" y="369"/>
                  <a:pt x="243" y="370"/>
                  <a:pt x="243" y="368"/>
                </a:cubicBezTo>
                <a:cubicBezTo>
                  <a:pt x="243" y="366"/>
                  <a:pt x="244" y="367"/>
                  <a:pt x="247" y="368"/>
                </a:cubicBezTo>
                <a:cubicBezTo>
                  <a:pt x="249" y="370"/>
                  <a:pt x="253" y="369"/>
                  <a:pt x="253" y="368"/>
                </a:cubicBezTo>
                <a:cubicBezTo>
                  <a:pt x="254" y="366"/>
                  <a:pt x="259" y="364"/>
                  <a:pt x="260" y="366"/>
                </a:cubicBezTo>
                <a:cubicBezTo>
                  <a:pt x="262" y="367"/>
                  <a:pt x="262" y="368"/>
                  <a:pt x="264" y="366"/>
                </a:cubicBezTo>
                <a:cubicBezTo>
                  <a:pt x="266" y="364"/>
                  <a:pt x="270" y="364"/>
                  <a:pt x="271" y="366"/>
                </a:cubicBezTo>
                <a:cubicBezTo>
                  <a:pt x="271" y="368"/>
                  <a:pt x="273" y="368"/>
                  <a:pt x="275" y="368"/>
                </a:cubicBezTo>
                <a:cubicBezTo>
                  <a:pt x="277" y="368"/>
                  <a:pt x="277" y="371"/>
                  <a:pt x="279" y="370"/>
                </a:cubicBezTo>
                <a:cubicBezTo>
                  <a:pt x="280" y="370"/>
                  <a:pt x="280" y="367"/>
                  <a:pt x="281" y="367"/>
                </a:cubicBezTo>
                <a:cubicBezTo>
                  <a:pt x="283" y="367"/>
                  <a:pt x="284" y="369"/>
                  <a:pt x="286" y="369"/>
                </a:cubicBezTo>
                <a:cubicBezTo>
                  <a:pt x="289" y="369"/>
                  <a:pt x="291" y="369"/>
                  <a:pt x="291" y="367"/>
                </a:cubicBezTo>
                <a:cubicBezTo>
                  <a:pt x="291" y="365"/>
                  <a:pt x="290" y="362"/>
                  <a:pt x="289" y="362"/>
                </a:cubicBezTo>
                <a:cubicBezTo>
                  <a:pt x="287" y="362"/>
                  <a:pt x="286" y="360"/>
                  <a:pt x="284" y="360"/>
                </a:cubicBezTo>
                <a:cubicBezTo>
                  <a:pt x="282" y="360"/>
                  <a:pt x="280" y="357"/>
                  <a:pt x="282" y="357"/>
                </a:cubicBezTo>
                <a:cubicBezTo>
                  <a:pt x="284" y="356"/>
                  <a:pt x="287" y="355"/>
                  <a:pt x="286" y="353"/>
                </a:cubicBezTo>
                <a:cubicBezTo>
                  <a:pt x="286" y="352"/>
                  <a:pt x="285" y="348"/>
                  <a:pt x="288" y="348"/>
                </a:cubicBezTo>
                <a:cubicBezTo>
                  <a:pt x="290" y="348"/>
                  <a:pt x="295" y="348"/>
                  <a:pt x="295" y="347"/>
                </a:cubicBezTo>
                <a:cubicBezTo>
                  <a:pt x="295" y="346"/>
                  <a:pt x="290" y="345"/>
                  <a:pt x="289" y="344"/>
                </a:cubicBezTo>
                <a:cubicBezTo>
                  <a:pt x="288" y="342"/>
                  <a:pt x="288" y="339"/>
                  <a:pt x="288" y="338"/>
                </a:cubicBezTo>
                <a:cubicBezTo>
                  <a:pt x="289" y="337"/>
                  <a:pt x="292" y="338"/>
                  <a:pt x="294" y="338"/>
                </a:cubicBezTo>
                <a:cubicBezTo>
                  <a:pt x="296" y="337"/>
                  <a:pt x="300" y="339"/>
                  <a:pt x="302" y="337"/>
                </a:cubicBezTo>
                <a:cubicBezTo>
                  <a:pt x="305" y="335"/>
                  <a:pt x="310" y="335"/>
                  <a:pt x="313" y="335"/>
                </a:cubicBezTo>
                <a:cubicBezTo>
                  <a:pt x="316" y="335"/>
                  <a:pt x="318" y="333"/>
                  <a:pt x="320" y="333"/>
                </a:cubicBezTo>
                <a:cubicBezTo>
                  <a:pt x="322" y="332"/>
                  <a:pt x="328" y="331"/>
                  <a:pt x="330" y="331"/>
                </a:cubicBezTo>
                <a:cubicBezTo>
                  <a:pt x="331" y="330"/>
                  <a:pt x="339" y="329"/>
                  <a:pt x="340" y="327"/>
                </a:cubicBezTo>
                <a:cubicBezTo>
                  <a:pt x="340" y="326"/>
                  <a:pt x="347" y="325"/>
                  <a:pt x="348" y="325"/>
                </a:cubicBezTo>
                <a:cubicBezTo>
                  <a:pt x="350" y="326"/>
                  <a:pt x="352" y="327"/>
                  <a:pt x="354" y="326"/>
                </a:cubicBezTo>
                <a:cubicBezTo>
                  <a:pt x="355" y="326"/>
                  <a:pt x="358" y="327"/>
                  <a:pt x="358" y="329"/>
                </a:cubicBezTo>
                <a:cubicBezTo>
                  <a:pt x="358" y="331"/>
                  <a:pt x="359" y="332"/>
                  <a:pt x="359" y="334"/>
                </a:cubicBezTo>
                <a:cubicBezTo>
                  <a:pt x="359" y="335"/>
                  <a:pt x="358" y="336"/>
                  <a:pt x="359" y="337"/>
                </a:cubicBezTo>
                <a:cubicBezTo>
                  <a:pt x="359" y="338"/>
                  <a:pt x="364" y="337"/>
                  <a:pt x="365" y="336"/>
                </a:cubicBezTo>
                <a:cubicBezTo>
                  <a:pt x="366" y="334"/>
                  <a:pt x="367" y="336"/>
                  <a:pt x="367" y="337"/>
                </a:cubicBezTo>
                <a:cubicBezTo>
                  <a:pt x="367" y="338"/>
                  <a:pt x="369" y="339"/>
                  <a:pt x="369" y="338"/>
                </a:cubicBezTo>
                <a:cubicBezTo>
                  <a:pt x="369" y="336"/>
                  <a:pt x="372" y="337"/>
                  <a:pt x="373" y="338"/>
                </a:cubicBezTo>
                <a:cubicBezTo>
                  <a:pt x="373" y="339"/>
                  <a:pt x="376" y="337"/>
                  <a:pt x="376" y="339"/>
                </a:cubicBezTo>
                <a:cubicBezTo>
                  <a:pt x="376" y="340"/>
                  <a:pt x="372" y="341"/>
                  <a:pt x="374" y="343"/>
                </a:cubicBezTo>
                <a:cubicBezTo>
                  <a:pt x="376" y="345"/>
                  <a:pt x="377" y="341"/>
                  <a:pt x="379" y="342"/>
                </a:cubicBezTo>
                <a:cubicBezTo>
                  <a:pt x="381" y="343"/>
                  <a:pt x="384" y="339"/>
                  <a:pt x="386" y="339"/>
                </a:cubicBezTo>
                <a:cubicBezTo>
                  <a:pt x="389" y="338"/>
                  <a:pt x="391" y="336"/>
                  <a:pt x="393" y="335"/>
                </a:cubicBezTo>
                <a:cubicBezTo>
                  <a:pt x="395" y="334"/>
                  <a:pt x="399" y="335"/>
                  <a:pt x="397" y="336"/>
                </a:cubicBezTo>
                <a:cubicBezTo>
                  <a:pt x="396" y="337"/>
                  <a:pt x="395" y="339"/>
                  <a:pt x="399" y="341"/>
                </a:cubicBezTo>
                <a:cubicBezTo>
                  <a:pt x="404" y="343"/>
                  <a:pt x="409" y="352"/>
                  <a:pt x="412" y="356"/>
                </a:cubicBezTo>
                <a:cubicBezTo>
                  <a:pt x="415" y="360"/>
                  <a:pt x="418" y="368"/>
                  <a:pt x="419" y="368"/>
                </a:cubicBezTo>
                <a:cubicBezTo>
                  <a:pt x="421" y="368"/>
                  <a:pt x="421" y="364"/>
                  <a:pt x="423" y="364"/>
                </a:cubicBezTo>
                <a:cubicBezTo>
                  <a:pt x="425" y="363"/>
                  <a:pt x="426" y="367"/>
                  <a:pt x="428" y="368"/>
                </a:cubicBezTo>
                <a:cubicBezTo>
                  <a:pt x="431" y="368"/>
                  <a:pt x="433" y="369"/>
                  <a:pt x="435" y="369"/>
                </a:cubicBezTo>
                <a:cubicBezTo>
                  <a:pt x="437" y="368"/>
                  <a:pt x="441" y="366"/>
                  <a:pt x="442" y="367"/>
                </a:cubicBezTo>
                <a:cubicBezTo>
                  <a:pt x="443" y="368"/>
                  <a:pt x="445" y="368"/>
                  <a:pt x="446" y="370"/>
                </a:cubicBezTo>
                <a:cubicBezTo>
                  <a:pt x="448" y="373"/>
                  <a:pt x="450" y="374"/>
                  <a:pt x="451" y="374"/>
                </a:cubicBezTo>
                <a:cubicBezTo>
                  <a:pt x="452" y="374"/>
                  <a:pt x="452" y="375"/>
                  <a:pt x="452" y="377"/>
                </a:cubicBezTo>
                <a:cubicBezTo>
                  <a:pt x="452" y="378"/>
                  <a:pt x="454" y="379"/>
                  <a:pt x="456" y="379"/>
                </a:cubicBezTo>
                <a:cubicBezTo>
                  <a:pt x="457" y="379"/>
                  <a:pt x="460" y="379"/>
                  <a:pt x="461" y="378"/>
                </a:cubicBezTo>
                <a:cubicBezTo>
                  <a:pt x="462" y="378"/>
                  <a:pt x="463" y="377"/>
                  <a:pt x="464" y="379"/>
                </a:cubicBezTo>
                <a:cubicBezTo>
                  <a:pt x="464" y="380"/>
                  <a:pt x="466" y="382"/>
                  <a:pt x="467" y="382"/>
                </a:cubicBezTo>
                <a:cubicBezTo>
                  <a:pt x="468" y="382"/>
                  <a:pt x="471" y="383"/>
                  <a:pt x="471" y="382"/>
                </a:cubicBezTo>
                <a:cubicBezTo>
                  <a:pt x="471" y="381"/>
                  <a:pt x="474" y="381"/>
                  <a:pt x="475" y="380"/>
                </a:cubicBezTo>
                <a:cubicBezTo>
                  <a:pt x="477" y="380"/>
                  <a:pt x="481" y="379"/>
                  <a:pt x="482" y="378"/>
                </a:cubicBezTo>
                <a:cubicBezTo>
                  <a:pt x="483" y="376"/>
                  <a:pt x="486" y="376"/>
                  <a:pt x="487" y="375"/>
                </a:cubicBezTo>
                <a:cubicBezTo>
                  <a:pt x="488" y="373"/>
                  <a:pt x="491" y="373"/>
                  <a:pt x="492" y="371"/>
                </a:cubicBezTo>
                <a:cubicBezTo>
                  <a:pt x="492" y="370"/>
                  <a:pt x="496" y="370"/>
                  <a:pt x="496" y="369"/>
                </a:cubicBezTo>
                <a:cubicBezTo>
                  <a:pt x="497" y="368"/>
                  <a:pt x="500" y="368"/>
                  <a:pt x="501" y="369"/>
                </a:cubicBezTo>
                <a:cubicBezTo>
                  <a:pt x="502" y="369"/>
                  <a:pt x="510" y="370"/>
                  <a:pt x="511" y="370"/>
                </a:cubicBezTo>
                <a:cubicBezTo>
                  <a:pt x="512" y="370"/>
                  <a:pt x="512" y="374"/>
                  <a:pt x="513" y="374"/>
                </a:cubicBezTo>
                <a:cubicBezTo>
                  <a:pt x="514" y="374"/>
                  <a:pt x="518" y="377"/>
                  <a:pt x="519" y="376"/>
                </a:cubicBezTo>
                <a:cubicBezTo>
                  <a:pt x="520" y="376"/>
                  <a:pt x="522" y="375"/>
                  <a:pt x="524" y="376"/>
                </a:cubicBezTo>
                <a:cubicBezTo>
                  <a:pt x="526" y="377"/>
                  <a:pt x="528" y="379"/>
                  <a:pt x="529" y="377"/>
                </a:cubicBezTo>
                <a:cubicBezTo>
                  <a:pt x="530" y="376"/>
                  <a:pt x="534" y="375"/>
                  <a:pt x="535" y="375"/>
                </a:cubicBezTo>
                <a:cubicBezTo>
                  <a:pt x="535" y="374"/>
                  <a:pt x="536" y="371"/>
                  <a:pt x="535" y="370"/>
                </a:cubicBezTo>
                <a:cubicBezTo>
                  <a:pt x="534" y="370"/>
                  <a:pt x="533" y="366"/>
                  <a:pt x="532" y="365"/>
                </a:cubicBezTo>
                <a:cubicBezTo>
                  <a:pt x="532" y="363"/>
                  <a:pt x="535" y="363"/>
                  <a:pt x="535" y="361"/>
                </a:cubicBezTo>
                <a:cubicBezTo>
                  <a:pt x="536" y="360"/>
                  <a:pt x="538" y="360"/>
                  <a:pt x="539" y="359"/>
                </a:cubicBezTo>
                <a:cubicBezTo>
                  <a:pt x="540" y="358"/>
                  <a:pt x="540" y="356"/>
                  <a:pt x="541" y="357"/>
                </a:cubicBezTo>
                <a:cubicBezTo>
                  <a:pt x="543" y="357"/>
                  <a:pt x="546" y="358"/>
                  <a:pt x="546" y="359"/>
                </a:cubicBezTo>
                <a:cubicBezTo>
                  <a:pt x="547" y="359"/>
                  <a:pt x="549" y="360"/>
                  <a:pt x="551" y="360"/>
                </a:cubicBezTo>
                <a:cubicBezTo>
                  <a:pt x="552" y="360"/>
                  <a:pt x="554" y="361"/>
                  <a:pt x="556" y="362"/>
                </a:cubicBezTo>
                <a:cubicBezTo>
                  <a:pt x="557" y="362"/>
                  <a:pt x="562" y="362"/>
                  <a:pt x="563" y="364"/>
                </a:cubicBezTo>
                <a:cubicBezTo>
                  <a:pt x="563" y="365"/>
                  <a:pt x="562" y="368"/>
                  <a:pt x="563" y="370"/>
                </a:cubicBezTo>
                <a:cubicBezTo>
                  <a:pt x="564" y="371"/>
                  <a:pt x="567" y="373"/>
                  <a:pt x="568" y="373"/>
                </a:cubicBezTo>
                <a:cubicBezTo>
                  <a:pt x="568" y="372"/>
                  <a:pt x="572" y="375"/>
                  <a:pt x="574" y="375"/>
                </a:cubicBezTo>
                <a:cubicBezTo>
                  <a:pt x="575" y="375"/>
                  <a:pt x="577" y="372"/>
                  <a:pt x="579" y="372"/>
                </a:cubicBezTo>
                <a:cubicBezTo>
                  <a:pt x="580" y="372"/>
                  <a:pt x="584" y="371"/>
                  <a:pt x="585" y="371"/>
                </a:cubicBezTo>
                <a:cubicBezTo>
                  <a:pt x="586" y="372"/>
                  <a:pt x="591" y="373"/>
                  <a:pt x="591" y="373"/>
                </a:cubicBezTo>
                <a:cubicBezTo>
                  <a:pt x="592" y="372"/>
                  <a:pt x="596" y="373"/>
                  <a:pt x="597" y="374"/>
                </a:cubicBezTo>
                <a:cubicBezTo>
                  <a:pt x="597" y="376"/>
                  <a:pt x="602" y="376"/>
                  <a:pt x="602" y="377"/>
                </a:cubicBezTo>
                <a:cubicBezTo>
                  <a:pt x="602" y="378"/>
                  <a:pt x="605" y="379"/>
                  <a:pt x="606" y="381"/>
                </a:cubicBezTo>
                <a:cubicBezTo>
                  <a:pt x="607" y="382"/>
                  <a:pt x="613" y="381"/>
                  <a:pt x="615" y="382"/>
                </a:cubicBezTo>
                <a:cubicBezTo>
                  <a:pt x="616" y="383"/>
                  <a:pt x="624" y="383"/>
                  <a:pt x="624" y="382"/>
                </a:cubicBezTo>
                <a:cubicBezTo>
                  <a:pt x="624" y="382"/>
                  <a:pt x="631" y="381"/>
                  <a:pt x="633" y="380"/>
                </a:cubicBezTo>
                <a:cubicBezTo>
                  <a:pt x="634" y="379"/>
                  <a:pt x="638" y="380"/>
                  <a:pt x="638" y="378"/>
                </a:cubicBezTo>
                <a:cubicBezTo>
                  <a:pt x="638" y="377"/>
                  <a:pt x="642" y="376"/>
                  <a:pt x="644" y="375"/>
                </a:cubicBezTo>
                <a:cubicBezTo>
                  <a:pt x="645" y="373"/>
                  <a:pt x="652" y="373"/>
                  <a:pt x="652" y="375"/>
                </a:cubicBezTo>
                <a:cubicBezTo>
                  <a:pt x="653" y="376"/>
                  <a:pt x="657" y="377"/>
                  <a:pt x="658" y="376"/>
                </a:cubicBezTo>
                <a:cubicBezTo>
                  <a:pt x="660" y="376"/>
                  <a:pt x="664" y="376"/>
                  <a:pt x="665" y="378"/>
                </a:cubicBezTo>
                <a:cubicBezTo>
                  <a:pt x="665" y="379"/>
                  <a:pt x="670" y="380"/>
                  <a:pt x="671" y="380"/>
                </a:cubicBezTo>
                <a:cubicBezTo>
                  <a:pt x="673" y="379"/>
                  <a:pt x="677" y="376"/>
                  <a:pt x="678" y="376"/>
                </a:cubicBezTo>
                <a:cubicBezTo>
                  <a:pt x="679" y="376"/>
                  <a:pt x="681" y="375"/>
                  <a:pt x="681" y="373"/>
                </a:cubicBezTo>
                <a:cubicBezTo>
                  <a:pt x="681" y="372"/>
                  <a:pt x="684" y="368"/>
                  <a:pt x="684" y="366"/>
                </a:cubicBezTo>
                <a:cubicBezTo>
                  <a:pt x="685" y="364"/>
                  <a:pt x="688" y="360"/>
                  <a:pt x="689" y="359"/>
                </a:cubicBezTo>
                <a:cubicBezTo>
                  <a:pt x="690" y="359"/>
                  <a:pt x="692" y="357"/>
                  <a:pt x="692" y="356"/>
                </a:cubicBezTo>
                <a:cubicBezTo>
                  <a:pt x="691" y="355"/>
                  <a:pt x="691" y="351"/>
                  <a:pt x="690" y="351"/>
                </a:cubicBezTo>
                <a:cubicBezTo>
                  <a:pt x="688" y="351"/>
                  <a:pt x="686" y="351"/>
                  <a:pt x="689" y="347"/>
                </a:cubicBezTo>
                <a:cubicBezTo>
                  <a:pt x="692" y="344"/>
                  <a:pt x="697" y="345"/>
                  <a:pt x="698" y="345"/>
                </a:cubicBezTo>
                <a:cubicBezTo>
                  <a:pt x="699" y="345"/>
                  <a:pt x="705" y="343"/>
                  <a:pt x="708" y="344"/>
                </a:cubicBezTo>
                <a:cubicBezTo>
                  <a:pt x="711" y="345"/>
                  <a:pt x="713" y="343"/>
                  <a:pt x="716" y="345"/>
                </a:cubicBezTo>
                <a:cubicBezTo>
                  <a:pt x="719" y="347"/>
                  <a:pt x="723" y="346"/>
                  <a:pt x="724" y="347"/>
                </a:cubicBezTo>
                <a:cubicBezTo>
                  <a:pt x="725" y="349"/>
                  <a:pt x="729" y="350"/>
                  <a:pt x="728" y="353"/>
                </a:cubicBezTo>
                <a:cubicBezTo>
                  <a:pt x="728" y="355"/>
                  <a:pt x="731" y="354"/>
                  <a:pt x="732" y="359"/>
                </a:cubicBezTo>
                <a:cubicBezTo>
                  <a:pt x="733" y="364"/>
                  <a:pt x="735" y="365"/>
                  <a:pt x="736" y="367"/>
                </a:cubicBezTo>
                <a:cubicBezTo>
                  <a:pt x="736" y="369"/>
                  <a:pt x="740" y="374"/>
                  <a:pt x="739" y="375"/>
                </a:cubicBezTo>
                <a:cubicBezTo>
                  <a:pt x="739" y="377"/>
                  <a:pt x="738" y="379"/>
                  <a:pt x="742" y="379"/>
                </a:cubicBezTo>
                <a:cubicBezTo>
                  <a:pt x="745" y="379"/>
                  <a:pt x="748" y="382"/>
                  <a:pt x="749" y="382"/>
                </a:cubicBezTo>
                <a:cubicBezTo>
                  <a:pt x="749" y="381"/>
                  <a:pt x="753" y="383"/>
                  <a:pt x="756" y="385"/>
                </a:cubicBezTo>
                <a:cubicBezTo>
                  <a:pt x="758" y="387"/>
                  <a:pt x="761" y="386"/>
                  <a:pt x="760" y="388"/>
                </a:cubicBezTo>
                <a:cubicBezTo>
                  <a:pt x="760" y="390"/>
                  <a:pt x="762" y="392"/>
                  <a:pt x="762" y="394"/>
                </a:cubicBezTo>
                <a:cubicBezTo>
                  <a:pt x="762" y="396"/>
                  <a:pt x="766" y="397"/>
                  <a:pt x="769" y="397"/>
                </a:cubicBezTo>
                <a:cubicBezTo>
                  <a:pt x="771" y="396"/>
                  <a:pt x="773" y="398"/>
                  <a:pt x="775" y="395"/>
                </a:cubicBezTo>
                <a:cubicBezTo>
                  <a:pt x="776" y="393"/>
                  <a:pt x="780" y="394"/>
                  <a:pt x="781" y="393"/>
                </a:cubicBezTo>
                <a:cubicBezTo>
                  <a:pt x="783" y="392"/>
                  <a:pt x="787" y="390"/>
                  <a:pt x="787" y="394"/>
                </a:cubicBezTo>
                <a:cubicBezTo>
                  <a:pt x="787" y="398"/>
                  <a:pt x="789" y="399"/>
                  <a:pt x="787" y="400"/>
                </a:cubicBezTo>
                <a:cubicBezTo>
                  <a:pt x="785" y="401"/>
                  <a:pt x="784" y="406"/>
                  <a:pt x="783" y="409"/>
                </a:cubicBezTo>
                <a:cubicBezTo>
                  <a:pt x="783" y="411"/>
                  <a:pt x="780" y="411"/>
                  <a:pt x="779" y="414"/>
                </a:cubicBezTo>
                <a:cubicBezTo>
                  <a:pt x="779" y="416"/>
                  <a:pt x="776" y="416"/>
                  <a:pt x="776" y="418"/>
                </a:cubicBezTo>
                <a:cubicBezTo>
                  <a:pt x="776" y="420"/>
                  <a:pt x="772" y="420"/>
                  <a:pt x="770" y="418"/>
                </a:cubicBezTo>
                <a:cubicBezTo>
                  <a:pt x="768" y="417"/>
                  <a:pt x="766" y="421"/>
                  <a:pt x="764" y="421"/>
                </a:cubicBezTo>
                <a:cubicBezTo>
                  <a:pt x="763" y="421"/>
                  <a:pt x="763" y="424"/>
                  <a:pt x="763" y="426"/>
                </a:cubicBezTo>
                <a:cubicBezTo>
                  <a:pt x="764" y="427"/>
                  <a:pt x="763" y="429"/>
                  <a:pt x="764" y="432"/>
                </a:cubicBezTo>
                <a:cubicBezTo>
                  <a:pt x="764" y="433"/>
                  <a:pt x="764" y="435"/>
                  <a:pt x="764" y="438"/>
                </a:cubicBezTo>
                <a:cubicBezTo>
                  <a:pt x="767" y="436"/>
                  <a:pt x="769" y="435"/>
                  <a:pt x="770" y="435"/>
                </a:cubicBezTo>
                <a:cubicBezTo>
                  <a:pt x="772" y="435"/>
                  <a:pt x="775" y="439"/>
                  <a:pt x="778" y="439"/>
                </a:cubicBezTo>
                <a:cubicBezTo>
                  <a:pt x="781" y="440"/>
                  <a:pt x="794" y="431"/>
                  <a:pt x="794" y="429"/>
                </a:cubicBezTo>
                <a:cubicBezTo>
                  <a:pt x="794" y="428"/>
                  <a:pt x="801" y="421"/>
                  <a:pt x="805" y="417"/>
                </a:cubicBezTo>
                <a:cubicBezTo>
                  <a:pt x="808" y="413"/>
                  <a:pt x="813" y="408"/>
                  <a:pt x="815" y="404"/>
                </a:cubicBezTo>
                <a:cubicBezTo>
                  <a:pt x="816" y="401"/>
                  <a:pt x="821" y="396"/>
                  <a:pt x="822" y="394"/>
                </a:cubicBezTo>
                <a:cubicBezTo>
                  <a:pt x="824" y="392"/>
                  <a:pt x="824" y="392"/>
                  <a:pt x="827" y="387"/>
                </a:cubicBezTo>
                <a:cubicBezTo>
                  <a:pt x="829" y="382"/>
                  <a:pt x="829" y="369"/>
                  <a:pt x="830" y="369"/>
                </a:cubicBezTo>
                <a:cubicBezTo>
                  <a:pt x="830" y="368"/>
                  <a:pt x="830" y="366"/>
                  <a:pt x="831" y="364"/>
                </a:cubicBezTo>
                <a:cubicBezTo>
                  <a:pt x="832" y="363"/>
                  <a:pt x="831" y="361"/>
                  <a:pt x="833" y="359"/>
                </a:cubicBezTo>
                <a:cubicBezTo>
                  <a:pt x="835" y="358"/>
                  <a:pt x="835" y="356"/>
                  <a:pt x="835" y="355"/>
                </a:cubicBezTo>
                <a:cubicBezTo>
                  <a:pt x="834" y="354"/>
                  <a:pt x="835" y="351"/>
                  <a:pt x="834" y="350"/>
                </a:cubicBezTo>
                <a:cubicBezTo>
                  <a:pt x="834" y="349"/>
                  <a:pt x="834" y="348"/>
                  <a:pt x="835" y="348"/>
                </a:cubicBezTo>
                <a:cubicBezTo>
                  <a:pt x="836" y="347"/>
                  <a:pt x="834" y="345"/>
                  <a:pt x="832" y="344"/>
                </a:cubicBezTo>
                <a:cubicBezTo>
                  <a:pt x="831" y="343"/>
                  <a:pt x="828" y="343"/>
                  <a:pt x="828" y="341"/>
                </a:cubicBezTo>
                <a:cubicBezTo>
                  <a:pt x="828" y="339"/>
                  <a:pt x="825" y="337"/>
                  <a:pt x="823" y="337"/>
                </a:cubicBezTo>
                <a:cubicBezTo>
                  <a:pt x="821" y="337"/>
                  <a:pt x="816" y="336"/>
                  <a:pt x="817" y="337"/>
                </a:cubicBezTo>
                <a:cubicBezTo>
                  <a:pt x="817" y="338"/>
                  <a:pt x="817" y="340"/>
                  <a:pt x="816" y="339"/>
                </a:cubicBezTo>
                <a:cubicBezTo>
                  <a:pt x="814" y="339"/>
                  <a:pt x="814" y="340"/>
                  <a:pt x="813" y="342"/>
                </a:cubicBezTo>
                <a:cubicBezTo>
                  <a:pt x="811" y="344"/>
                  <a:pt x="807" y="344"/>
                  <a:pt x="809" y="342"/>
                </a:cubicBezTo>
                <a:cubicBezTo>
                  <a:pt x="811" y="340"/>
                  <a:pt x="808" y="340"/>
                  <a:pt x="808" y="338"/>
                </a:cubicBezTo>
                <a:cubicBezTo>
                  <a:pt x="809" y="336"/>
                  <a:pt x="811" y="334"/>
                  <a:pt x="808" y="335"/>
                </a:cubicBezTo>
                <a:cubicBezTo>
                  <a:pt x="806" y="337"/>
                  <a:pt x="806" y="340"/>
                  <a:pt x="804" y="340"/>
                </a:cubicBezTo>
                <a:cubicBezTo>
                  <a:pt x="802" y="341"/>
                  <a:pt x="803" y="335"/>
                  <a:pt x="803" y="333"/>
                </a:cubicBezTo>
                <a:cubicBezTo>
                  <a:pt x="804" y="332"/>
                  <a:pt x="800" y="333"/>
                  <a:pt x="795" y="333"/>
                </a:cubicBezTo>
                <a:cubicBezTo>
                  <a:pt x="791" y="333"/>
                  <a:pt x="792" y="330"/>
                  <a:pt x="796" y="328"/>
                </a:cubicBezTo>
                <a:cubicBezTo>
                  <a:pt x="799" y="326"/>
                  <a:pt x="799" y="324"/>
                  <a:pt x="800" y="324"/>
                </a:cubicBezTo>
                <a:cubicBezTo>
                  <a:pt x="802" y="323"/>
                  <a:pt x="806" y="320"/>
                  <a:pt x="809" y="319"/>
                </a:cubicBezTo>
                <a:cubicBezTo>
                  <a:pt x="812" y="317"/>
                  <a:pt x="812" y="315"/>
                  <a:pt x="813" y="314"/>
                </a:cubicBezTo>
                <a:cubicBezTo>
                  <a:pt x="813" y="312"/>
                  <a:pt x="818" y="310"/>
                  <a:pt x="823" y="306"/>
                </a:cubicBezTo>
                <a:cubicBezTo>
                  <a:pt x="827" y="303"/>
                  <a:pt x="829" y="301"/>
                  <a:pt x="830" y="298"/>
                </a:cubicBezTo>
                <a:cubicBezTo>
                  <a:pt x="831" y="296"/>
                  <a:pt x="838" y="294"/>
                  <a:pt x="838" y="292"/>
                </a:cubicBezTo>
                <a:cubicBezTo>
                  <a:pt x="838" y="290"/>
                  <a:pt x="846" y="286"/>
                  <a:pt x="851" y="285"/>
                </a:cubicBezTo>
                <a:cubicBezTo>
                  <a:pt x="856" y="284"/>
                  <a:pt x="864" y="286"/>
                  <a:pt x="866" y="287"/>
                </a:cubicBezTo>
                <a:cubicBezTo>
                  <a:pt x="867" y="289"/>
                  <a:pt x="868" y="288"/>
                  <a:pt x="869" y="287"/>
                </a:cubicBezTo>
                <a:cubicBezTo>
                  <a:pt x="870" y="286"/>
                  <a:pt x="872" y="286"/>
                  <a:pt x="876" y="287"/>
                </a:cubicBezTo>
                <a:cubicBezTo>
                  <a:pt x="879" y="287"/>
                  <a:pt x="880" y="285"/>
                  <a:pt x="882" y="286"/>
                </a:cubicBezTo>
                <a:cubicBezTo>
                  <a:pt x="885" y="287"/>
                  <a:pt x="887" y="287"/>
                  <a:pt x="888" y="284"/>
                </a:cubicBezTo>
                <a:cubicBezTo>
                  <a:pt x="890" y="282"/>
                  <a:pt x="896" y="282"/>
                  <a:pt x="898" y="283"/>
                </a:cubicBezTo>
                <a:cubicBezTo>
                  <a:pt x="899" y="284"/>
                  <a:pt x="900" y="286"/>
                  <a:pt x="903" y="284"/>
                </a:cubicBezTo>
                <a:cubicBezTo>
                  <a:pt x="905" y="283"/>
                  <a:pt x="905" y="286"/>
                  <a:pt x="908" y="287"/>
                </a:cubicBezTo>
                <a:cubicBezTo>
                  <a:pt x="910" y="287"/>
                  <a:pt x="909" y="289"/>
                  <a:pt x="907" y="289"/>
                </a:cubicBezTo>
                <a:cubicBezTo>
                  <a:pt x="904" y="289"/>
                  <a:pt x="902" y="290"/>
                  <a:pt x="904" y="291"/>
                </a:cubicBezTo>
                <a:cubicBezTo>
                  <a:pt x="907" y="292"/>
                  <a:pt x="909" y="290"/>
                  <a:pt x="911" y="290"/>
                </a:cubicBezTo>
                <a:cubicBezTo>
                  <a:pt x="913" y="290"/>
                  <a:pt x="916" y="291"/>
                  <a:pt x="918" y="289"/>
                </a:cubicBezTo>
                <a:cubicBezTo>
                  <a:pt x="921" y="287"/>
                  <a:pt x="922" y="290"/>
                  <a:pt x="923" y="289"/>
                </a:cubicBezTo>
                <a:cubicBezTo>
                  <a:pt x="925" y="287"/>
                  <a:pt x="929" y="287"/>
                  <a:pt x="930" y="287"/>
                </a:cubicBezTo>
                <a:cubicBezTo>
                  <a:pt x="932" y="287"/>
                  <a:pt x="931" y="285"/>
                  <a:pt x="928" y="285"/>
                </a:cubicBezTo>
                <a:cubicBezTo>
                  <a:pt x="925" y="285"/>
                  <a:pt x="925" y="283"/>
                  <a:pt x="927" y="279"/>
                </a:cubicBezTo>
                <a:cubicBezTo>
                  <a:pt x="930" y="275"/>
                  <a:pt x="934" y="273"/>
                  <a:pt x="937" y="270"/>
                </a:cubicBezTo>
                <a:cubicBezTo>
                  <a:pt x="940" y="268"/>
                  <a:pt x="942" y="269"/>
                  <a:pt x="942" y="267"/>
                </a:cubicBezTo>
                <a:cubicBezTo>
                  <a:pt x="942" y="266"/>
                  <a:pt x="944" y="261"/>
                  <a:pt x="946" y="261"/>
                </a:cubicBezTo>
                <a:cubicBezTo>
                  <a:pt x="948" y="261"/>
                  <a:pt x="954" y="262"/>
                  <a:pt x="957" y="260"/>
                </a:cubicBezTo>
                <a:cubicBezTo>
                  <a:pt x="961" y="258"/>
                  <a:pt x="960" y="261"/>
                  <a:pt x="962" y="262"/>
                </a:cubicBezTo>
                <a:cubicBezTo>
                  <a:pt x="963" y="262"/>
                  <a:pt x="965" y="259"/>
                  <a:pt x="967" y="260"/>
                </a:cubicBezTo>
                <a:cubicBezTo>
                  <a:pt x="969" y="261"/>
                  <a:pt x="964" y="263"/>
                  <a:pt x="963" y="266"/>
                </a:cubicBezTo>
                <a:cubicBezTo>
                  <a:pt x="963" y="269"/>
                  <a:pt x="966" y="268"/>
                  <a:pt x="967" y="269"/>
                </a:cubicBezTo>
                <a:cubicBezTo>
                  <a:pt x="969" y="270"/>
                  <a:pt x="965" y="271"/>
                  <a:pt x="966" y="272"/>
                </a:cubicBezTo>
                <a:cubicBezTo>
                  <a:pt x="966" y="273"/>
                  <a:pt x="969" y="273"/>
                  <a:pt x="974" y="268"/>
                </a:cubicBezTo>
                <a:cubicBezTo>
                  <a:pt x="978" y="264"/>
                  <a:pt x="982" y="262"/>
                  <a:pt x="985" y="263"/>
                </a:cubicBezTo>
                <a:cubicBezTo>
                  <a:pt x="988" y="263"/>
                  <a:pt x="987" y="260"/>
                  <a:pt x="987" y="256"/>
                </a:cubicBezTo>
                <a:cubicBezTo>
                  <a:pt x="987" y="252"/>
                  <a:pt x="996" y="251"/>
                  <a:pt x="999" y="252"/>
                </a:cubicBezTo>
                <a:cubicBezTo>
                  <a:pt x="1001" y="253"/>
                  <a:pt x="1001" y="254"/>
                  <a:pt x="998" y="253"/>
                </a:cubicBezTo>
                <a:cubicBezTo>
                  <a:pt x="996" y="253"/>
                  <a:pt x="993" y="255"/>
                  <a:pt x="993" y="259"/>
                </a:cubicBezTo>
                <a:cubicBezTo>
                  <a:pt x="993" y="262"/>
                  <a:pt x="991" y="263"/>
                  <a:pt x="992" y="265"/>
                </a:cubicBezTo>
                <a:cubicBezTo>
                  <a:pt x="993" y="266"/>
                  <a:pt x="990" y="266"/>
                  <a:pt x="990" y="268"/>
                </a:cubicBezTo>
                <a:cubicBezTo>
                  <a:pt x="990" y="269"/>
                  <a:pt x="990" y="270"/>
                  <a:pt x="988" y="271"/>
                </a:cubicBezTo>
                <a:cubicBezTo>
                  <a:pt x="986" y="271"/>
                  <a:pt x="979" y="272"/>
                  <a:pt x="979" y="275"/>
                </a:cubicBezTo>
                <a:cubicBezTo>
                  <a:pt x="979" y="277"/>
                  <a:pt x="975" y="278"/>
                  <a:pt x="973" y="281"/>
                </a:cubicBezTo>
                <a:cubicBezTo>
                  <a:pt x="972" y="284"/>
                  <a:pt x="965" y="286"/>
                  <a:pt x="961" y="293"/>
                </a:cubicBezTo>
                <a:cubicBezTo>
                  <a:pt x="956" y="299"/>
                  <a:pt x="949" y="299"/>
                  <a:pt x="949" y="300"/>
                </a:cubicBezTo>
                <a:cubicBezTo>
                  <a:pt x="949" y="302"/>
                  <a:pt x="945" y="302"/>
                  <a:pt x="943" y="302"/>
                </a:cubicBezTo>
                <a:cubicBezTo>
                  <a:pt x="941" y="302"/>
                  <a:pt x="944" y="306"/>
                  <a:pt x="941" y="310"/>
                </a:cubicBezTo>
                <a:cubicBezTo>
                  <a:pt x="937" y="314"/>
                  <a:pt x="934" y="320"/>
                  <a:pt x="934" y="326"/>
                </a:cubicBezTo>
                <a:cubicBezTo>
                  <a:pt x="934" y="332"/>
                  <a:pt x="936" y="348"/>
                  <a:pt x="938" y="351"/>
                </a:cubicBezTo>
                <a:cubicBezTo>
                  <a:pt x="940" y="354"/>
                  <a:pt x="939" y="361"/>
                  <a:pt x="940" y="363"/>
                </a:cubicBezTo>
                <a:cubicBezTo>
                  <a:pt x="942" y="365"/>
                  <a:pt x="941" y="367"/>
                  <a:pt x="942" y="368"/>
                </a:cubicBezTo>
                <a:cubicBezTo>
                  <a:pt x="943" y="369"/>
                  <a:pt x="947" y="364"/>
                  <a:pt x="949" y="362"/>
                </a:cubicBezTo>
                <a:cubicBezTo>
                  <a:pt x="952" y="360"/>
                  <a:pt x="951" y="359"/>
                  <a:pt x="953" y="358"/>
                </a:cubicBezTo>
                <a:cubicBezTo>
                  <a:pt x="954" y="357"/>
                  <a:pt x="954" y="352"/>
                  <a:pt x="954" y="351"/>
                </a:cubicBezTo>
                <a:cubicBezTo>
                  <a:pt x="955" y="350"/>
                  <a:pt x="958" y="349"/>
                  <a:pt x="959" y="348"/>
                </a:cubicBezTo>
                <a:cubicBezTo>
                  <a:pt x="960" y="346"/>
                  <a:pt x="963" y="347"/>
                  <a:pt x="964" y="347"/>
                </a:cubicBezTo>
                <a:cubicBezTo>
                  <a:pt x="965" y="346"/>
                  <a:pt x="964" y="343"/>
                  <a:pt x="963" y="341"/>
                </a:cubicBezTo>
                <a:cubicBezTo>
                  <a:pt x="963" y="339"/>
                  <a:pt x="968" y="336"/>
                  <a:pt x="970" y="335"/>
                </a:cubicBezTo>
                <a:cubicBezTo>
                  <a:pt x="972" y="333"/>
                  <a:pt x="976" y="336"/>
                  <a:pt x="978" y="333"/>
                </a:cubicBezTo>
                <a:cubicBezTo>
                  <a:pt x="981" y="331"/>
                  <a:pt x="978" y="328"/>
                  <a:pt x="977" y="326"/>
                </a:cubicBezTo>
                <a:cubicBezTo>
                  <a:pt x="976" y="325"/>
                  <a:pt x="980" y="319"/>
                  <a:pt x="982" y="318"/>
                </a:cubicBezTo>
                <a:cubicBezTo>
                  <a:pt x="984" y="317"/>
                  <a:pt x="985" y="319"/>
                  <a:pt x="987" y="318"/>
                </a:cubicBezTo>
                <a:cubicBezTo>
                  <a:pt x="989" y="316"/>
                  <a:pt x="985" y="313"/>
                  <a:pt x="984" y="313"/>
                </a:cubicBezTo>
                <a:cubicBezTo>
                  <a:pt x="983" y="313"/>
                  <a:pt x="982" y="308"/>
                  <a:pt x="985" y="305"/>
                </a:cubicBezTo>
                <a:cubicBezTo>
                  <a:pt x="989" y="303"/>
                  <a:pt x="987" y="302"/>
                  <a:pt x="985" y="302"/>
                </a:cubicBezTo>
                <a:cubicBezTo>
                  <a:pt x="983" y="301"/>
                  <a:pt x="983" y="302"/>
                  <a:pt x="981" y="302"/>
                </a:cubicBezTo>
                <a:cubicBezTo>
                  <a:pt x="979" y="302"/>
                  <a:pt x="977" y="298"/>
                  <a:pt x="980" y="295"/>
                </a:cubicBezTo>
                <a:cubicBezTo>
                  <a:pt x="983" y="291"/>
                  <a:pt x="985" y="292"/>
                  <a:pt x="986" y="289"/>
                </a:cubicBezTo>
                <a:cubicBezTo>
                  <a:pt x="986" y="286"/>
                  <a:pt x="990" y="282"/>
                  <a:pt x="991" y="280"/>
                </a:cubicBezTo>
                <a:cubicBezTo>
                  <a:pt x="992" y="279"/>
                  <a:pt x="996" y="280"/>
                  <a:pt x="997" y="280"/>
                </a:cubicBezTo>
                <a:cubicBezTo>
                  <a:pt x="998" y="279"/>
                  <a:pt x="998" y="282"/>
                  <a:pt x="1000" y="281"/>
                </a:cubicBezTo>
                <a:cubicBezTo>
                  <a:pt x="1001" y="279"/>
                  <a:pt x="1004" y="274"/>
                  <a:pt x="1007" y="274"/>
                </a:cubicBezTo>
                <a:cubicBezTo>
                  <a:pt x="1009" y="274"/>
                  <a:pt x="1007" y="278"/>
                  <a:pt x="1008" y="280"/>
                </a:cubicBezTo>
                <a:cubicBezTo>
                  <a:pt x="1009" y="283"/>
                  <a:pt x="1010" y="280"/>
                  <a:pt x="1014" y="277"/>
                </a:cubicBezTo>
                <a:cubicBezTo>
                  <a:pt x="1019" y="274"/>
                  <a:pt x="1029" y="274"/>
                  <a:pt x="1032" y="275"/>
                </a:cubicBezTo>
                <a:cubicBezTo>
                  <a:pt x="1035" y="277"/>
                  <a:pt x="1035" y="280"/>
                  <a:pt x="1037" y="280"/>
                </a:cubicBezTo>
                <a:cubicBezTo>
                  <a:pt x="1039" y="279"/>
                  <a:pt x="1037" y="276"/>
                  <a:pt x="1040" y="276"/>
                </a:cubicBezTo>
                <a:cubicBezTo>
                  <a:pt x="1042" y="275"/>
                  <a:pt x="1046" y="272"/>
                  <a:pt x="1050" y="270"/>
                </a:cubicBezTo>
                <a:cubicBezTo>
                  <a:pt x="1053" y="268"/>
                  <a:pt x="1052" y="269"/>
                  <a:pt x="1054" y="267"/>
                </a:cubicBezTo>
                <a:cubicBezTo>
                  <a:pt x="1055" y="265"/>
                  <a:pt x="1057" y="266"/>
                  <a:pt x="1058" y="265"/>
                </a:cubicBezTo>
                <a:cubicBezTo>
                  <a:pt x="1058" y="263"/>
                  <a:pt x="1063" y="261"/>
                  <a:pt x="1069" y="260"/>
                </a:cubicBezTo>
                <a:cubicBezTo>
                  <a:pt x="1076" y="258"/>
                  <a:pt x="1084" y="254"/>
                  <a:pt x="1084" y="252"/>
                </a:cubicBezTo>
                <a:cubicBezTo>
                  <a:pt x="1083" y="251"/>
                  <a:pt x="1086" y="251"/>
                  <a:pt x="1086" y="252"/>
                </a:cubicBezTo>
                <a:cubicBezTo>
                  <a:pt x="1087" y="253"/>
                  <a:pt x="1089" y="253"/>
                  <a:pt x="1092" y="253"/>
                </a:cubicBezTo>
                <a:cubicBezTo>
                  <a:pt x="1096" y="254"/>
                  <a:pt x="1097" y="255"/>
                  <a:pt x="1100" y="253"/>
                </a:cubicBezTo>
                <a:cubicBezTo>
                  <a:pt x="1103" y="250"/>
                  <a:pt x="1100" y="249"/>
                  <a:pt x="1100" y="247"/>
                </a:cubicBezTo>
                <a:cubicBezTo>
                  <a:pt x="1100" y="245"/>
                  <a:pt x="1095" y="243"/>
                  <a:pt x="1096" y="241"/>
                </a:cubicBezTo>
                <a:cubicBezTo>
                  <a:pt x="1096" y="239"/>
                  <a:pt x="1092" y="233"/>
                  <a:pt x="1091" y="234"/>
                </a:cubicBezTo>
                <a:cubicBezTo>
                  <a:pt x="1090" y="235"/>
                  <a:pt x="1087" y="233"/>
                  <a:pt x="1087" y="232"/>
                </a:cubicBezTo>
                <a:cubicBezTo>
                  <a:pt x="1087" y="230"/>
                  <a:pt x="1087" y="228"/>
                  <a:pt x="1085" y="229"/>
                </a:cubicBezTo>
                <a:cubicBezTo>
                  <a:pt x="1083" y="230"/>
                  <a:pt x="1080" y="230"/>
                  <a:pt x="1079" y="228"/>
                </a:cubicBezTo>
                <a:cubicBezTo>
                  <a:pt x="1078" y="226"/>
                  <a:pt x="1083" y="225"/>
                  <a:pt x="1086" y="226"/>
                </a:cubicBezTo>
                <a:cubicBezTo>
                  <a:pt x="1089" y="227"/>
                  <a:pt x="1088" y="229"/>
                  <a:pt x="1090" y="229"/>
                </a:cubicBezTo>
                <a:cubicBezTo>
                  <a:pt x="1091" y="230"/>
                  <a:pt x="1095" y="230"/>
                  <a:pt x="1097" y="229"/>
                </a:cubicBezTo>
                <a:cubicBezTo>
                  <a:pt x="1099" y="228"/>
                  <a:pt x="1105" y="226"/>
                  <a:pt x="1107" y="224"/>
                </a:cubicBezTo>
                <a:cubicBezTo>
                  <a:pt x="1108" y="223"/>
                  <a:pt x="1106" y="222"/>
                  <a:pt x="1108" y="221"/>
                </a:cubicBezTo>
                <a:cubicBezTo>
                  <a:pt x="1110" y="220"/>
                  <a:pt x="1109" y="218"/>
                  <a:pt x="1107" y="217"/>
                </a:cubicBezTo>
                <a:cubicBezTo>
                  <a:pt x="1105" y="216"/>
                  <a:pt x="1106" y="213"/>
                  <a:pt x="1108" y="213"/>
                </a:cubicBezTo>
                <a:cubicBezTo>
                  <a:pt x="1110" y="213"/>
                  <a:pt x="1109" y="211"/>
                  <a:pt x="1110" y="211"/>
                </a:cubicBezTo>
                <a:cubicBezTo>
                  <a:pt x="1112" y="211"/>
                  <a:pt x="1112" y="212"/>
                  <a:pt x="1114" y="211"/>
                </a:cubicBezTo>
                <a:cubicBezTo>
                  <a:pt x="1116" y="210"/>
                  <a:pt x="1114" y="213"/>
                  <a:pt x="1113" y="215"/>
                </a:cubicBezTo>
                <a:cubicBezTo>
                  <a:pt x="1112" y="216"/>
                  <a:pt x="1115" y="218"/>
                  <a:pt x="1115" y="219"/>
                </a:cubicBezTo>
                <a:cubicBezTo>
                  <a:pt x="1116" y="220"/>
                  <a:pt x="1120" y="221"/>
                  <a:pt x="1123" y="219"/>
                </a:cubicBezTo>
                <a:cubicBezTo>
                  <a:pt x="1125" y="218"/>
                  <a:pt x="1133" y="221"/>
                  <a:pt x="1133" y="223"/>
                </a:cubicBezTo>
                <a:cubicBezTo>
                  <a:pt x="1134" y="225"/>
                  <a:pt x="1135" y="227"/>
                  <a:pt x="1138" y="229"/>
                </a:cubicBezTo>
                <a:cubicBezTo>
                  <a:pt x="1142" y="230"/>
                  <a:pt x="1144" y="230"/>
                  <a:pt x="1145" y="231"/>
                </a:cubicBezTo>
                <a:cubicBezTo>
                  <a:pt x="1146" y="233"/>
                  <a:pt x="1147" y="234"/>
                  <a:pt x="1149" y="233"/>
                </a:cubicBezTo>
                <a:cubicBezTo>
                  <a:pt x="1151" y="233"/>
                  <a:pt x="1152" y="235"/>
                  <a:pt x="1153" y="234"/>
                </a:cubicBezTo>
                <a:cubicBezTo>
                  <a:pt x="1154" y="232"/>
                  <a:pt x="1155" y="234"/>
                  <a:pt x="1157" y="233"/>
                </a:cubicBezTo>
                <a:cubicBezTo>
                  <a:pt x="1158" y="231"/>
                  <a:pt x="1153" y="230"/>
                  <a:pt x="1154" y="229"/>
                </a:cubicBezTo>
                <a:cubicBezTo>
                  <a:pt x="1154" y="228"/>
                  <a:pt x="1155" y="230"/>
                  <a:pt x="1157" y="230"/>
                </a:cubicBezTo>
                <a:cubicBezTo>
                  <a:pt x="1159" y="230"/>
                  <a:pt x="1157" y="227"/>
                  <a:pt x="1158" y="227"/>
                </a:cubicBezTo>
                <a:cubicBezTo>
                  <a:pt x="1159" y="226"/>
                  <a:pt x="1158" y="220"/>
                  <a:pt x="1157" y="220"/>
                </a:cubicBezTo>
                <a:cubicBezTo>
                  <a:pt x="1155" y="219"/>
                  <a:pt x="1156" y="217"/>
                  <a:pt x="1159" y="219"/>
                </a:cubicBezTo>
                <a:cubicBezTo>
                  <a:pt x="1161" y="221"/>
                  <a:pt x="1165" y="220"/>
                  <a:pt x="1167" y="220"/>
                </a:cubicBezTo>
                <a:cubicBezTo>
                  <a:pt x="1168" y="220"/>
                  <a:pt x="1167" y="219"/>
                  <a:pt x="1165" y="219"/>
                </a:cubicBezTo>
                <a:cubicBezTo>
                  <a:pt x="1163" y="218"/>
                  <a:pt x="1165" y="217"/>
                  <a:pt x="1166" y="218"/>
                </a:cubicBezTo>
                <a:cubicBezTo>
                  <a:pt x="1168" y="219"/>
                  <a:pt x="1170" y="220"/>
                  <a:pt x="1170" y="218"/>
                </a:cubicBezTo>
                <a:cubicBezTo>
                  <a:pt x="1170" y="217"/>
                  <a:pt x="1172" y="215"/>
                  <a:pt x="1174" y="215"/>
                </a:cubicBezTo>
                <a:cubicBezTo>
                  <a:pt x="1176" y="215"/>
                  <a:pt x="1177" y="213"/>
                  <a:pt x="1175" y="213"/>
                </a:cubicBezTo>
                <a:close/>
                <a:moveTo>
                  <a:pt x="607" y="346"/>
                </a:moveTo>
                <a:cubicBezTo>
                  <a:pt x="601" y="352"/>
                  <a:pt x="590" y="353"/>
                  <a:pt x="590" y="357"/>
                </a:cubicBezTo>
                <a:cubicBezTo>
                  <a:pt x="590" y="361"/>
                  <a:pt x="575" y="363"/>
                  <a:pt x="574" y="362"/>
                </a:cubicBezTo>
                <a:cubicBezTo>
                  <a:pt x="573" y="360"/>
                  <a:pt x="585" y="359"/>
                  <a:pt x="587" y="353"/>
                </a:cubicBezTo>
                <a:cubicBezTo>
                  <a:pt x="590" y="347"/>
                  <a:pt x="601" y="344"/>
                  <a:pt x="606" y="336"/>
                </a:cubicBezTo>
                <a:cubicBezTo>
                  <a:pt x="609" y="330"/>
                  <a:pt x="612" y="321"/>
                  <a:pt x="615" y="322"/>
                </a:cubicBezTo>
                <a:cubicBezTo>
                  <a:pt x="617" y="323"/>
                  <a:pt x="613" y="341"/>
                  <a:pt x="607" y="346"/>
                </a:cubicBezTo>
                <a:close/>
                <a:moveTo>
                  <a:pt x="298" y="14"/>
                </a:moveTo>
                <a:cubicBezTo>
                  <a:pt x="299" y="12"/>
                  <a:pt x="295" y="12"/>
                  <a:pt x="295" y="10"/>
                </a:cubicBezTo>
                <a:cubicBezTo>
                  <a:pt x="294" y="8"/>
                  <a:pt x="283" y="8"/>
                  <a:pt x="284" y="10"/>
                </a:cubicBezTo>
                <a:cubicBezTo>
                  <a:pt x="284" y="12"/>
                  <a:pt x="276" y="14"/>
                  <a:pt x="278" y="16"/>
                </a:cubicBezTo>
                <a:cubicBezTo>
                  <a:pt x="283" y="20"/>
                  <a:pt x="296" y="16"/>
                  <a:pt x="298" y="14"/>
                </a:cubicBezTo>
                <a:close/>
                <a:moveTo>
                  <a:pt x="242" y="13"/>
                </a:moveTo>
                <a:cubicBezTo>
                  <a:pt x="245" y="17"/>
                  <a:pt x="265" y="15"/>
                  <a:pt x="266" y="11"/>
                </a:cubicBezTo>
                <a:cubicBezTo>
                  <a:pt x="266" y="6"/>
                  <a:pt x="259" y="10"/>
                  <a:pt x="254" y="7"/>
                </a:cubicBezTo>
                <a:cubicBezTo>
                  <a:pt x="248" y="5"/>
                  <a:pt x="245" y="5"/>
                  <a:pt x="249" y="8"/>
                </a:cubicBezTo>
                <a:cubicBezTo>
                  <a:pt x="250" y="10"/>
                  <a:pt x="240" y="11"/>
                  <a:pt x="242" y="13"/>
                </a:cubicBezTo>
                <a:close/>
                <a:moveTo>
                  <a:pt x="262" y="7"/>
                </a:moveTo>
                <a:cubicBezTo>
                  <a:pt x="267" y="7"/>
                  <a:pt x="266" y="4"/>
                  <a:pt x="269" y="4"/>
                </a:cubicBezTo>
                <a:cubicBezTo>
                  <a:pt x="272" y="4"/>
                  <a:pt x="276" y="4"/>
                  <a:pt x="275" y="2"/>
                </a:cubicBezTo>
                <a:cubicBezTo>
                  <a:pt x="273" y="0"/>
                  <a:pt x="261" y="1"/>
                  <a:pt x="262" y="3"/>
                </a:cubicBezTo>
                <a:cubicBezTo>
                  <a:pt x="264" y="4"/>
                  <a:pt x="253" y="4"/>
                  <a:pt x="253" y="4"/>
                </a:cubicBezTo>
                <a:cubicBezTo>
                  <a:pt x="254" y="5"/>
                  <a:pt x="257" y="7"/>
                  <a:pt x="262" y="7"/>
                </a:cubicBezTo>
                <a:close/>
                <a:moveTo>
                  <a:pt x="243" y="117"/>
                </a:moveTo>
                <a:cubicBezTo>
                  <a:pt x="247" y="117"/>
                  <a:pt x="241" y="117"/>
                  <a:pt x="241" y="120"/>
                </a:cubicBezTo>
                <a:cubicBezTo>
                  <a:pt x="242" y="123"/>
                  <a:pt x="235" y="121"/>
                  <a:pt x="235" y="123"/>
                </a:cubicBezTo>
                <a:cubicBezTo>
                  <a:pt x="235" y="126"/>
                  <a:pt x="234" y="127"/>
                  <a:pt x="230" y="127"/>
                </a:cubicBezTo>
                <a:cubicBezTo>
                  <a:pt x="226" y="127"/>
                  <a:pt x="232" y="129"/>
                  <a:pt x="233" y="132"/>
                </a:cubicBezTo>
                <a:cubicBezTo>
                  <a:pt x="233" y="134"/>
                  <a:pt x="229" y="132"/>
                  <a:pt x="228" y="136"/>
                </a:cubicBezTo>
                <a:cubicBezTo>
                  <a:pt x="228" y="139"/>
                  <a:pt x="221" y="136"/>
                  <a:pt x="220" y="140"/>
                </a:cubicBezTo>
                <a:cubicBezTo>
                  <a:pt x="219" y="145"/>
                  <a:pt x="224" y="144"/>
                  <a:pt x="227" y="144"/>
                </a:cubicBezTo>
                <a:cubicBezTo>
                  <a:pt x="230" y="144"/>
                  <a:pt x="226" y="148"/>
                  <a:pt x="228" y="149"/>
                </a:cubicBezTo>
                <a:cubicBezTo>
                  <a:pt x="231" y="151"/>
                  <a:pt x="232" y="151"/>
                  <a:pt x="231" y="147"/>
                </a:cubicBezTo>
                <a:cubicBezTo>
                  <a:pt x="229" y="144"/>
                  <a:pt x="239" y="148"/>
                  <a:pt x="236" y="151"/>
                </a:cubicBezTo>
                <a:cubicBezTo>
                  <a:pt x="233" y="154"/>
                  <a:pt x="241" y="156"/>
                  <a:pt x="245" y="156"/>
                </a:cubicBezTo>
                <a:cubicBezTo>
                  <a:pt x="249" y="156"/>
                  <a:pt x="263" y="159"/>
                  <a:pt x="263" y="156"/>
                </a:cubicBezTo>
                <a:cubicBezTo>
                  <a:pt x="263" y="154"/>
                  <a:pt x="258" y="152"/>
                  <a:pt x="254" y="148"/>
                </a:cubicBezTo>
                <a:cubicBezTo>
                  <a:pt x="249" y="143"/>
                  <a:pt x="246" y="136"/>
                  <a:pt x="251" y="133"/>
                </a:cubicBezTo>
                <a:cubicBezTo>
                  <a:pt x="256" y="130"/>
                  <a:pt x="252" y="128"/>
                  <a:pt x="257" y="125"/>
                </a:cubicBezTo>
                <a:cubicBezTo>
                  <a:pt x="261" y="121"/>
                  <a:pt x="259" y="118"/>
                  <a:pt x="263" y="118"/>
                </a:cubicBezTo>
                <a:cubicBezTo>
                  <a:pt x="267" y="117"/>
                  <a:pt x="262" y="114"/>
                  <a:pt x="266" y="113"/>
                </a:cubicBezTo>
                <a:cubicBezTo>
                  <a:pt x="270" y="112"/>
                  <a:pt x="271" y="108"/>
                  <a:pt x="271" y="106"/>
                </a:cubicBezTo>
                <a:cubicBezTo>
                  <a:pt x="270" y="105"/>
                  <a:pt x="275" y="106"/>
                  <a:pt x="277" y="104"/>
                </a:cubicBezTo>
                <a:cubicBezTo>
                  <a:pt x="279" y="102"/>
                  <a:pt x="285" y="103"/>
                  <a:pt x="286" y="100"/>
                </a:cubicBezTo>
                <a:cubicBezTo>
                  <a:pt x="288" y="96"/>
                  <a:pt x="311" y="88"/>
                  <a:pt x="325" y="85"/>
                </a:cubicBezTo>
                <a:cubicBezTo>
                  <a:pt x="338" y="82"/>
                  <a:pt x="347" y="77"/>
                  <a:pt x="342" y="73"/>
                </a:cubicBezTo>
                <a:cubicBezTo>
                  <a:pt x="338" y="69"/>
                  <a:pt x="324" y="74"/>
                  <a:pt x="321" y="77"/>
                </a:cubicBezTo>
                <a:cubicBezTo>
                  <a:pt x="318" y="80"/>
                  <a:pt x="313" y="78"/>
                  <a:pt x="310" y="80"/>
                </a:cubicBezTo>
                <a:cubicBezTo>
                  <a:pt x="307" y="82"/>
                  <a:pt x="300" y="83"/>
                  <a:pt x="296" y="81"/>
                </a:cubicBezTo>
                <a:cubicBezTo>
                  <a:pt x="293" y="79"/>
                  <a:pt x="289" y="84"/>
                  <a:pt x="286" y="83"/>
                </a:cubicBezTo>
                <a:cubicBezTo>
                  <a:pt x="283" y="83"/>
                  <a:pt x="280" y="86"/>
                  <a:pt x="278" y="86"/>
                </a:cubicBezTo>
                <a:cubicBezTo>
                  <a:pt x="275" y="86"/>
                  <a:pt x="269" y="88"/>
                  <a:pt x="269" y="90"/>
                </a:cubicBezTo>
                <a:cubicBezTo>
                  <a:pt x="268" y="91"/>
                  <a:pt x="263" y="91"/>
                  <a:pt x="263" y="93"/>
                </a:cubicBezTo>
                <a:cubicBezTo>
                  <a:pt x="263" y="95"/>
                  <a:pt x="259" y="97"/>
                  <a:pt x="257" y="95"/>
                </a:cubicBezTo>
                <a:cubicBezTo>
                  <a:pt x="255" y="93"/>
                  <a:pt x="253" y="97"/>
                  <a:pt x="256" y="100"/>
                </a:cubicBezTo>
                <a:cubicBezTo>
                  <a:pt x="259" y="102"/>
                  <a:pt x="250" y="103"/>
                  <a:pt x="252" y="104"/>
                </a:cubicBezTo>
                <a:cubicBezTo>
                  <a:pt x="253" y="106"/>
                  <a:pt x="249" y="107"/>
                  <a:pt x="250" y="109"/>
                </a:cubicBezTo>
                <a:cubicBezTo>
                  <a:pt x="251" y="110"/>
                  <a:pt x="247" y="111"/>
                  <a:pt x="244" y="112"/>
                </a:cubicBezTo>
                <a:cubicBezTo>
                  <a:pt x="241" y="112"/>
                  <a:pt x="239" y="116"/>
                  <a:pt x="243" y="117"/>
                </a:cubicBezTo>
                <a:close/>
                <a:moveTo>
                  <a:pt x="237" y="20"/>
                </a:moveTo>
                <a:cubicBezTo>
                  <a:pt x="237" y="17"/>
                  <a:pt x="226" y="21"/>
                  <a:pt x="228" y="21"/>
                </a:cubicBezTo>
                <a:cubicBezTo>
                  <a:pt x="230" y="22"/>
                  <a:pt x="237" y="24"/>
                  <a:pt x="237" y="20"/>
                </a:cubicBezTo>
                <a:close/>
                <a:moveTo>
                  <a:pt x="199" y="17"/>
                </a:moveTo>
                <a:cubicBezTo>
                  <a:pt x="197" y="19"/>
                  <a:pt x="191" y="18"/>
                  <a:pt x="192" y="21"/>
                </a:cubicBezTo>
                <a:cubicBezTo>
                  <a:pt x="193" y="23"/>
                  <a:pt x="204" y="23"/>
                  <a:pt x="204" y="21"/>
                </a:cubicBezTo>
                <a:cubicBezTo>
                  <a:pt x="204" y="19"/>
                  <a:pt x="209" y="21"/>
                  <a:pt x="209" y="19"/>
                </a:cubicBezTo>
                <a:cubicBezTo>
                  <a:pt x="209" y="17"/>
                  <a:pt x="212" y="15"/>
                  <a:pt x="217" y="15"/>
                </a:cubicBezTo>
                <a:cubicBezTo>
                  <a:pt x="223" y="15"/>
                  <a:pt x="223" y="13"/>
                  <a:pt x="218" y="10"/>
                </a:cubicBezTo>
                <a:cubicBezTo>
                  <a:pt x="212" y="8"/>
                  <a:pt x="205" y="12"/>
                  <a:pt x="208" y="14"/>
                </a:cubicBezTo>
                <a:cubicBezTo>
                  <a:pt x="211" y="16"/>
                  <a:pt x="200" y="15"/>
                  <a:pt x="199" y="1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7" name="Freeform 163"/>
          <p:cNvSpPr/>
          <p:nvPr/>
        </p:nvSpPr>
        <p:spPr bwMode="auto">
          <a:xfrm>
            <a:off x="4457180" y="3035748"/>
            <a:ext cx="358775" cy="376238"/>
          </a:xfrm>
          <a:custGeom>
            <a:avLst/>
            <a:gdLst>
              <a:gd name="T0" fmla="*/ 112 w 126"/>
              <a:gd name="T1" fmla="*/ 62 h 132"/>
              <a:gd name="T2" fmla="*/ 112 w 126"/>
              <a:gd name="T3" fmla="*/ 57 h 132"/>
              <a:gd name="T4" fmla="*/ 111 w 126"/>
              <a:gd name="T5" fmla="*/ 55 h 132"/>
              <a:gd name="T6" fmla="*/ 113 w 126"/>
              <a:gd name="T7" fmla="*/ 49 h 132"/>
              <a:gd name="T8" fmla="*/ 115 w 126"/>
              <a:gd name="T9" fmla="*/ 43 h 132"/>
              <a:gd name="T10" fmla="*/ 118 w 126"/>
              <a:gd name="T11" fmla="*/ 32 h 132"/>
              <a:gd name="T12" fmla="*/ 124 w 126"/>
              <a:gd name="T13" fmla="*/ 26 h 132"/>
              <a:gd name="T14" fmla="*/ 124 w 126"/>
              <a:gd name="T15" fmla="*/ 20 h 132"/>
              <a:gd name="T16" fmla="*/ 124 w 126"/>
              <a:gd name="T17" fmla="*/ 14 h 132"/>
              <a:gd name="T18" fmla="*/ 113 w 126"/>
              <a:gd name="T19" fmla="*/ 8 h 132"/>
              <a:gd name="T20" fmla="*/ 105 w 126"/>
              <a:gd name="T21" fmla="*/ 7 h 132"/>
              <a:gd name="T22" fmla="*/ 100 w 126"/>
              <a:gd name="T23" fmla="*/ 2 h 132"/>
              <a:gd name="T24" fmla="*/ 95 w 126"/>
              <a:gd name="T25" fmla="*/ 3 h 132"/>
              <a:gd name="T26" fmla="*/ 82 w 126"/>
              <a:gd name="T27" fmla="*/ 3 h 132"/>
              <a:gd name="T28" fmla="*/ 69 w 126"/>
              <a:gd name="T29" fmla="*/ 5 h 132"/>
              <a:gd name="T30" fmla="*/ 54 w 126"/>
              <a:gd name="T31" fmla="*/ 7 h 132"/>
              <a:gd name="T32" fmla="*/ 41 w 126"/>
              <a:gd name="T33" fmla="*/ 9 h 132"/>
              <a:gd name="T34" fmla="*/ 40 w 126"/>
              <a:gd name="T35" fmla="*/ 21 h 132"/>
              <a:gd name="T36" fmla="*/ 32 w 126"/>
              <a:gd name="T37" fmla="*/ 43 h 132"/>
              <a:gd name="T38" fmla="*/ 26 w 126"/>
              <a:gd name="T39" fmla="*/ 62 h 132"/>
              <a:gd name="T40" fmla="*/ 19 w 126"/>
              <a:gd name="T41" fmla="*/ 71 h 132"/>
              <a:gd name="T42" fmla="*/ 11 w 126"/>
              <a:gd name="T43" fmla="*/ 71 h 132"/>
              <a:gd name="T44" fmla="*/ 0 w 126"/>
              <a:gd name="T45" fmla="*/ 74 h 132"/>
              <a:gd name="T46" fmla="*/ 2 w 126"/>
              <a:gd name="T47" fmla="*/ 82 h 132"/>
              <a:gd name="T48" fmla="*/ 28 w 126"/>
              <a:gd name="T49" fmla="*/ 80 h 132"/>
              <a:gd name="T50" fmla="*/ 32 w 126"/>
              <a:gd name="T51" fmla="*/ 91 h 132"/>
              <a:gd name="T52" fmla="*/ 46 w 126"/>
              <a:gd name="T53" fmla="*/ 94 h 132"/>
              <a:gd name="T54" fmla="*/ 54 w 126"/>
              <a:gd name="T55" fmla="*/ 88 h 132"/>
              <a:gd name="T56" fmla="*/ 62 w 126"/>
              <a:gd name="T57" fmla="*/ 90 h 132"/>
              <a:gd name="T58" fmla="*/ 63 w 126"/>
              <a:gd name="T59" fmla="*/ 106 h 132"/>
              <a:gd name="T60" fmla="*/ 66 w 126"/>
              <a:gd name="T61" fmla="*/ 117 h 132"/>
              <a:gd name="T62" fmla="*/ 76 w 126"/>
              <a:gd name="T63" fmla="*/ 114 h 132"/>
              <a:gd name="T64" fmla="*/ 79 w 126"/>
              <a:gd name="T65" fmla="*/ 116 h 132"/>
              <a:gd name="T66" fmla="*/ 86 w 126"/>
              <a:gd name="T67" fmla="*/ 117 h 132"/>
              <a:gd name="T68" fmla="*/ 93 w 126"/>
              <a:gd name="T69" fmla="*/ 122 h 132"/>
              <a:gd name="T70" fmla="*/ 99 w 126"/>
              <a:gd name="T71" fmla="*/ 120 h 132"/>
              <a:gd name="T72" fmla="*/ 108 w 126"/>
              <a:gd name="T73" fmla="*/ 125 h 132"/>
              <a:gd name="T74" fmla="*/ 115 w 126"/>
              <a:gd name="T75" fmla="*/ 131 h 132"/>
              <a:gd name="T76" fmla="*/ 116 w 126"/>
              <a:gd name="T77" fmla="*/ 123 h 132"/>
              <a:gd name="T78" fmla="*/ 107 w 126"/>
              <a:gd name="T79" fmla="*/ 119 h 132"/>
              <a:gd name="T80" fmla="*/ 108 w 126"/>
              <a:gd name="T81" fmla="*/ 105 h 132"/>
              <a:gd name="T82" fmla="*/ 111 w 126"/>
              <a:gd name="T83" fmla="*/ 97 h 132"/>
              <a:gd name="T84" fmla="*/ 120 w 126"/>
              <a:gd name="T85" fmla="*/ 95 h 132"/>
              <a:gd name="T86" fmla="*/ 115 w 126"/>
              <a:gd name="T87" fmla="*/ 8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6" h="132">
                <a:moveTo>
                  <a:pt x="115" y="87"/>
                </a:moveTo>
                <a:cubicBezTo>
                  <a:pt x="112" y="86"/>
                  <a:pt x="110" y="62"/>
                  <a:pt x="112" y="62"/>
                </a:cubicBezTo>
                <a:cubicBezTo>
                  <a:pt x="112" y="62"/>
                  <a:pt x="112" y="62"/>
                  <a:pt x="113" y="63"/>
                </a:cubicBezTo>
                <a:cubicBezTo>
                  <a:pt x="112" y="57"/>
                  <a:pt x="112" y="57"/>
                  <a:pt x="112" y="57"/>
                </a:cubicBezTo>
                <a:cubicBezTo>
                  <a:pt x="112" y="57"/>
                  <a:pt x="112" y="57"/>
                  <a:pt x="112" y="57"/>
                </a:cubicBezTo>
                <a:cubicBezTo>
                  <a:pt x="111" y="57"/>
                  <a:pt x="111" y="56"/>
                  <a:pt x="111" y="55"/>
                </a:cubicBezTo>
                <a:cubicBezTo>
                  <a:pt x="111" y="53"/>
                  <a:pt x="112" y="53"/>
                  <a:pt x="112" y="53"/>
                </a:cubicBezTo>
                <a:cubicBezTo>
                  <a:pt x="112" y="53"/>
                  <a:pt x="112" y="49"/>
                  <a:pt x="113" y="49"/>
                </a:cubicBezTo>
                <a:cubicBezTo>
                  <a:pt x="114" y="49"/>
                  <a:pt x="114" y="48"/>
                  <a:pt x="114" y="48"/>
                </a:cubicBezTo>
                <a:cubicBezTo>
                  <a:pt x="115" y="47"/>
                  <a:pt x="115" y="45"/>
                  <a:pt x="115" y="43"/>
                </a:cubicBezTo>
                <a:cubicBezTo>
                  <a:pt x="115" y="41"/>
                  <a:pt x="116" y="39"/>
                  <a:pt x="117" y="37"/>
                </a:cubicBezTo>
                <a:cubicBezTo>
                  <a:pt x="117" y="35"/>
                  <a:pt x="117" y="33"/>
                  <a:pt x="118" y="32"/>
                </a:cubicBezTo>
                <a:cubicBezTo>
                  <a:pt x="120" y="31"/>
                  <a:pt x="119" y="29"/>
                  <a:pt x="121" y="28"/>
                </a:cubicBezTo>
                <a:cubicBezTo>
                  <a:pt x="122" y="28"/>
                  <a:pt x="124" y="27"/>
                  <a:pt x="124" y="26"/>
                </a:cubicBezTo>
                <a:cubicBezTo>
                  <a:pt x="124" y="26"/>
                  <a:pt x="126" y="24"/>
                  <a:pt x="126" y="23"/>
                </a:cubicBezTo>
                <a:cubicBezTo>
                  <a:pt x="126" y="22"/>
                  <a:pt x="124" y="21"/>
                  <a:pt x="124" y="20"/>
                </a:cubicBezTo>
                <a:cubicBezTo>
                  <a:pt x="124" y="18"/>
                  <a:pt x="124" y="14"/>
                  <a:pt x="124" y="14"/>
                </a:cubicBezTo>
                <a:cubicBezTo>
                  <a:pt x="124" y="14"/>
                  <a:pt x="124" y="14"/>
                  <a:pt x="124" y="14"/>
                </a:cubicBezTo>
                <a:cubicBezTo>
                  <a:pt x="121" y="11"/>
                  <a:pt x="117" y="7"/>
                  <a:pt x="116" y="7"/>
                </a:cubicBezTo>
                <a:cubicBezTo>
                  <a:pt x="115" y="6"/>
                  <a:pt x="113" y="8"/>
                  <a:pt x="113" y="8"/>
                </a:cubicBezTo>
                <a:cubicBezTo>
                  <a:pt x="113" y="8"/>
                  <a:pt x="111" y="6"/>
                  <a:pt x="109" y="7"/>
                </a:cubicBezTo>
                <a:cubicBezTo>
                  <a:pt x="107" y="9"/>
                  <a:pt x="105" y="7"/>
                  <a:pt x="105" y="7"/>
                </a:cubicBezTo>
                <a:cubicBezTo>
                  <a:pt x="105" y="7"/>
                  <a:pt x="103" y="6"/>
                  <a:pt x="102" y="4"/>
                </a:cubicBezTo>
                <a:cubicBezTo>
                  <a:pt x="101" y="3"/>
                  <a:pt x="101" y="3"/>
                  <a:pt x="100" y="2"/>
                </a:cubicBezTo>
                <a:cubicBezTo>
                  <a:pt x="100" y="2"/>
                  <a:pt x="100" y="2"/>
                  <a:pt x="100" y="2"/>
                </a:cubicBezTo>
                <a:cubicBezTo>
                  <a:pt x="95" y="3"/>
                  <a:pt x="95" y="3"/>
                  <a:pt x="95" y="3"/>
                </a:cubicBezTo>
                <a:cubicBezTo>
                  <a:pt x="95" y="3"/>
                  <a:pt x="89" y="0"/>
                  <a:pt x="87" y="2"/>
                </a:cubicBezTo>
                <a:cubicBezTo>
                  <a:pt x="86" y="5"/>
                  <a:pt x="85" y="3"/>
                  <a:pt x="82" y="3"/>
                </a:cubicBezTo>
                <a:cubicBezTo>
                  <a:pt x="79" y="3"/>
                  <a:pt x="76" y="5"/>
                  <a:pt x="75" y="5"/>
                </a:cubicBezTo>
                <a:cubicBezTo>
                  <a:pt x="73" y="6"/>
                  <a:pt x="70" y="5"/>
                  <a:pt x="69" y="5"/>
                </a:cubicBezTo>
                <a:cubicBezTo>
                  <a:pt x="68" y="6"/>
                  <a:pt x="67" y="10"/>
                  <a:pt x="67" y="10"/>
                </a:cubicBezTo>
                <a:cubicBezTo>
                  <a:pt x="54" y="7"/>
                  <a:pt x="54" y="7"/>
                  <a:pt x="54" y="7"/>
                </a:cubicBezTo>
                <a:cubicBezTo>
                  <a:pt x="54" y="7"/>
                  <a:pt x="51" y="4"/>
                  <a:pt x="48" y="4"/>
                </a:cubicBezTo>
                <a:cubicBezTo>
                  <a:pt x="45" y="4"/>
                  <a:pt x="41" y="9"/>
                  <a:pt x="41" y="9"/>
                </a:cubicBezTo>
                <a:cubicBezTo>
                  <a:pt x="41" y="14"/>
                  <a:pt x="41" y="14"/>
                  <a:pt x="41" y="14"/>
                </a:cubicBezTo>
                <a:cubicBezTo>
                  <a:pt x="42" y="17"/>
                  <a:pt x="41" y="19"/>
                  <a:pt x="40" y="21"/>
                </a:cubicBezTo>
                <a:cubicBezTo>
                  <a:pt x="39" y="23"/>
                  <a:pt x="38" y="24"/>
                  <a:pt x="38" y="28"/>
                </a:cubicBezTo>
                <a:cubicBezTo>
                  <a:pt x="38" y="32"/>
                  <a:pt x="32" y="39"/>
                  <a:pt x="32" y="43"/>
                </a:cubicBezTo>
                <a:cubicBezTo>
                  <a:pt x="32" y="46"/>
                  <a:pt x="26" y="48"/>
                  <a:pt x="26" y="50"/>
                </a:cubicBezTo>
                <a:cubicBezTo>
                  <a:pt x="26" y="52"/>
                  <a:pt x="26" y="57"/>
                  <a:pt x="26" y="62"/>
                </a:cubicBezTo>
                <a:cubicBezTo>
                  <a:pt x="26" y="66"/>
                  <a:pt x="23" y="63"/>
                  <a:pt x="23" y="67"/>
                </a:cubicBezTo>
                <a:cubicBezTo>
                  <a:pt x="23" y="71"/>
                  <a:pt x="21" y="69"/>
                  <a:pt x="19" y="71"/>
                </a:cubicBezTo>
                <a:cubicBezTo>
                  <a:pt x="17" y="73"/>
                  <a:pt x="16" y="73"/>
                  <a:pt x="16" y="71"/>
                </a:cubicBezTo>
                <a:cubicBezTo>
                  <a:pt x="16" y="69"/>
                  <a:pt x="13" y="69"/>
                  <a:pt x="11" y="71"/>
                </a:cubicBezTo>
                <a:cubicBezTo>
                  <a:pt x="8" y="73"/>
                  <a:pt x="7" y="71"/>
                  <a:pt x="6" y="70"/>
                </a:cubicBezTo>
                <a:cubicBezTo>
                  <a:pt x="5" y="70"/>
                  <a:pt x="2" y="72"/>
                  <a:pt x="0" y="74"/>
                </a:cubicBezTo>
                <a:cubicBezTo>
                  <a:pt x="1" y="76"/>
                  <a:pt x="2" y="79"/>
                  <a:pt x="2" y="81"/>
                </a:cubicBezTo>
                <a:cubicBezTo>
                  <a:pt x="2" y="82"/>
                  <a:pt x="2" y="82"/>
                  <a:pt x="2" y="82"/>
                </a:cubicBezTo>
                <a:cubicBezTo>
                  <a:pt x="4" y="81"/>
                  <a:pt x="5" y="80"/>
                  <a:pt x="6" y="80"/>
                </a:cubicBezTo>
                <a:cubicBezTo>
                  <a:pt x="8" y="80"/>
                  <a:pt x="28" y="80"/>
                  <a:pt x="28" y="80"/>
                </a:cubicBezTo>
                <a:cubicBezTo>
                  <a:pt x="28" y="80"/>
                  <a:pt x="30" y="83"/>
                  <a:pt x="30" y="86"/>
                </a:cubicBezTo>
                <a:cubicBezTo>
                  <a:pt x="29" y="88"/>
                  <a:pt x="31" y="87"/>
                  <a:pt x="32" y="91"/>
                </a:cubicBezTo>
                <a:cubicBezTo>
                  <a:pt x="34" y="95"/>
                  <a:pt x="35" y="96"/>
                  <a:pt x="38" y="95"/>
                </a:cubicBezTo>
                <a:cubicBezTo>
                  <a:pt x="41" y="94"/>
                  <a:pt x="45" y="94"/>
                  <a:pt x="46" y="94"/>
                </a:cubicBezTo>
                <a:cubicBezTo>
                  <a:pt x="47" y="94"/>
                  <a:pt x="47" y="89"/>
                  <a:pt x="49" y="88"/>
                </a:cubicBezTo>
                <a:cubicBezTo>
                  <a:pt x="51" y="87"/>
                  <a:pt x="54" y="88"/>
                  <a:pt x="54" y="88"/>
                </a:cubicBezTo>
                <a:cubicBezTo>
                  <a:pt x="54" y="88"/>
                  <a:pt x="55" y="89"/>
                  <a:pt x="58" y="89"/>
                </a:cubicBezTo>
                <a:cubicBezTo>
                  <a:pt x="61" y="89"/>
                  <a:pt x="62" y="88"/>
                  <a:pt x="62" y="90"/>
                </a:cubicBezTo>
                <a:cubicBezTo>
                  <a:pt x="62" y="92"/>
                  <a:pt x="63" y="95"/>
                  <a:pt x="64" y="96"/>
                </a:cubicBezTo>
                <a:cubicBezTo>
                  <a:pt x="64" y="97"/>
                  <a:pt x="61" y="104"/>
                  <a:pt x="63" y="106"/>
                </a:cubicBezTo>
                <a:cubicBezTo>
                  <a:pt x="64" y="107"/>
                  <a:pt x="66" y="110"/>
                  <a:pt x="66" y="111"/>
                </a:cubicBezTo>
                <a:cubicBezTo>
                  <a:pt x="66" y="113"/>
                  <a:pt x="65" y="116"/>
                  <a:pt x="66" y="117"/>
                </a:cubicBezTo>
                <a:cubicBezTo>
                  <a:pt x="67" y="117"/>
                  <a:pt x="67" y="115"/>
                  <a:pt x="70" y="115"/>
                </a:cubicBezTo>
                <a:cubicBezTo>
                  <a:pt x="72" y="115"/>
                  <a:pt x="74" y="115"/>
                  <a:pt x="76" y="114"/>
                </a:cubicBezTo>
                <a:cubicBezTo>
                  <a:pt x="76" y="114"/>
                  <a:pt x="77" y="114"/>
                  <a:pt x="78" y="114"/>
                </a:cubicBezTo>
                <a:cubicBezTo>
                  <a:pt x="79" y="115"/>
                  <a:pt x="79" y="116"/>
                  <a:pt x="79" y="116"/>
                </a:cubicBezTo>
                <a:cubicBezTo>
                  <a:pt x="79" y="116"/>
                  <a:pt x="80" y="118"/>
                  <a:pt x="81" y="117"/>
                </a:cubicBezTo>
                <a:cubicBezTo>
                  <a:pt x="82" y="117"/>
                  <a:pt x="86" y="116"/>
                  <a:pt x="86" y="117"/>
                </a:cubicBezTo>
                <a:cubicBezTo>
                  <a:pt x="85" y="118"/>
                  <a:pt x="86" y="121"/>
                  <a:pt x="88" y="121"/>
                </a:cubicBezTo>
                <a:cubicBezTo>
                  <a:pt x="89" y="120"/>
                  <a:pt x="92" y="122"/>
                  <a:pt x="93" y="122"/>
                </a:cubicBezTo>
                <a:cubicBezTo>
                  <a:pt x="95" y="122"/>
                  <a:pt x="96" y="122"/>
                  <a:pt x="96" y="121"/>
                </a:cubicBezTo>
                <a:cubicBezTo>
                  <a:pt x="96" y="121"/>
                  <a:pt x="98" y="119"/>
                  <a:pt x="99" y="120"/>
                </a:cubicBezTo>
                <a:cubicBezTo>
                  <a:pt x="100" y="121"/>
                  <a:pt x="101" y="124"/>
                  <a:pt x="103" y="124"/>
                </a:cubicBezTo>
                <a:cubicBezTo>
                  <a:pt x="104" y="124"/>
                  <a:pt x="108" y="124"/>
                  <a:pt x="108" y="125"/>
                </a:cubicBezTo>
                <a:cubicBezTo>
                  <a:pt x="108" y="127"/>
                  <a:pt x="109" y="130"/>
                  <a:pt x="111" y="131"/>
                </a:cubicBezTo>
                <a:cubicBezTo>
                  <a:pt x="112" y="132"/>
                  <a:pt x="115" y="131"/>
                  <a:pt x="115" y="131"/>
                </a:cubicBezTo>
                <a:cubicBezTo>
                  <a:pt x="115" y="131"/>
                  <a:pt x="117" y="130"/>
                  <a:pt x="117" y="128"/>
                </a:cubicBezTo>
                <a:cubicBezTo>
                  <a:pt x="117" y="126"/>
                  <a:pt x="117" y="123"/>
                  <a:pt x="116" y="123"/>
                </a:cubicBezTo>
                <a:cubicBezTo>
                  <a:pt x="115" y="123"/>
                  <a:pt x="113" y="125"/>
                  <a:pt x="111" y="125"/>
                </a:cubicBezTo>
                <a:cubicBezTo>
                  <a:pt x="109" y="124"/>
                  <a:pt x="107" y="120"/>
                  <a:pt x="107" y="119"/>
                </a:cubicBezTo>
                <a:cubicBezTo>
                  <a:pt x="106" y="119"/>
                  <a:pt x="108" y="115"/>
                  <a:pt x="108" y="113"/>
                </a:cubicBezTo>
                <a:cubicBezTo>
                  <a:pt x="108" y="111"/>
                  <a:pt x="110" y="106"/>
                  <a:pt x="108" y="105"/>
                </a:cubicBezTo>
                <a:cubicBezTo>
                  <a:pt x="107" y="105"/>
                  <a:pt x="108" y="103"/>
                  <a:pt x="109" y="102"/>
                </a:cubicBezTo>
                <a:cubicBezTo>
                  <a:pt x="111" y="100"/>
                  <a:pt x="109" y="97"/>
                  <a:pt x="111" y="97"/>
                </a:cubicBezTo>
                <a:cubicBezTo>
                  <a:pt x="113" y="97"/>
                  <a:pt x="118" y="97"/>
                  <a:pt x="119" y="96"/>
                </a:cubicBezTo>
                <a:cubicBezTo>
                  <a:pt x="120" y="96"/>
                  <a:pt x="120" y="96"/>
                  <a:pt x="120" y="95"/>
                </a:cubicBezTo>
                <a:cubicBezTo>
                  <a:pt x="120" y="95"/>
                  <a:pt x="120" y="95"/>
                  <a:pt x="120" y="94"/>
                </a:cubicBezTo>
                <a:cubicBezTo>
                  <a:pt x="119" y="92"/>
                  <a:pt x="117" y="88"/>
                  <a:pt x="115" y="8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8" name="Freeform 164"/>
          <p:cNvSpPr/>
          <p:nvPr/>
        </p:nvSpPr>
        <p:spPr bwMode="auto">
          <a:xfrm>
            <a:off x="4776267" y="3192910"/>
            <a:ext cx="31750" cy="42863"/>
          </a:xfrm>
          <a:custGeom>
            <a:avLst/>
            <a:gdLst>
              <a:gd name="T0" fmla="*/ 1 w 11"/>
              <a:gd name="T1" fmla="*/ 8 h 15"/>
              <a:gd name="T2" fmla="*/ 2 w 11"/>
              <a:gd name="T3" fmla="*/ 15 h 15"/>
              <a:gd name="T4" fmla="*/ 5 w 11"/>
              <a:gd name="T5" fmla="*/ 13 h 15"/>
              <a:gd name="T6" fmla="*/ 11 w 11"/>
              <a:gd name="T7" fmla="*/ 5 h 15"/>
              <a:gd name="T8" fmla="*/ 9 w 11"/>
              <a:gd name="T9" fmla="*/ 4 h 15"/>
              <a:gd name="T10" fmla="*/ 9 w 11"/>
              <a:gd name="T11" fmla="*/ 0 h 15"/>
              <a:gd name="T12" fmla="*/ 6 w 11"/>
              <a:gd name="T13" fmla="*/ 0 h 15"/>
              <a:gd name="T14" fmla="*/ 2 w 11"/>
              <a:gd name="T15" fmla="*/ 2 h 15"/>
              <a:gd name="T16" fmla="*/ 0 w 11"/>
              <a:gd name="T17" fmla="*/ 2 h 15"/>
              <a:gd name="T18" fmla="*/ 0 w 11"/>
              <a:gd name="T19" fmla="*/ 2 h 15"/>
              <a:gd name="T20" fmla="*/ 1 w 11"/>
              <a:gd name="T2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5">
                <a:moveTo>
                  <a:pt x="1" y="8"/>
                </a:moveTo>
                <a:cubicBezTo>
                  <a:pt x="1" y="9"/>
                  <a:pt x="2" y="12"/>
                  <a:pt x="2" y="15"/>
                </a:cubicBezTo>
                <a:cubicBezTo>
                  <a:pt x="4" y="14"/>
                  <a:pt x="5" y="13"/>
                  <a:pt x="5" y="13"/>
                </a:cubicBezTo>
                <a:cubicBezTo>
                  <a:pt x="7" y="12"/>
                  <a:pt x="11" y="5"/>
                  <a:pt x="11" y="5"/>
                </a:cubicBezTo>
                <a:cubicBezTo>
                  <a:pt x="9" y="4"/>
                  <a:pt x="9" y="4"/>
                  <a:pt x="9" y="4"/>
                </a:cubicBezTo>
                <a:cubicBezTo>
                  <a:pt x="9" y="4"/>
                  <a:pt x="9" y="2"/>
                  <a:pt x="9" y="0"/>
                </a:cubicBezTo>
                <a:cubicBezTo>
                  <a:pt x="7" y="0"/>
                  <a:pt x="6" y="0"/>
                  <a:pt x="6" y="0"/>
                </a:cubicBezTo>
                <a:cubicBezTo>
                  <a:pt x="6" y="0"/>
                  <a:pt x="6" y="3"/>
                  <a:pt x="2" y="2"/>
                </a:cubicBezTo>
                <a:cubicBezTo>
                  <a:pt x="2" y="2"/>
                  <a:pt x="1" y="2"/>
                  <a:pt x="0" y="2"/>
                </a:cubicBezTo>
                <a:cubicBezTo>
                  <a:pt x="0" y="2"/>
                  <a:pt x="0" y="2"/>
                  <a:pt x="0" y="2"/>
                </a:cubicBezTo>
                <a:lnTo>
                  <a:pt x="1" y="8"/>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9" name="Freeform 165"/>
          <p:cNvSpPr/>
          <p:nvPr/>
        </p:nvSpPr>
        <p:spPr bwMode="auto">
          <a:xfrm>
            <a:off x="4796905" y="3354835"/>
            <a:ext cx="207963" cy="336550"/>
          </a:xfrm>
          <a:custGeom>
            <a:avLst/>
            <a:gdLst>
              <a:gd name="T0" fmla="*/ 73 w 73"/>
              <a:gd name="T1" fmla="*/ 30 h 118"/>
              <a:gd name="T2" fmla="*/ 71 w 73"/>
              <a:gd name="T3" fmla="*/ 17 h 118"/>
              <a:gd name="T4" fmla="*/ 70 w 73"/>
              <a:gd name="T5" fmla="*/ 0 h 118"/>
              <a:gd name="T6" fmla="*/ 70 w 73"/>
              <a:gd name="T7" fmla="*/ 0 h 118"/>
              <a:gd name="T8" fmla="*/ 63 w 73"/>
              <a:gd name="T9" fmla="*/ 4 h 118"/>
              <a:gd name="T10" fmla="*/ 58 w 73"/>
              <a:gd name="T11" fmla="*/ 5 h 118"/>
              <a:gd name="T12" fmla="*/ 54 w 73"/>
              <a:gd name="T13" fmla="*/ 5 h 118"/>
              <a:gd name="T14" fmla="*/ 52 w 73"/>
              <a:gd name="T15" fmla="*/ 8 h 118"/>
              <a:gd name="T16" fmla="*/ 48 w 73"/>
              <a:gd name="T17" fmla="*/ 8 h 118"/>
              <a:gd name="T18" fmla="*/ 42 w 73"/>
              <a:gd name="T19" fmla="*/ 9 h 118"/>
              <a:gd name="T20" fmla="*/ 40 w 73"/>
              <a:gd name="T21" fmla="*/ 7 h 118"/>
              <a:gd name="T22" fmla="*/ 36 w 73"/>
              <a:gd name="T23" fmla="*/ 8 h 118"/>
              <a:gd name="T24" fmla="*/ 32 w 73"/>
              <a:gd name="T25" fmla="*/ 7 h 118"/>
              <a:gd name="T26" fmla="*/ 31 w 73"/>
              <a:gd name="T27" fmla="*/ 10 h 118"/>
              <a:gd name="T28" fmla="*/ 34 w 73"/>
              <a:gd name="T29" fmla="*/ 24 h 118"/>
              <a:gd name="T30" fmla="*/ 38 w 73"/>
              <a:gd name="T31" fmla="*/ 28 h 118"/>
              <a:gd name="T32" fmla="*/ 39 w 73"/>
              <a:gd name="T33" fmla="*/ 35 h 118"/>
              <a:gd name="T34" fmla="*/ 35 w 73"/>
              <a:gd name="T35" fmla="*/ 40 h 118"/>
              <a:gd name="T36" fmla="*/ 34 w 73"/>
              <a:gd name="T37" fmla="*/ 46 h 118"/>
              <a:gd name="T38" fmla="*/ 28 w 73"/>
              <a:gd name="T39" fmla="*/ 38 h 118"/>
              <a:gd name="T40" fmla="*/ 29 w 73"/>
              <a:gd name="T41" fmla="*/ 29 h 118"/>
              <a:gd name="T42" fmla="*/ 24 w 73"/>
              <a:gd name="T43" fmla="*/ 28 h 118"/>
              <a:gd name="T44" fmla="*/ 19 w 73"/>
              <a:gd name="T45" fmla="*/ 25 h 118"/>
              <a:gd name="T46" fmla="*/ 0 w 73"/>
              <a:gd name="T47" fmla="*/ 31 h 118"/>
              <a:gd name="T48" fmla="*/ 1 w 73"/>
              <a:gd name="T49" fmla="*/ 37 h 118"/>
              <a:gd name="T50" fmla="*/ 1 w 73"/>
              <a:gd name="T51" fmla="*/ 37 h 118"/>
              <a:gd name="T52" fmla="*/ 2 w 73"/>
              <a:gd name="T53" fmla="*/ 39 h 118"/>
              <a:gd name="T54" fmla="*/ 11 w 73"/>
              <a:gd name="T55" fmla="*/ 41 h 118"/>
              <a:gd name="T56" fmla="*/ 19 w 73"/>
              <a:gd name="T57" fmla="*/ 44 h 118"/>
              <a:gd name="T58" fmla="*/ 19 w 73"/>
              <a:gd name="T59" fmla="*/ 54 h 118"/>
              <a:gd name="T60" fmla="*/ 17 w 73"/>
              <a:gd name="T61" fmla="*/ 60 h 118"/>
              <a:gd name="T62" fmla="*/ 19 w 73"/>
              <a:gd name="T63" fmla="*/ 66 h 118"/>
              <a:gd name="T64" fmla="*/ 16 w 73"/>
              <a:gd name="T65" fmla="*/ 71 h 118"/>
              <a:gd name="T66" fmla="*/ 14 w 73"/>
              <a:gd name="T67" fmla="*/ 78 h 118"/>
              <a:gd name="T68" fmla="*/ 7 w 73"/>
              <a:gd name="T69" fmla="*/ 84 h 118"/>
              <a:gd name="T70" fmla="*/ 7 w 73"/>
              <a:gd name="T71" fmla="*/ 85 h 118"/>
              <a:gd name="T72" fmla="*/ 11 w 73"/>
              <a:gd name="T73" fmla="*/ 98 h 118"/>
              <a:gd name="T74" fmla="*/ 12 w 73"/>
              <a:gd name="T75" fmla="*/ 110 h 118"/>
              <a:gd name="T76" fmla="*/ 13 w 73"/>
              <a:gd name="T77" fmla="*/ 118 h 118"/>
              <a:gd name="T78" fmla="*/ 18 w 73"/>
              <a:gd name="T79" fmla="*/ 118 h 118"/>
              <a:gd name="T80" fmla="*/ 18 w 73"/>
              <a:gd name="T81" fmla="*/ 114 h 118"/>
              <a:gd name="T82" fmla="*/ 15 w 73"/>
              <a:gd name="T83" fmla="*/ 112 h 118"/>
              <a:gd name="T84" fmla="*/ 26 w 73"/>
              <a:gd name="T85" fmla="*/ 104 h 118"/>
              <a:gd name="T86" fmla="*/ 35 w 73"/>
              <a:gd name="T87" fmla="*/ 98 h 118"/>
              <a:gd name="T88" fmla="*/ 36 w 73"/>
              <a:gd name="T89" fmla="*/ 88 h 118"/>
              <a:gd name="T90" fmla="*/ 34 w 73"/>
              <a:gd name="T91" fmla="*/ 80 h 118"/>
              <a:gd name="T92" fmla="*/ 31 w 73"/>
              <a:gd name="T93" fmla="*/ 71 h 118"/>
              <a:gd name="T94" fmla="*/ 32 w 73"/>
              <a:gd name="T95" fmla="*/ 66 h 118"/>
              <a:gd name="T96" fmla="*/ 35 w 73"/>
              <a:gd name="T97" fmla="*/ 62 h 118"/>
              <a:gd name="T98" fmla="*/ 41 w 73"/>
              <a:gd name="T99" fmla="*/ 58 h 118"/>
              <a:gd name="T100" fmla="*/ 48 w 73"/>
              <a:gd name="T101" fmla="*/ 50 h 118"/>
              <a:gd name="T102" fmla="*/ 62 w 73"/>
              <a:gd name="T103" fmla="*/ 45 h 118"/>
              <a:gd name="T104" fmla="*/ 73 w 73"/>
              <a:gd name="T105" fmla="*/ 3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118">
                <a:moveTo>
                  <a:pt x="73" y="30"/>
                </a:moveTo>
                <a:cubicBezTo>
                  <a:pt x="72" y="28"/>
                  <a:pt x="71" y="20"/>
                  <a:pt x="71" y="17"/>
                </a:cubicBezTo>
                <a:cubicBezTo>
                  <a:pt x="71" y="13"/>
                  <a:pt x="70" y="5"/>
                  <a:pt x="70" y="0"/>
                </a:cubicBezTo>
                <a:cubicBezTo>
                  <a:pt x="70" y="0"/>
                  <a:pt x="70" y="0"/>
                  <a:pt x="70" y="0"/>
                </a:cubicBezTo>
                <a:cubicBezTo>
                  <a:pt x="67" y="2"/>
                  <a:pt x="63" y="3"/>
                  <a:pt x="63" y="4"/>
                </a:cubicBezTo>
                <a:cubicBezTo>
                  <a:pt x="62" y="5"/>
                  <a:pt x="60" y="4"/>
                  <a:pt x="58" y="5"/>
                </a:cubicBezTo>
                <a:cubicBezTo>
                  <a:pt x="56" y="7"/>
                  <a:pt x="55" y="5"/>
                  <a:pt x="54" y="5"/>
                </a:cubicBezTo>
                <a:cubicBezTo>
                  <a:pt x="53" y="5"/>
                  <a:pt x="52" y="6"/>
                  <a:pt x="52" y="8"/>
                </a:cubicBezTo>
                <a:cubicBezTo>
                  <a:pt x="52" y="9"/>
                  <a:pt x="49" y="8"/>
                  <a:pt x="48" y="8"/>
                </a:cubicBezTo>
                <a:cubicBezTo>
                  <a:pt x="47" y="8"/>
                  <a:pt x="43" y="9"/>
                  <a:pt x="42" y="9"/>
                </a:cubicBezTo>
                <a:cubicBezTo>
                  <a:pt x="40" y="9"/>
                  <a:pt x="41" y="7"/>
                  <a:pt x="40" y="7"/>
                </a:cubicBezTo>
                <a:cubicBezTo>
                  <a:pt x="38" y="6"/>
                  <a:pt x="37" y="8"/>
                  <a:pt x="36" y="8"/>
                </a:cubicBezTo>
                <a:cubicBezTo>
                  <a:pt x="35" y="8"/>
                  <a:pt x="33" y="7"/>
                  <a:pt x="32" y="7"/>
                </a:cubicBezTo>
                <a:cubicBezTo>
                  <a:pt x="32" y="8"/>
                  <a:pt x="31" y="9"/>
                  <a:pt x="31" y="10"/>
                </a:cubicBezTo>
                <a:cubicBezTo>
                  <a:pt x="30" y="13"/>
                  <a:pt x="34" y="21"/>
                  <a:pt x="34" y="24"/>
                </a:cubicBezTo>
                <a:cubicBezTo>
                  <a:pt x="36" y="25"/>
                  <a:pt x="37" y="27"/>
                  <a:pt x="38" y="28"/>
                </a:cubicBezTo>
                <a:cubicBezTo>
                  <a:pt x="40" y="30"/>
                  <a:pt x="38" y="30"/>
                  <a:pt x="39" y="35"/>
                </a:cubicBezTo>
                <a:cubicBezTo>
                  <a:pt x="39" y="40"/>
                  <a:pt x="37" y="38"/>
                  <a:pt x="35" y="40"/>
                </a:cubicBezTo>
                <a:cubicBezTo>
                  <a:pt x="33" y="41"/>
                  <a:pt x="35" y="45"/>
                  <a:pt x="34" y="46"/>
                </a:cubicBezTo>
                <a:cubicBezTo>
                  <a:pt x="34" y="47"/>
                  <a:pt x="28" y="39"/>
                  <a:pt x="28" y="38"/>
                </a:cubicBezTo>
                <a:cubicBezTo>
                  <a:pt x="27" y="36"/>
                  <a:pt x="30" y="31"/>
                  <a:pt x="29" y="29"/>
                </a:cubicBezTo>
                <a:cubicBezTo>
                  <a:pt x="29" y="26"/>
                  <a:pt x="25" y="28"/>
                  <a:pt x="24" y="28"/>
                </a:cubicBezTo>
                <a:cubicBezTo>
                  <a:pt x="22" y="28"/>
                  <a:pt x="20" y="25"/>
                  <a:pt x="19" y="25"/>
                </a:cubicBezTo>
                <a:cubicBezTo>
                  <a:pt x="18" y="25"/>
                  <a:pt x="0" y="31"/>
                  <a:pt x="0" y="31"/>
                </a:cubicBezTo>
                <a:cubicBezTo>
                  <a:pt x="1" y="37"/>
                  <a:pt x="1" y="37"/>
                  <a:pt x="1" y="37"/>
                </a:cubicBezTo>
                <a:cubicBezTo>
                  <a:pt x="1" y="37"/>
                  <a:pt x="1" y="37"/>
                  <a:pt x="1" y="37"/>
                </a:cubicBezTo>
                <a:cubicBezTo>
                  <a:pt x="2" y="39"/>
                  <a:pt x="2" y="39"/>
                  <a:pt x="2" y="39"/>
                </a:cubicBezTo>
                <a:cubicBezTo>
                  <a:pt x="2" y="39"/>
                  <a:pt x="8" y="39"/>
                  <a:pt x="11" y="41"/>
                </a:cubicBezTo>
                <a:cubicBezTo>
                  <a:pt x="14" y="43"/>
                  <a:pt x="18" y="43"/>
                  <a:pt x="19" y="44"/>
                </a:cubicBezTo>
                <a:cubicBezTo>
                  <a:pt x="20" y="44"/>
                  <a:pt x="19" y="51"/>
                  <a:pt x="19" y="54"/>
                </a:cubicBezTo>
                <a:cubicBezTo>
                  <a:pt x="19" y="58"/>
                  <a:pt x="15" y="59"/>
                  <a:pt x="17" y="60"/>
                </a:cubicBezTo>
                <a:cubicBezTo>
                  <a:pt x="19" y="62"/>
                  <a:pt x="18" y="65"/>
                  <a:pt x="19" y="66"/>
                </a:cubicBezTo>
                <a:cubicBezTo>
                  <a:pt x="21" y="66"/>
                  <a:pt x="17" y="70"/>
                  <a:pt x="16" y="71"/>
                </a:cubicBezTo>
                <a:cubicBezTo>
                  <a:pt x="14" y="72"/>
                  <a:pt x="16" y="75"/>
                  <a:pt x="14" y="78"/>
                </a:cubicBezTo>
                <a:cubicBezTo>
                  <a:pt x="13" y="79"/>
                  <a:pt x="9" y="82"/>
                  <a:pt x="7" y="84"/>
                </a:cubicBezTo>
                <a:cubicBezTo>
                  <a:pt x="7" y="85"/>
                  <a:pt x="7" y="85"/>
                  <a:pt x="7" y="85"/>
                </a:cubicBezTo>
                <a:cubicBezTo>
                  <a:pt x="8" y="86"/>
                  <a:pt x="10" y="96"/>
                  <a:pt x="11" y="98"/>
                </a:cubicBezTo>
                <a:cubicBezTo>
                  <a:pt x="13" y="99"/>
                  <a:pt x="12" y="109"/>
                  <a:pt x="12" y="110"/>
                </a:cubicBezTo>
                <a:cubicBezTo>
                  <a:pt x="12" y="111"/>
                  <a:pt x="13" y="118"/>
                  <a:pt x="13" y="118"/>
                </a:cubicBezTo>
                <a:cubicBezTo>
                  <a:pt x="13" y="118"/>
                  <a:pt x="15" y="118"/>
                  <a:pt x="18" y="118"/>
                </a:cubicBezTo>
                <a:cubicBezTo>
                  <a:pt x="18" y="116"/>
                  <a:pt x="18" y="115"/>
                  <a:pt x="18" y="114"/>
                </a:cubicBezTo>
                <a:cubicBezTo>
                  <a:pt x="18" y="111"/>
                  <a:pt x="16" y="114"/>
                  <a:pt x="15" y="112"/>
                </a:cubicBezTo>
                <a:cubicBezTo>
                  <a:pt x="15" y="109"/>
                  <a:pt x="20" y="106"/>
                  <a:pt x="26" y="104"/>
                </a:cubicBezTo>
                <a:cubicBezTo>
                  <a:pt x="32" y="101"/>
                  <a:pt x="34" y="100"/>
                  <a:pt x="35" y="98"/>
                </a:cubicBezTo>
                <a:cubicBezTo>
                  <a:pt x="36" y="96"/>
                  <a:pt x="35" y="90"/>
                  <a:pt x="36" y="88"/>
                </a:cubicBezTo>
                <a:cubicBezTo>
                  <a:pt x="36" y="86"/>
                  <a:pt x="35" y="85"/>
                  <a:pt x="34" y="80"/>
                </a:cubicBezTo>
                <a:cubicBezTo>
                  <a:pt x="34" y="74"/>
                  <a:pt x="32" y="74"/>
                  <a:pt x="31" y="71"/>
                </a:cubicBezTo>
                <a:cubicBezTo>
                  <a:pt x="30" y="68"/>
                  <a:pt x="30" y="66"/>
                  <a:pt x="32" y="66"/>
                </a:cubicBezTo>
                <a:cubicBezTo>
                  <a:pt x="34" y="66"/>
                  <a:pt x="34" y="65"/>
                  <a:pt x="35" y="62"/>
                </a:cubicBezTo>
                <a:cubicBezTo>
                  <a:pt x="37" y="59"/>
                  <a:pt x="38" y="60"/>
                  <a:pt x="41" y="58"/>
                </a:cubicBezTo>
                <a:cubicBezTo>
                  <a:pt x="44" y="56"/>
                  <a:pt x="44" y="54"/>
                  <a:pt x="48" y="50"/>
                </a:cubicBezTo>
                <a:cubicBezTo>
                  <a:pt x="53" y="47"/>
                  <a:pt x="58" y="47"/>
                  <a:pt x="62" y="45"/>
                </a:cubicBezTo>
                <a:cubicBezTo>
                  <a:pt x="66" y="42"/>
                  <a:pt x="73" y="32"/>
                  <a:pt x="73" y="3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0" name="Freeform 166"/>
          <p:cNvSpPr/>
          <p:nvPr/>
        </p:nvSpPr>
        <p:spPr bwMode="auto">
          <a:xfrm>
            <a:off x="4782617" y="3164335"/>
            <a:ext cx="212725" cy="215900"/>
          </a:xfrm>
          <a:custGeom>
            <a:avLst/>
            <a:gdLst>
              <a:gd name="T0" fmla="*/ 70 w 75"/>
              <a:gd name="T1" fmla="*/ 61 h 76"/>
              <a:gd name="T2" fmla="*/ 68 w 75"/>
              <a:gd name="T3" fmla="*/ 54 h 76"/>
              <a:gd name="T4" fmla="*/ 67 w 75"/>
              <a:gd name="T5" fmla="*/ 48 h 76"/>
              <a:gd name="T6" fmla="*/ 68 w 75"/>
              <a:gd name="T7" fmla="*/ 43 h 76"/>
              <a:gd name="T8" fmla="*/ 65 w 75"/>
              <a:gd name="T9" fmla="*/ 37 h 76"/>
              <a:gd name="T10" fmla="*/ 68 w 75"/>
              <a:gd name="T11" fmla="*/ 27 h 76"/>
              <a:gd name="T12" fmla="*/ 56 w 75"/>
              <a:gd name="T13" fmla="*/ 18 h 76"/>
              <a:gd name="T14" fmla="*/ 57 w 75"/>
              <a:gd name="T15" fmla="*/ 14 h 76"/>
              <a:gd name="T16" fmla="*/ 31 w 75"/>
              <a:gd name="T17" fmla="*/ 0 h 76"/>
              <a:gd name="T18" fmla="*/ 27 w 75"/>
              <a:gd name="T19" fmla="*/ 7 h 76"/>
              <a:gd name="T20" fmla="*/ 28 w 75"/>
              <a:gd name="T21" fmla="*/ 11 h 76"/>
              <a:gd name="T22" fmla="*/ 17 w 75"/>
              <a:gd name="T23" fmla="*/ 10 h 76"/>
              <a:gd name="T24" fmla="*/ 17 w 75"/>
              <a:gd name="T25" fmla="*/ 0 h 76"/>
              <a:gd name="T26" fmla="*/ 11 w 75"/>
              <a:gd name="T27" fmla="*/ 0 h 76"/>
              <a:gd name="T28" fmla="*/ 8 w 75"/>
              <a:gd name="T29" fmla="*/ 1 h 76"/>
              <a:gd name="T30" fmla="*/ 9 w 75"/>
              <a:gd name="T31" fmla="*/ 4 h 76"/>
              <a:gd name="T32" fmla="*/ 10 w 75"/>
              <a:gd name="T33" fmla="*/ 9 h 76"/>
              <a:gd name="T34" fmla="*/ 7 w 75"/>
              <a:gd name="T35" fmla="*/ 10 h 76"/>
              <a:gd name="T36" fmla="*/ 7 w 75"/>
              <a:gd name="T37" fmla="*/ 14 h 76"/>
              <a:gd name="T38" fmla="*/ 9 w 75"/>
              <a:gd name="T39" fmla="*/ 15 h 76"/>
              <a:gd name="T40" fmla="*/ 3 w 75"/>
              <a:gd name="T41" fmla="*/ 23 h 76"/>
              <a:gd name="T42" fmla="*/ 0 w 75"/>
              <a:gd name="T43" fmla="*/ 25 h 76"/>
              <a:gd name="T44" fmla="*/ 5 w 75"/>
              <a:gd name="T45" fmla="*/ 38 h 76"/>
              <a:gd name="T46" fmla="*/ 8 w 75"/>
              <a:gd name="T47" fmla="*/ 47 h 76"/>
              <a:gd name="T48" fmla="*/ 10 w 75"/>
              <a:gd name="T49" fmla="*/ 52 h 76"/>
              <a:gd name="T50" fmla="*/ 6 w 75"/>
              <a:gd name="T51" fmla="*/ 49 h 76"/>
              <a:gd name="T52" fmla="*/ 6 w 75"/>
              <a:gd name="T53" fmla="*/ 50 h 76"/>
              <a:gd name="T54" fmla="*/ 5 w 75"/>
              <a:gd name="T55" fmla="*/ 51 h 76"/>
              <a:gd name="T56" fmla="*/ 10 w 75"/>
              <a:gd name="T57" fmla="*/ 54 h 76"/>
              <a:gd name="T58" fmla="*/ 17 w 75"/>
              <a:gd name="T59" fmla="*/ 56 h 76"/>
              <a:gd name="T60" fmla="*/ 26 w 75"/>
              <a:gd name="T61" fmla="*/ 60 h 76"/>
              <a:gd name="T62" fmla="*/ 26 w 75"/>
              <a:gd name="T63" fmla="*/ 61 h 76"/>
              <a:gd name="T64" fmla="*/ 31 w 75"/>
              <a:gd name="T65" fmla="*/ 61 h 76"/>
              <a:gd name="T66" fmla="*/ 32 w 75"/>
              <a:gd name="T67" fmla="*/ 60 h 76"/>
              <a:gd name="T68" fmla="*/ 37 w 75"/>
              <a:gd name="T69" fmla="*/ 74 h 76"/>
              <a:gd name="T70" fmla="*/ 41 w 75"/>
              <a:gd name="T71" fmla="*/ 75 h 76"/>
              <a:gd name="T72" fmla="*/ 45 w 75"/>
              <a:gd name="T73" fmla="*/ 74 h 76"/>
              <a:gd name="T74" fmla="*/ 47 w 75"/>
              <a:gd name="T75" fmla="*/ 76 h 76"/>
              <a:gd name="T76" fmla="*/ 53 w 75"/>
              <a:gd name="T77" fmla="*/ 75 h 76"/>
              <a:gd name="T78" fmla="*/ 57 w 75"/>
              <a:gd name="T79" fmla="*/ 75 h 76"/>
              <a:gd name="T80" fmla="*/ 59 w 75"/>
              <a:gd name="T81" fmla="*/ 72 h 76"/>
              <a:gd name="T82" fmla="*/ 63 w 75"/>
              <a:gd name="T83" fmla="*/ 72 h 76"/>
              <a:gd name="T84" fmla="*/ 68 w 75"/>
              <a:gd name="T85" fmla="*/ 71 h 76"/>
              <a:gd name="T86" fmla="*/ 75 w 75"/>
              <a:gd name="T87" fmla="*/ 67 h 76"/>
              <a:gd name="T88" fmla="*/ 70 w 75"/>
              <a:gd name="T89"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5" h="76">
                <a:moveTo>
                  <a:pt x="70" y="61"/>
                </a:moveTo>
                <a:cubicBezTo>
                  <a:pt x="70" y="57"/>
                  <a:pt x="68" y="57"/>
                  <a:pt x="68" y="54"/>
                </a:cubicBezTo>
                <a:cubicBezTo>
                  <a:pt x="68" y="51"/>
                  <a:pt x="68" y="48"/>
                  <a:pt x="67" y="48"/>
                </a:cubicBezTo>
                <a:cubicBezTo>
                  <a:pt x="66" y="48"/>
                  <a:pt x="67" y="45"/>
                  <a:pt x="68" y="43"/>
                </a:cubicBezTo>
                <a:cubicBezTo>
                  <a:pt x="70" y="40"/>
                  <a:pt x="65" y="40"/>
                  <a:pt x="65" y="37"/>
                </a:cubicBezTo>
                <a:cubicBezTo>
                  <a:pt x="64" y="36"/>
                  <a:pt x="66" y="31"/>
                  <a:pt x="68" y="27"/>
                </a:cubicBezTo>
                <a:cubicBezTo>
                  <a:pt x="62" y="23"/>
                  <a:pt x="56" y="18"/>
                  <a:pt x="56" y="18"/>
                </a:cubicBezTo>
                <a:cubicBezTo>
                  <a:pt x="57" y="14"/>
                  <a:pt x="57" y="14"/>
                  <a:pt x="57" y="14"/>
                </a:cubicBezTo>
                <a:cubicBezTo>
                  <a:pt x="31" y="0"/>
                  <a:pt x="31" y="0"/>
                  <a:pt x="31" y="0"/>
                </a:cubicBezTo>
                <a:cubicBezTo>
                  <a:pt x="30" y="4"/>
                  <a:pt x="29" y="6"/>
                  <a:pt x="27" y="7"/>
                </a:cubicBezTo>
                <a:cubicBezTo>
                  <a:pt x="25" y="8"/>
                  <a:pt x="30" y="11"/>
                  <a:pt x="28" y="11"/>
                </a:cubicBezTo>
                <a:cubicBezTo>
                  <a:pt x="25" y="12"/>
                  <a:pt x="20" y="9"/>
                  <a:pt x="17" y="10"/>
                </a:cubicBezTo>
                <a:cubicBezTo>
                  <a:pt x="14" y="11"/>
                  <a:pt x="15" y="5"/>
                  <a:pt x="17" y="0"/>
                </a:cubicBezTo>
                <a:cubicBezTo>
                  <a:pt x="11" y="0"/>
                  <a:pt x="11" y="0"/>
                  <a:pt x="11" y="0"/>
                </a:cubicBezTo>
                <a:cubicBezTo>
                  <a:pt x="11" y="0"/>
                  <a:pt x="9" y="1"/>
                  <a:pt x="8" y="1"/>
                </a:cubicBezTo>
                <a:cubicBezTo>
                  <a:pt x="9" y="4"/>
                  <a:pt x="9" y="4"/>
                  <a:pt x="9" y="4"/>
                </a:cubicBezTo>
                <a:cubicBezTo>
                  <a:pt x="9" y="4"/>
                  <a:pt x="10" y="7"/>
                  <a:pt x="10" y="9"/>
                </a:cubicBezTo>
                <a:cubicBezTo>
                  <a:pt x="10" y="10"/>
                  <a:pt x="8" y="10"/>
                  <a:pt x="7" y="10"/>
                </a:cubicBezTo>
                <a:cubicBezTo>
                  <a:pt x="7" y="12"/>
                  <a:pt x="7" y="14"/>
                  <a:pt x="7" y="14"/>
                </a:cubicBezTo>
                <a:cubicBezTo>
                  <a:pt x="9" y="15"/>
                  <a:pt x="9" y="15"/>
                  <a:pt x="9" y="15"/>
                </a:cubicBezTo>
                <a:cubicBezTo>
                  <a:pt x="9" y="15"/>
                  <a:pt x="5" y="22"/>
                  <a:pt x="3" y="23"/>
                </a:cubicBezTo>
                <a:cubicBezTo>
                  <a:pt x="3" y="23"/>
                  <a:pt x="2" y="24"/>
                  <a:pt x="0" y="25"/>
                </a:cubicBezTo>
                <a:cubicBezTo>
                  <a:pt x="1" y="30"/>
                  <a:pt x="3" y="36"/>
                  <a:pt x="5" y="38"/>
                </a:cubicBezTo>
                <a:cubicBezTo>
                  <a:pt x="8" y="41"/>
                  <a:pt x="8" y="45"/>
                  <a:pt x="8" y="47"/>
                </a:cubicBezTo>
                <a:cubicBezTo>
                  <a:pt x="9" y="49"/>
                  <a:pt x="12" y="51"/>
                  <a:pt x="10" y="52"/>
                </a:cubicBezTo>
                <a:cubicBezTo>
                  <a:pt x="9" y="53"/>
                  <a:pt x="7" y="51"/>
                  <a:pt x="6" y="49"/>
                </a:cubicBezTo>
                <a:cubicBezTo>
                  <a:pt x="6" y="50"/>
                  <a:pt x="6" y="50"/>
                  <a:pt x="6" y="50"/>
                </a:cubicBezTo>
                <a:cubicBezTo>
                  <a:pt x="6" y="51"/>
                  <a:pt x="6" y="51"/>
                  <a:pt x="5" y="51"/>
                </a:cubicBezTo>
                <a:cubicBezTo>
                  <a:pt x="7" y="52"/>
                  <a:pt x="9" y="54"/>
                  <a:pt x="10" y="54"/>
                </a:cubicBezTo>
                <a:cubicBezTo>
                  <a:pt x="12" y="54"/>
                  <a:pt x="15" y="56"/>
                  <a:pt x="17" y="56"/>
                </a:cubicBezTo>
                <a:cubicBezTo>
                  <a:pt x="19" y="56"/>
                  <a:pt x="25" y="59"/>
                  <a:pt x="26" y="60"/>
                </a:cubicBezTo>
                <a:cubicBezTo>
                  <a:pt x="26" y="60"/>
                  <a:pt x="26" y="60"/>
                  <a:pt x="26" y="61"/>
                </a:cubicBezTo>
                <a:cubicBezTo>
                  <a:pt x="28" y="61"/>
                  <a:pt x="29" y="60"/>
                  <a:pt x="31" y="61"/>
                </a:cubicBezTo>
                <a:cubicBezTo>
                  <a:pt x="31" y="60"/>
                  <a:pt x="31" y="60"/>
                  <a:pt x="32" y="60"/>
                </a:cubicBezTo>
                <a:cubicBezTo>
                  <a:pt x="34" y="60"/>
                  <a:pt x="37" y="69"/>
                  <a:pt x="37" y="74"/>
                </a:cubicBezTo>
                <a:cubicBezTo>
                  <a:pt x="38" y="74"/>
                  <a:pt x="40" y="75"/>
                  <a:pt x="41" y="75"/>
                </a:cubicBezTo>
                <a:cubicBezTo>
                  <a:pt x="42" y="75"/>
                  <a:pt x="43" y="73"/>
                  <a:pt x="45" y="74"/>
                </a:cubicBezTo>
                <a:cubicBezTo>
                  <a:pt x="46" y="74"/>
                  <a:pt x="45" y="76"/>
                  <a:pt x="47" y="76"/>
                </a:cubicBezTo>
                <a:cubicBezTo>
                  <a:pt x="48" y="76"/>
                  <a:pt x="52" y="75"/>
                  <a:pt x="53" y="75"/>
                </a:cubicBezTo>
                <a:cubicBezTo>
                  <a:pt x="54" y="75"/>
                  <a:pt x="57" y="76"/>
                  <a:pt x="57" y="75"/>
                </a:cubicBezTo>
                <a:cubicBezTo>
                  <a:pt x="57" y="73"/>
                  <a:pt x="58" y="72"/>
                  <a:pt x="59" y="72"/>
                </a:cubicBezTo>
                <a:cubicBezTo>
                  <a:pt x="60" y="72"/>
                  <a:pt x="61" y="74"/>
                  <a:pt x="63" y="72"/>
                </a:cubicBezTo>
                <a:cubicBezTo>
                  <a:pt x="65" y="71"/>
                  <a:pt x="67" y="72"/>
                  <a:pt x="68" y="71"/>
                </a:cubicBezTo>
                <a:cubicBezTo>
                  <a:pt x="68" y="70"/>
                  <a:pt x="72" y="69"/>
                  <a:pt x="75" y="67"/>
                </a:cubicBezTo>
                <a:cubicBezTo>
                  <a:pt x="75" y="63"/>
                  <a:pt x="71" y="65"/>
                  <a:pt x="70" y="6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1" name="Freeform 167"/>
          <p:cNvSpPr/>
          <p:nvPr/>
        </p:nvSpPr>
        <p:spPr bwMode="auto">
          <a:xfrm>
            <a:off x="4844530" y="3335785"/>
            <a:ext cx="66675" cy="152400"/>
          </a:xfrm>
          <a:custGeom>
            <a:avLst/>
            <a:gdLst>
              <a:gd name="T0" fmla="*/ 21 w 23"/>
              <a:gd name="T1" fmla="*/ 35 h 54"/>
              <a:gd name="T2" fmla="*/ 17 w 23"/>
              <a:gd name="T3" fmla="*/ 31 h 54"/>
              <a:gd name="T4" fmla="*/ 17 w 23"/>
              <a:gd name="T5" fmla="*/ 32 h 54"/>
              <a:gd name="T6" fmla="*/ 10 w 23"/>
              <a:gd name="T7" fmla="*/ 22 h 54"/>
              <a:gd name="T8" fmla="*/ 10 w 23"/>
              <a:gd name="T9" fmla="*/ 10 h 54"/>
              <a:gd name="T10" fmla="*/ 9 w 23"/>
              <a:gd name="T11" fmla="*/ 1 h 54"/>
              <a:gd name="T12" fmla="*/ 4 w 23"/>
              <a:gd name="T13" fmla="*/ 1 h 54"/>
              <a:gd name="T14" fmla="*/ 7 w 23"/>
              <a:gd name="T15" fmla="*/ 7 h 54"/>
              <a:gd name="T16" fmla="*/ 4 w 23"/>
              <a:gd name="T17" fmla="*/ 9 h 54"/>
              <a:gd name="T18" fmla="*/ 5 w 23"/>
              <a:gd name="T19" fmla="*/ 20 h 54"/>
              <a:gd name="T20" fmla="*/ 2 w 23"/>
              <a:gd name="T21" fmla="*/ 22 h 54"/>
              <a:gd name="T22" fmla="*/ 1 w 23"/>
              <a:gd name="T23" fmla="*/ 28 h 54"/>
              <a:gd name="T24" fmla="*/ 2 w 23"/>
              <a:gd name="T25" fmla="*/ 32 h 54"/>
              <a:gd name="T26" fmla="*/ 2 w 23"/>
              <a:gd name="T27" fmla="*/ 32 h 54"/>
              <a:gd name="T28" fmla="*/ 7 w 23"/>
              <a:gd name="T29" fmla="*/ 35 h 54"/>
              <a:gd name="T30" fmla="*/ 12 w 23"/>
              <a:gd name="T31" fmla="*/ 36 h 54"/>
              <a:gd name="T32" fmla="*/ 11 w 23"/>
              <a:gd name="T33" fmla="*/ 45 h 54"/>
              <a:gd name="T34" fmla="*/ 17 w 23"/>
              <a:gd name="T35" fmla="*/ 53 h 54"/>
              <a:gd name="T36" fmla="*/ 18 w 23"/>
              <a:gd name="T37" fmla="*/ 47 h 54"/>
              <a:gd name="T38" fmla="*/ 22 w 23"/>
              <a:gd name="T39" fmla="*/ 42 h 54"/>
              <a:gd name="T40" fmla="*/ 21 w 23"/>
              <a:gd name="T41"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 h="54">
                <a:moveTo>
                  <a:pt x="21" y="35"/>
                </a:moveTo>
                <a:cubicBezTo>
                  <a:pt x="20" y="34"/>
                  <a:pt x="19" y="32"/>
                  <a:pt x="17" y="31"/>
                </a:cubicBezTo>
                <a:cubicBezTo>
                  <a:pt x="17" y="32"/>
                  <a:pt x="17" y="32"/>
                  <a:pt x="17" y="32"/>
                </a:cubicBezTo>
                <a:cubicBezTo>
                  <a:pt x="15" y="35"/>
                  <a:pt x="10" y="27"/>
                  <a:pt x="10" y="22"/>
                </a:cubicBezTo>
                <a:cubicBezTo>
                  <a:pt x="9" y="17"/>
                  <a:pt x="12" y="14"/>
                  <a:pt x="10" y="10"/>
                </a:cubicBezTo>
                <a:cubicBezTo>
                  <a:pt x="8" y="6"/>
                  <a:pt x="7" y="2"/>
                  <a:pt x="9" y="1"/>
                </a:cubicBezTo>
                <a:cubicBezTo>
                  <a:pt x="7" y="0"/>
                  <a:pt x="6" y="1"/>
                  <a:pt x="4" y="1"/>
                </a:cubicBezTo>
                <a:cubicBezTo>
                  <a:pt x="5" y="2"/>
                  <a:pt x="7" y="6"/>
                  <a:pt x="7" y="7"/>
                </a:cubicBezTo>
                <a:cubicBezTo>
                  <a:pt x="7" y="9"/>
                  <a:pt x="5" y="7"/>
                  <a:pt x="4" y="9"/>
                </a:cubicBezTo>
                <a:cubicBezTo>
                  <a:pt x="4" y="11"/>
                  <a:pt x="3" y="19"/>
                  <a:pt x="5" y="20"/>
                </a:cubicBezTo>
                <a:cubicBezTo>
                  <a:pt x="6" y="21"/>
                  <a:pt x="2" y="20"/>
                  <a:pt x="2" y="22"/>
                </a:cubicBezTo>
                <a:cubicBezTo>
                  <a:pt x="2" y="23"/>
                  <a:pt x="1" y="28"/>
                  <a:pt x="1" y="28"/>
                </a:cubicBezTo>
                <a:cubicBezTo>
                  <a:pt x="0" y="29"/>
                  <a:pt x="1" y="30"/>
                  <a:pt x="2" y="32"/>
                </a:cubicBezTo>
                <a:cubicBezTo>
                  <a:pt x="2" y="32"/>
                  <a:pt x="2" y="32"/>
                  <a:pt x="2" y="32"/>
                </a:cubicBezTo>
                <a:cubicBezTo>
                  <a:pt x="3" y="32"/>
                  <a:pt x="5" y="35"/>
                  <a:pt x="7" y="35"/>
                </a:cubicBezTo>
                <a:cubicBezTo>
                  <a:pt x="8" y="35"/>
                  <a:pt x="12" y="33"/>
                  <a:pt x="12" y="36"/>
                </a:cubicBezTo>
                <a:cubicBezTo>
                  <a:pt x="13" y="38"/>
                  <a:pt x="10" y="43"/>
                  <a:pt x="11" y="45"/>
                </a:cubicBezTo>
                <a:cubicBezTo>
                  <a:pt x="11" y="46"/>
                  <a:pt x="17" y="54"/>
                  <a:pt x="17" y="53"/>
                </a:cubicBezTo>
                <a:cubicBezTo>
                  <a:pt x="18" y="52"/>
                  <a:pt x="16" y="48"/>
                  <a:pt x="18" y="47"/>
                </a:cubicBezTo>
                <a:cubicBezTo>
                  <a:pt x="20" y="45"/>
                  <a:pt x="22" y="47"/>
                  <a:pt x="22" y="42"/>
                </a:cubicBezTo>
                <a:cubicBezTo>
                  <a:pt x="21" y="37"/>
                  <a:pt x="23" y="37"/>
                  <a:pt x="21" y="3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2" name="Freeform 168"/>
          <p:cNvSpPr/>
          <p:nvPr/>
        </p:nvSpPr>
        <p:spPr bwMode="auto">
          <a:xfrm>
            <a:off x="7419455" y="3554860"/>
            <a:ext cx="66675" cy="50800"/>
          </a:xfrm>
          <a:custGeom>
            <a:avLst/>
            <a:gdLst>
              <a:gd name="T0" fmla="*/ 0 w 23"/>
              <a:gd name="T1" fmla="*/ 3 h 18"/>
              <a:gd name="T2" fmla="*/ 20 w 23"/>
              <a:gd name="T3" fmla="*/ 17 h 18"/>
              <a:gd name="T4" fmla="*/ 0 w 23"/>
              <a:gd name="T5" fmla="*/ 3 h 18"/>
            </a:gdLst>
            <a:ahLst/>
            <a:cxnLst>
              <a:cxn ang="0">
                <a:pos x="T0" y="T1"/>
              </a:cxn>
              <a:cxn ang="0">
                <a:pos x="T2" y="T3"/>
              </a:cxn>
              <a:cxn ang="0">
                <a:pos x="T4" y="T5"/>
              </a:cxn>
            </a:cxnLst>
            <a:rect l="0" t="0" r="r" b="b"/>
            <a:pathLst>
              <a:path w="23" h="18">
                <a:moveTo>
                  <a:pt x="0" y="3"/>
                </a:moveTo>
                <a:cubicBezTo>
                  <a:pt x="0" y="0"/>
                  <a:pt x="23" y="15"/>
                  <a:pt x="20" y="17"/>
                </a:cubicBezTo>
                <a:cubicBezTo>
                  <a:pt x="18" y="18"/>
                  <a:pt x="1" y="5"/>
                  <a:pt x="0"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3" name="Freeform 169"/>
          <p:cNvSpPr/>
          <p:nvPr/>
        </p:nvSpPr>
        <p:spPr bwMode="auto">
          <a:xfrm>
            <a:off x="5543030" y="2289623"/>
            <a:ext cx="150813" cy="103188"/>
          </a:xfrm>
          <a:custGeom>
            <a:avLst/>
            <a:gdLst>
              <a:gd name="T0" fmla="*/ 43 w 53"/>
              <a:gd name="T1" fmla="*/ 29 h 36"/>
              <a:gd name="T2" fmla="*/ 46 w 53"/>
              <a:gd name="T3" fmla="*/ 31 h 36"/>
              <a:gd name="T4" fmla="*/ 51 w 53"/>
              <a:gd name="T5" fmla="*/ 33 h 36"/>
              <a:gd name="T6" fmla="*/ 53 w 53"/>
              <a:gd name="T7" fmla="*/ 32 h 36"/>
              <a:gd name="T8" fmla="*/ 51 w 53"/>
              <a:gd name="T9" fmla="*/ 23 h 36"/>
              <a:gd name="T10" fmla="*/ 45 w 53"/>
              <a:gd name="T11" fmla="*/ 19 h 36"/>
              <a:gd name="T12" fmla="*/ 44 w 53"/>
              <a:gd name="T13" fmla="*/ 13 h 36"/>
              <a:gd name="T14" fmla="*/ 35 w 53"/>
              <a:gd name="T15" fmla="*/ 13 h 36"/>
              <a:gd name="T16" fmla="*/ 29 w 53"/>
              <a:gd name="T17" fmla="*/ 12 h 36"/>
              <a:gd name="T18" fmla="*/ 23 w 53"/>
              <a:gd name="T19" fmla="*/ 12 h 36"/>
              <a:gd name="T20" fmla="*/ 13 w 53"/>
              <a:gd name="T21" fmla="*/ 11 h 36"/>
              <a:gd name="T22" fmla="*/ 18 w 53"/>
              <a:gd name="T23" fmla="*/ 7 h 36"/>
              <a:gd name="T24" fmla="*/ 20 w 53"/>
              <a:gd name="T25" fmla="*/ 7 h 36"/>
              <a:gd name="T26" fmla="*/ 22 w 53"/>
              <a:gd name="T27" fmla="*/ 1 h 36"/>
              <a:gd name="T28" fmla="*/ 18 w 53"/>
              <a:gd name="T29" fmla="*/ 2 h 36"/>
              <a:gd name="T30" fmla="*/ 12 w 53"/>
              <a:gd name="T31" fmla="*/ 4 h 36"/>
              <a:gd name="T32" fmla="*/ 9 w 53"/>
              <a:gd name="T33" fmla="*/ 7 h 36"/>
              <a:gd name="T34" fmla="*/ 7 w 53"/>
              <a:gd name="T35" fmla="*/ 11 h 36"/>
              <a:gd name="T36" fmla="*/ 0 w 53"/>
              <a:gd name="T37" fmla="*/ 14 h 36"/>
              <a:gd name="T38" fmla="*/ 5 w 53"/>
              <a:gd name="T39" fmla="*/ 19 h 36"/>
              <a:gd name="T40" fmla="*/ 5 w 53"/>
              <a:gd name="T41" fmla="*/ 25 h 36"/>
              <a:gd name="T42" fmla="*/ 3 w 53"/>
              <a:gd name="T43" fmla="*/ 32 h 36"/>
              <a:gd name="T44" fmla="*/ 6 w 53"/>
              <a:gd name="T45" fmla="*/ 32 h 36"/>
              <a:gd name="T46" fmla="*/ 13 w 53"/>
              <a:gd name="T47" fmla="*/ 31 h 36"/>
              <a:gd name="T48" fmla="*/ 19 w 53"/>
              <a:gd name="T49" fmla="*/ 27 h 36"/>
              <a:gd name="T50" fmla="*/ 26 w 53"/>
              <a:gd name="T51" fmla="*/ 21 h 36"/>
              <a:gd name="T52" fmla="*/ 28 w 53"/>
              <a:gd name="T53" fmla="*/ 27 h 36"/>
              <a:gd name="T54" fmla="*/ 29 w 53"/>
              <a:gd name="T55" fmla="*/ 35 h 36"/>
              <a:gd name="T56" fmla="*/ 32 w 53"/>
              <a:gd name="T57" fmla="*/ 35 h 36"/>
              <a:gd name="T58" fmla="*/ 36 w 53"/>
              <a:gd name="T59" fmla="*/ 34 h 36"/>
              <a:gd name="T60" fmla="*/ 43 w 53"/>
              <a:gd name="T6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3" h="36">
                <a:moveTo>
                  <a:pt x="43" y="29"/>
                </a:moveTo>
                <a:cubicBezTo>
                  <a:pt x="45" y="30"/>
                  <a:pt x="44" y="31"/>
                  <a:pt x="46" y="31"/>
                </a:cubicBezTo>
                <a:cubicBezTo>
                  <a:pt x="47" y="31"/>
                  <a:pt x="49" y="31"/>
                  <a:pt x="51" y="33"/>
                </a:cubicBezTo>
                <a:cubicBezTo>
                  <a:pt x="52" y="32"/>
                  <a:pt x="53" y="32"/>
                  <a:pt x="53" y="32"/>
                </a:cubicBezTo>
                <a:cubicBezTo>
                  <a:pt x="53" y="32"/>
                  <a:pt x="52" y="25"/>
                  <a:pt x="51" y="23"/>
                </a:cubicBezTo>
                <a:cubicBezTo>
                  <a:pt x="51" y="21"/>
                  <a:pt x="45" y="19"/>
                  <a:pt x="45" y="19"/>
                </a:cubicBezTo>
                <a:cubicBezTo>
                  <a:pt x="44" y="13"/>
                  <a:pt x="44" y="13"/>
                  <a:pt x="44" y="13"/>
                </a:cubicBezTo>
                <a:cubicBezTo>
                  <a:pt x="44" y="13"/>
                  <a:pt x="36" y="14"/>
                  <a:pt x="35" y="13"/>
                </a:cubicBezTo>
                <a:cubicBezTo>
                  <a:pt x="33" y="13"/>
                  <a:pt x="30" y="14"/>
                  <a:pt x="29" y="12"/>
                </a:cubicBezTo>
                <a:cubicBezTo>
                  <a:pt x="28" y="10"/>
                  <a:pt x="25" y="13"/>
                  <a:pt x="23" y="12"/>
                </a:cubicBezTo>
                <a:cubicBezTo>
                  <a:pt x="20" y="10"/>
                  <a:pt x="13" y="12"/>
                  <a:pt x="13" y="11"/>
                </a:cubicBezTo>
                <a:cubicBezTo>
                  <a:pt x="13" y="10"/>
                  <a:pt x="16" y="7"/>
                  <a:pt x="18" y="7"/>
                </a:cubicBezTo>
                <a:cubicBezTo>
                  <a:pt x="18" y="7"/>
                  <a:pt x="19" y="7"/>
                  <a:pt x="20" y="7"/>
                </a:cubicBezTo>
                <a:cubicBezTo>
                  <a:pt x="21" y="6"/>
                  <a:pt x="23" y="2"/>
                  <a:pt x="22" y="1"/>
                </a:cubicBezTo>
                <a:cubicBezTo>
                  <a:pt x="22" y="0"/>
                  <a:pt x="19" y="1"/>
                  <a:pt x="18" y="2"/>
                </a:cubicBezTo>
                <a:cubicBezTo>
                  <a:pt x="16" y="4"/>
                  <a:pt x="13" y="2"/>
                  <a:pt x="12" y="4"/>
                </a:cubicBezTo>
                <a:cubicBezTo>
                  <a:pt x="12" y="5"/>
                  <a:pt x="11" y="7"/>
                  <a:pt x="9" y="7"/>
                </a:cubicBezTo>
                <a:cubicBezTo>
                  <a:pt x="7" y="7"/>
                  <a:pt x="9" y="10"/>
                  <a:pt x="7" y="11"/>
                </a:cubicBezTo>
                <a:cubicBezTo>
                  <a:pt x="5" y="12"/>
                  <a:pt x="1" y="12"/>
                  <a:pt x="0" y="14"/>
                </a:cubicBezTo>
                <a:cubicBezTo>
                  <a:pt x="0" y="15"/>
                  <a:pt x="5" y="17"/>
                  <a:pt x="5" y="19"/>
                </a:cubicBezTo>
                <a:cubicBezTo>
                  <a:pt x="4" y="21"/>
                  <a:pt x="7" y="24"/>
                  <a:pt x="5" y="25"/>
                </a:cubicBezTo>
                <a:cubicBezTo>
                  <a:pt x="4" y="26"/>
                  <a:pt x="2" y="28"/>
                  <a:pt x="3" y="32"/>
                </a:cubicBezTo>
                <a:cubicBezTo>
                  <a:pt x="4" y="33"/>
                  <a:pt x="5" y="34"/>
                  <a:pt x="6" y="32"/>
                </a:cubicBezTo>
                <a:cubicBezTo>
                  <a:pt x="7" y="30"/>
                  <a:pt x="13" y="32"/>
                  <a:pt x="13" y="31"/>
                </a:cubicBezTo>
                <a:cubicBezTo>
                  <a:pt x="13" y="29"/>
                  <a:pt x="19" y="29"/>
                  <a:pt x="19" y="27"/>
                </a:cubicBezTo>
                <a:cubicBezTo>
                  <a:pt x="19" y="25"/>
                  <a:pt x="23" y="21"/>
                  <a:pt x="26" y="21"/>
                </a:cubicBezTo>
                <a:cubicBezTo>
                  <a:pt x="28" y="22"/>
                  <a:pt x="25" y="26"/>
                  <a:pt x="28" y="27"/>
                </a:cubicBezTo>
                <a:cubicBezTo>
                  <a:pt x="31" y="28"/>
                  <a:pt x="27" y="33"/>
                  <a:pt x="29" y="35"/>
                </a:cubicBezTo>
                <a:cubicBezTo>
                  <a:pt x="29" y="36"/>
                  <a:pt x="30" y="36"/>
                  <a:pt x="32" y="35"/>
                </a:cubicBezTo>
                <a:cubicBezTo>
                  <a:pt x="33" y="35"/>
                  <a:pt x="34" y="35"/>
                  <a:pt x="36" y="34"/>
                </a:cubicBezTo>
                <a:cubicBezTo>
                  <a:pt x="38" y="32"/>
                  <a:pt x="42" y="28"/>
                  <a:pt x="43" y="2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4" name="Freeform 170"/>
          <p:cNvSpPr/>
          <p:nvPr/>
        </p:nvSpPr>
        <p:spPr bwMode="auto">
          <a:xfrm>
            <a:off x="2669655" y="2634110"/>
            <a:ext cx="15875" cy="38100"/>
          </a:xfrm>
          <a:custGeom>
            <a:avLst/>
            <a:gdLst>
              <a:gd name="T0" fmla="*/ 5 w 6"/>
              <a:gd name="T1" fmla="*/ 12 h 13"/>
              <a:gd name="T2" fmla="*/ 2 w 6"/>
              <a:gd name="T3" fmla="*/ 9 h 13"/>
              <a:gd name="T4" fmla="*/ 0 w 6"/>
              <a:gd name="T5" fmla="*/ 4 h 13"/>
              <a:gd name="T6" fmla="*/ 3 w 6"/>
              <a:gd name="T7" fmla="*/ 2 h 13"/>
              <a:gd name="T8" fmla="*/ 3 w 6"/>
              <a:gd name="T9" fmla="*/ 8 h 13"/>
              <a:gd name="T10" fmla="*/ 5 w 6"/>
              <a:gd name="T11" fmla="*/ 12 h 13"/>
            </a:gdLst>
            <a:ahLst/>
            <a:cxnLst>
              <a:cxn ang="0">
                <a:pos x="T0" y="T1"/>
              </a:cxn>
              <a:cxn ang="0">
                <a:pos x="T2" y="T3"/>
              </a:cxn>
              <a:cxn ang="0">
                <a:pos x="T4" y="T5"/>
              </a:cxn>
              <a:cxn ang="0">
                <a:pos x="T6" y="T7"/>
              </a:cxn>
              <a:cxn ang="0">
                <a:pos x="T8" y="T9"/>
              </a:cxn>
              <a:cxn ang="0">
                <a:pos x="T10" y="T11"/>
              </a:cxn>
            </a:cxnLst>
            <a:rect l="0" t="0" r="r" b="b"/>
            <a:pathLst>
              <a:path w="6" h="13">
                <a:moveTo>
                  <a:pt x="5" y="12"/>
                </a:moveTo>
                <a:cubicBezTo>
                  <a:pt x="5" y="13"/>
                  <a:pt x="2" y="11"/>
                  <a:pt x="2" y="9"/>
                </a:cubicBezTo>
                <a:cubicBezTo>
                  <a:pt x="2" y="7"/>
                  <a:pt x="0" y="7"/>
                  <a:pt x="0" y="4"/>
                </a:cubicBezTo>
                <a:cubicBezTo>
                  <a:pt x="0" y="2"/>
                  <a:pt x="1" y="0"/>
                  <a:pt x="3" y="2"/>
                </a:cubicBezTo>
                <a:cubicBezTo>
                  <a:pt x="4" y="5"/>
                  <a:pt x="3" y="6"/>
                  <a:pt x="3" y="8"/>
                </a:cubicBezTo>
                <a:cubicBezTo>
                  <a:pt x="3" y="9"/>
                  <a:pt x="6" y="10"/>
                  <a:pt x="5" y="1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5" name="Freeform 171"/>
          <p:cNvSpPr/>
          <p:nvPr/>
        </p:nvSpPr>
        <p:spPr bwMode="auto">
          <a:xfrm>
            <a:off x="2990330" y="2930973"/>
            <a:ext cx="25400" cy="19050"/>
          </a:xfrm>
          <a:custGeom>
            <a:avLst/>
            <a:gdLst>
              <a:gd name="T0" fmla="*/ 2 w 9"/>
              <a:gd name="T1" fmla="*/ 6 h 7"/>
              <a:gd name="T2" fmla="*/ 2 w 9"/>
              <a:gd name="T3" fmla="*/ 3 h 7"/>
              <a:gd name="T4" fmla="*/ 7 w 9"/>
              <a:gd name="T5" fmla="*/ 2 h 7"/>
              <a:gd name="T6" fmla="*/ 7 w 9"/>
              <a:gd name="T7" fmla="*/ 6 h 7"/>
              <a:gd name="T8" fmla="*/ 2 w 9"/>
              <a:gd name="T9" fmla="*/ 6 h 7"/>
            </a:gdLst>
            <a:ahLst/>
            <a:cxnLst>
              <a:cxn ang="0">
                <a:pos x="T0" y="T1"/>
              </a:cxn>
              <a:cxn ang="0">
                <a:pos x="T2" y="T3"/>
              </a:cxn>
              <a:cxn ang="0">
                <a:pos x="T4" y="T5"/>
              </a:cxn>
              <a:cxn ang="0">
                <a:pos x="T6" y="T7"/>
              </a:cxn>
              <a:cxn ang="0">
                <a:pos x="T8" y="T9"/>
              </a:cxn>
            </a:cxnLst>
            <a:rect l="0" t="0" r="r" b="b"/>
            <a:pathLst>
              <a:path w="9" h="7">
                <a:moveTo>
                  <a:pt x="2" y="6"/>
                </a:moveTo>
                <a:cubicBezTo>
                  <a:pt x="1" y="6"/>
                  <a:pt x="3" y="4"/>
                  <a:pt x="2" y="3"/>
                </a:cubicBezTo>
                <a:cubicBezTo>
                  <a:pt x="0" y="2"/>
                  <a:pt x="5" y="0"/>
                  <a:pt x="7" y="2"/>
                </a:cubicBezTo>
                <a:cubicBezTo>
                  <a:pt x="9" y="3"/>
                  <a:pt x="9" y="5"/>
                  <a:pt x="7" y="6"/>
                </a:cubicBezTo>
                <a:cubicBezTo>
                  <a:pt x="6" y="6"/>
                  <a:pt x="3" y="7"/>
                  <a:pt x="2"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6" name="Freeform 172"/>
          <p:cNvSpPr/>
          <p:nvPr/>
        </p:nvSpPr>
        <p:spPr bwMode="auto">
          <a:xfrm>
            <a:off x="5058842" y="2281685"/>
            <a:ext cx="65088" cy="57150"/>
          </a:xfrm>
          <a:custGeom>
            <a:avLst/>
            <a:gdLst>
              <a:gd name="T0" fmla="*/ 22 w 23"/>
              <a:gd name="T1" fmla="*/ 15 h 20"/>
              <a:gd name="T2" fmla="*/ 18 w 23"/>
              <a:gd name="T3" fmla="*/ 10 h 20"/>
              <a:gd name="T4" fmla="*/ 15 w 23"/>
              <a:gd name="T5" fmla="*/ 5 h 20"/>
              <a:gd name="T6" fmla="*/ 13 w 23"/>
              <a:gd name="T7" fmla="*/ 1 h 20"/>
              <a:gd name="T8" fmla="*/ 7 w 23"/>
              <a:gd name="T9" fmla="*/ 0 h 20"/>
              <a:gd name="T10" fmla="*/ 0 w 23"/>
              <a:gd name="T11" fmla="*/ 1 h 20"/>
              <a:gd name="T12" fmla="*/ 2 w 23"/>
              <a:gd name="T13" fmla="*/ 7 h 20"/>
              <a:gd name="T14" fmla="*/ 7 w 23"/>
              <a:gd name="T15" fmla="*/ 9 h 20"/>
              <a:gd name="T16" fmla="*/ 9 w 23"/>
              <a:gd name="T17" fmla="*/ 12 h 20"/>
              <a:gd name="T18" fmla="*/ 9 w 23"/>
              <a:gd name="T19" fmla="*/ 12 h 20"/>
              <a:gd name="T20" fmla="*/ 11 w 23"/>
              <a:gd name="T21" fmla="*/ 13 h 20"/>
              <a:gd name="T22" fmla="*/ 14 w 23"/>
              <a:gd name="T23" fmla="*/ 15 h 20"/>
              <a:gd name="T24" fmla="*/ 18 w 23"/>
              <a:gd name="T25" fmla="*/ 16 h 20"/>
              <a:gd name="T26" fmla="*/ 19 w 23"/>
              <a:gd name="T27" fmla="*/ 19 h 20"/>
              <a:gd name="T28" fmla="*/ 23 w 23"/>
              <a:gd name="T29" fmla="*/ 19 h 20"/>
              <a:gd name="T30" fmla="*/ 22 w 23"/>
              <a:gd name="T31"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0">
                <a:moveTo>
                  <a:pt x="22" y="15"/>
                </a:moveTo>
                <a:cubicBezTo>
                  <a:pt x="22" y="13"/>
                  <a:pt x="18" y="12"/>
                  <a:pt x="18" y="10"/>
                </a:cubicBezTo>
                <a:cubicBezTo>
                  <a:pt x="18" y="8"/>
                  <a:pt x="15" y="6"/>
                  <a:pt x="15" y="5"/>
                </a:cubicBezTo>
                <a:cubicBezTo>
                  <a:pt x="16" y="3"/>
                  <a:pt x="14" y="2"/>
                  <a:pt x="13" y="1"/>
                </a:cubicBezTo>
                <a:cubicBezTo>
                  <a:pt x="12" y="0"/>
                  <a:pt x="9" y="0"/>
                  <a:pt x="7" y="0"/>
                </a:cubicBezTo>
                <a:cubicBezTo>
                  <a:pt x="5" y="0"/>
                  <a:pt x="3" y="1"/>
                  <a:pt x="0" y="1"/>
                </a:cubicBezTo>
                <a:cubicBezTo>
                  <a:pt x="2" y="3"/>
                  <a:pt x="1" y="4"/>
                  <a:pt x="2" y="7"/>
                </a:cubicBezTo>
                <a:cubicBezTo>
                  <a:pt x="3" y="10"/>
                  <a:pt x="6" y="8"/>
                  <a:pt x="7" y="9"/>
                </a:cubicBezTo>
                <a:cubicBezTo>
                  <a:pt x="8" y="9"/>
                  <a:pt x="8" y="10"/>
                  <a:pt x="9" y="12"/>
                </a:cubicBezTo>
                <a:cubicBezTo>
                  <a:pt x="9" y="12"/>
                  <a:pt x="9" y="11"/>
                  <a:pt x="9" y="12"/>
                </a:cubicBezTo>
                <a:cubicBezTo>
                  <a:pt x="10" y="12"/>
                  <a:pt x="11" y="12"/>
                  <a:pt x="11" y="13"/>
                </a:cubicBezTo>
                <a:cubicBezTo>
                  <a:pt x="12" y="13"/>
                  <a:pt x="14" y="14"/>
                  <a:pt x="14" y="15"/>
                </a:cubicBezTo>
                <a:cubicBezTo>
                  <a:pt x="15" y="15"/>
                  <a:pt x="16" y="14"/>
                  <a:pt x="18" y="16"/>
                </a:cubicBezTo>
                <a:cubicBezTo>
                  <a:pt x="19" y="18"/>
                  <a:pt x="19" y="18"/>
                  <a:pt x="19" y="19"/>
                </a:cubicBezTo>
                <a:cubicBezTo>
                  <a:pt x="21" y="20"/>
                  <a:pt x="22" y="19"/>
                  <a:pt x="23" y="19"/>
                </a:cubicBezTo>
                <a:cubicBezTo>
                  <a:pt x="23" y="17"/>
                  <a:pt x="22" y="16"/>
                  <a:pt x="22" y="1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7" name="Freeform 173"/>
          <p:cNvSpPr>
            <a:spLocks noEditPoints="1"/>
          </p:cNvSpPr>
          <p:nvPr/>
        </p:nvSpPr>
        <p:spPr bwMode="auto">
          <a:xfrm>
            <a:off x="5090592" y="2267398"/>
            <a:ext cx="96838" cy="79375"/>
          </a:xfrm>
          <a:custGeom>
            <a:avLst/>
            <a:gdLst>
              <a:gd name="T0" fmla="*/ 32 w 34"/>
              <a:gd name="T1" fmla="*/ 10 h 28"/>
              <a:gd name="T2" fmla="*/ 26 w 34"/>
              <a:gd name="T3" fmla="*/ 2 h 28"/>
              <a:gd name="T4" fmla="*/ 22 w 34"/>
              <a:gd name="T5" fmla="*/ 5 h 28"/>
              <a:gd name="T6" fmla="*/ 19 w 34"/>
              <a:gd name="T7" fmla="*/ 5 h 28"/>
              <a:gd name="T8" fmla="*/ 13 w 34"/>
              <a:gd name="T9" fmla="*/ 1 h 28"/>
              <a:gd name="T10" fmla="*/ 11 w 34"/>
              <a:gd name="T11" fmla="*/ 0 h 28"/>
              <a:gd name="T12" fmla="*/ 10 w 34"/>
              <a:gd name="T13" fmla="*/ 3 h 28"/>
              <a:gd name="T14" fmla="*/ 12 w 34"/>
              <a:gd name="T15" fmla="*/ 6 h 28"/>
              <a:gd name="T16" fmla="*/ 7 w 34"/>
              <a:gd name="T17" fmla="*/ 5 h 28"/>
              <a:gd name="T18" fmla="*/ 2 w 34"/>
              <a:gd name="T19" fmla="*/ 4 h 28"/>
              <a:gd name="T20" fmla="*/ 4 w 34"/>
              <a:gd name="T21" fmla="*/ 10 h 28"/>
              <a:gd name="T22" fmla="*/ 7 w 34"/>
              <a:gd name="T23" fmla="*/ 15 h 28"/>
              <a:gd name="T24" fmla="*/ 11 w 34"/>
              <a:gd name="T25" fmla="*/ 20 h 28"/>
              <a:gd name="T26" fmla="*/ 12 w 34"/>
              <a:gd name="T27" fmla="*/ 24 h 28"/>
              <a:gd name="T28" fmla="*/ 21 w 34"/>
              <a:gd name="T29" fmla="*/ 18 h 28"/>
              <a:gd name="T30" fmla="*/ 22 w 34"/>
              <a:gd name="T31" fmla="*/ 25 h 28"/>
              <a:gd name="T32" fmla="*/ 27 w 34"/>
              <a:gd name="T33" fmla="*/ 28 h 28"/>
              <a:gd name="T34" fmla="*/ 28 w 34"/>
              <a:gd name="T35" fmla="*/ 24 h 28"/>
              <a:gd name="T36" fmla="*/ 32 w 34"/>
              <a:gd name="T37" fmla="*/ 10 h 28"/>
              <a:gd name="T38" fmla="*/ 3 w 34"/>
              <a:gd name="T39" fmla="*/ 20 h 28"/>
              <a:gd name="T40" fmla="*/ 0 w 34"/>
              <a:gd name="T41" fmla="*/ 18 h 28"/>
              <a:gd name="T42" fmla="*/ 2 w 34"/>
              <a:gd name="T43" fmla="*/ 22 h 28"/>
              <a:gd name="T44" fmla="*/ 7 w 34"/>
              <a:gd name="T45" fmla="*/ 24 h 28"/>
              <a:gd name="T46" fmla="*/ 8 w 34"/>
              <a:gd name="T47" fmla="*/ 24 h 28"/>
              <a:gd name="T48" fmla="*/ 7 w 34"/>
              <a:gd name="T49" fmla="*/ 21 h 28"/>
              <a:gd name="T50" fmla="*/ 3 w 34"/>
              <a:gd name="T51"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 h="28">
                <a:moveTo>
                  <a:pt x="32" y="10"/>
                </a:moveTo>
                <a:cubicBezTo>
                  <a:pt x="31" y="8"/>
                  <a:pt x="29" y="5"/>
                  <a:pt x="26" y="2"/>
                </a:cubicBezTo>
                <a:cubicBezTo>
                  <a:pt x="25" y="4"/>
                  <a:pt x="22" y="3"/>
                  <a:pt x="22" y="5"/>
                </a:cubicBezTo>
                <a:cubicBezTo>
                  <a:pt x="21" y="6"/>
                  <a:pt x="20" y="5"/>
                  <a:pt x="19" y="5"/>
                </a:cubicBezTo>
                <a:cubicBezTo>
                  <a:pt x="18" y="5"/>
                  <a:pt x="16" y="1"/>
                  <a:pt x="13" y="1"/>
                </a:cubicBezTo>
                <a:cubicBezTo>
                  <a:pt x="13" y="1"/>
                  <a:pt x="12" y="1"/>
                  <a:pt x="11" y="0"/>
                </a:cubicBezTo>
                <a:cubicBezTo>
                  <a:pt x="10" y="1"/>
                  <a:pt x="10" y="2"/>
                  <a:pt x="10" y="3"/>
                </a:cubicBezTo>
                <a:cubicBezTo>
                  <a:pt x="10" y="4"/>
                  <a:pt x="13" y="5"/>
                  <a:pt x="12" y="6"/>
                </a:cubicBezTo>
                <a:cubicBezTo>
                  <a:pt x="11" y="7"/>
                  <a:pt x="8" y="6"/>
                  <a:pt x="7" y="5"/>
                </a:cubicBezTo>
                <a:cubicBezTo>
                  <a:pt x="6" y="4"/>
                  <a:pt x="3" y="3"/>
                  <a:pt x="2" y="4"/>
                </a:cubicBezTo>
                <a:cubicBezTo>
                  <a:pt x="2" y="5"/>
                  <a:pt x="5" y="8"/>
                  <a:pt x="4" y="10"/>
                </a:cubicBezTo>
                <a:cubicBezTo>
                  <a:pt x="4" y="11"/>
                  <a:pt x="7" y="13"/>
                  <a:pt x="7" y="15"/>
                </a:cubicBezTo>
                <a:cubicBezTo>
                  <a:pt x="7" y="17"/>
                  <a:pt x="11" y="18"/>
                  <a:pt x="11" y="20"/>
                </a:cubicBezTo>
                <a:cubicBezTo>
                  <a:pt x="11" y="21"/>
                  <a:pt x="12" y="22"/>
                  <a:pt x="12" y="24"/>
                </a:cubicBezTo>
                <a:cubicBezTo>
                  <a:pt x="16" y="22"/>
                  <a:pt x="19" y="20"/>
                  <a:pt x="21" y="18"/>
                </a:cubicBezTo>
                <a:cubicBezTo>
                  <a:pt x="24" y="17"/>
                  <a:pt x="23" y="24"/>
                  <a:pt x="22" y="25"/>
                </a:cubicBezTo>
                <a:cubicBezTo>
                  <a:pt x="22" y="25"/>
                  <a:pt x="24" y="27"/>
                  <a:pt x="27" y="28"/>
                </a:cubicBezTo>
                <a:cubicBezTo>
                  <a:pt x="27" y="27"/>
                  <a:pt x="27" y="25"/>
                  <a:pt x="28" y="24"/>
                </a:cubicBezTo>
                <a:cubicBezTo>
                  <a:pt x="32" y="20"/>
                  <a:pt x="34" y="13"/>
                  <a:pt x="32" y="10"/>
                </a:cubicBezTo>
                <a:close/>
                <a:moveTo>
                  <a:pt x="3" y="20"/>
                </a:moveTo>
                <a:cubicBezTo>
                  <a:pt x="3" y="19"/>
                  <a:pt x="1" y="18"/>
                  <a:pt x="0" y="18"/>
                </a:cubicBezTo>
                <a:cubicBezTo>
                  <a:pt x="0" y="19"/>
                  <a:pt x="0" y="21"/>
                  <a:pt x="2" y="22"/>
                </a:cubicBezTo>
                <a:cubicBezTo>
                  <a:pt x="5" y="23"/>
                  <a:pt x="1" y="24"/>
                  <a:pt x="7" y="24"/>
                </a:cubicBezTo>
                <a:cubicBezTo>
                  <a:pt x="7" y="24"/>
                  <a:pt x="8" y="24"/>
                  <a:pt x="8" y="24"/>
                </a:cubicBezTo>
                <a:cubicBezTo>
                  <a:pt x="8" y="23"/>
                  <a:pt x="8" y="23"/>
                  <a:pt x="7" y="21"/>
                </a:cubicBezTo>
                <a:cubicBezTo>
                  <a:pt x="5" y="19"/>
                  <a:pt x="4" y="20"/>
                  <a:pt x="3" y="2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8" name="Freeform 174"/>
          <p:cNvSpPr/>
          <p:nvPr/>
        </p:nvSpPr>
        <p:spPr bwMode="auto">
          <a:xfrm>
            <a:off x="5400155" y="2349948"/>
            <a:ext cx="282575" cy="201613"/>
          </a:xfrm>
          <a:custGeom>
            <a:avLst/>
            <a:gdLst>
              <a:gd name="T0" fmla="*/ 96 w 99"/>
              <a:gd name="T1" fmla="*/ 10 h 71"/>
              <a:gd name="T2" fmla="*/ 93 w 99"/>
              <a:gd name="T3" fmla="*/ 8 h 71"/>
              <a:gd name="T4" fmla="*/ 86 w 99"/>
              <a:gd name="T5" fmla="*/ 13 h 71"/>
              <a:gd name="T6" fmla="*/ 82 w 99"/>
              <a:gd name="T7" fmla="*/ 14 h 71"/>
              <a:gd name="T8" fmla="*/ 79 w 99"/>
              <a:gd name="T9" fmla="*/ 14 h 71"/>
              <a:gd name="T10" fmla="*/ 78 w 99"/>
              <a:gd name="T11" fmla="*/ 6 h 71"/>
              <a:gd name="T12" fmla="*/ 76 w 99"/>
              <a:gd name="T13" fmla="*/ 0 h 71"/>
              <a:gd name="T14" fmla="*/ 69 w 99"/>
              <a:gd name="T15" fmla="*/ 6 h 71"/>
              <a:gd name="T16" fmla="*/ 63 w 99"/>
              <a:gd name="T17" fmla="*/ 10 h 71"/>
              <a:gd name="T18" fmla="*/ 56 w 99"/>
              <a:gd name="T19" fmla="*/ 11 h 71"/>
              <a:gd name="T20" fmla="*/ 50 w 99"/>
              <a:gd name="T21" fmla="*/ 10 h 71"/>
              <a:gd name="T22" fmla="*/ 44 w 99"/>
              <a:gd name="T23" fmla="*/ 8 h 71"/>
              <a:gd name="T24" fmla="*/ 38 w 99"/>
              <a:gd name="T25" fmla="*/ 7 h 71"/>
              <a:gd name="T26" fmla="*/ 33 w 99"/>
              <a:gd name="T27" fmla="*/ 10 h 71"/>
              <a:gd name="T28" fmla="*/ 29 w 99"/>
              <a:gd name="T29" fmla="*/ 17 h 71"/>
              <a:gd name="T30" fmla="*/ 19 w 99"/>
              <a:gd name="T31" fmla="*/ 23 h 71"/>
              <a:gd name="T32" fmla="*/ 13 w 99"/>
              <a:gd name="T33" fmla="*/ 25 h 71"/>
              <a:gd name="T34" fmla="*/ 8 w 99"/>
              <a:gd name="T35" fmla="*/ 23 h 71"/>
              <a:gd name="T36" fmla="*/ 5 w 99"/>
              <a:gd name="T37" fmla="*/ 27 h 71"/>
              <a:gd name="T38" fmla="*/ 2 w 99"/>
              <a:gd name="T39" fmla="*/ 32 h 71"/>
              <a:gd name="T40" fmla="*/ 2 w 99"/>
              <a:gd name="T41" fmla="*/ 38 h 71"/>
              <a:gd name="T42" fmla="*/ 2 w 99"/>
              <a:gd name="T43" fmla="*/ 45 h 71"/>
              <a:gd name="T44" fmla="*/ 3 w 99"/>
              <a:gd name="T45" fmla="*/ 53 h 71"/>
              <a:gd name="T46" fmla="*/ 10 w 99"/>
              <a:gd name="T47" fmla="*/ 57 h 71"/>
              <a:gd name="T48" fmla="*/ 2 w 99"/>
              <a:gd name="T49" fmla="*/ 67 h 71"/>
              <a:gd name="T50" fmla="*/ 4 w 99"/>
              <a:gd name="T51" fmla="*/ 69 h 71"/>
              <a:gd name="T52" fmla="*/ 14 w 99"/>
              <a:gd name="T53" fmla="*/ 70 h 71"/>
              <a:gd name="T54" fmla="*/ 42 w 99"/>
              <a:gd name="T55" fmla="*/ 67 h 71"/>
              <a:gd name="T56" fmla="*/ 42 w 99"/>
              <a:gd name="T57" fmla="*/ 60 h 71"/>
              <a:gd name="T58" fmla="*/ 47 w 99"/>
              <a:gd name="T59" fmla="*/ 56 h 71"/>
              <a:gd name="T60" fmla="*/ 52 w 99"/>
              <a:gd name="T61" fmla="*/ 55 h 71"/>
              <a:gd name="T62" fmla="*/ 59 w 99"/>
              <a:gd name="T63" fmla="*/ 53 h 71"/>
              <a:gd name="T64" fmla="*/ 62 w 99"/>
              <a:gd name="T65" fmla="*/ 50 h 71"/>
              <a:gd name="T66" fmla="*/ 65 w 99"/>
              <a:gd name="T67" fmla="*/ 42 h 71"/>
              <a:gd name="T68" fmla="*/ 69 w 99"/>
              <a:gd name="T69" fmla="*/ 40 h 71"/>
              <a:gd name="T70" fmla="*/ 67 w 99"/>
              <a:gd name="T71" fmla="*/ 35 h 71"/>
              <a:gd name="T72" fmla="*/ 75 w 99"/>
              <a:gd name="T73" fmla="*/ 35 h 71"/>
              <a:gd name="T74" fmla="*/ 75 w 99"/>
              <a:gd name="T75" fmla="*/ 30 h 71"/>
              <a:gd name="T76" fmla="*/ 79 w 99"/>
              <a:gd name="T77" fmla="*/ 25 h 71"/>
              <a:gd name="T78" fmla="*/ 77 w 99"/>
              <a:gd name="T79" fmla="*/ 21 h 71"/>
              <a:gd name="T80" fmla="*/ 78 w 99"/>
              <a:gd name="T81" fmla="*/ 17 h 71"/>
              <a:gd name="T82" fmla="*/ 79 w 99"/>
              <a:gd name="T83" fmla="*/ 17 h 71"/>
              <a:gd name="T84" fmla="*/ 83 w 99"/>
              <a:gd name="T85" fmla="*/ 16 h 71"/>
              <a:gd name="T86" fmla="*/ 92 w 99"/>
              <a:gd name="T87" fmla="*/ 13 h 71"/>
              <a:gd name="T88" fmla="*/ 99 w 99"/>
              <a:gd name="T89" fmla="*/ 11 h 71"/>
              <a:gd name="T90" fmla="*/ 96 w 99"/>
              <a:gd name="T91" fmla="*/ 1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 h="71">
                <a:moveTo>
                  <a:pt x="96" y="10"/>
                </a:moveTo>
                <a:cubicBezTo>
                  <a:pt x="94" y="10"/>
                  <a:pt x="95" y="9"/>
                  <a:pt x="93" y="8"/>
                </a:cubicBezTo>
                <a:cubicBezTo>
                  <a:pt x="92" y="7"/>
                  <a:pt x="88" y="11"/>
                  <a:pt x="86" y="13"/>
                </a:cubicBezTo>
                <a:cubicBezTo>
                  <a:pt x="84" y="14"/>
                  <a:pt x="83" y="14"/>
                  <a:pt x="82" y="14"/>
                </a:cubicBezTo>
                <a:cubicBezTo>
                  <a:pt x="80" y="15"/>
                  <a:pt x="79" y="15"/>
                  <a:pt x="79" y="14"/>
                </a:cubicBezTo>
                <a:cubicBezTo>
                  <a:pt x="77" y="12"/>
                  <a:pt x="81" y="7"/>
                  <a:pt x="78" y="6"/>
                </a:cubicBezTo>
                <a:cubicBezTo>
                  <a:pt x="75" y="5"/>
                  <a:pt x="78" y="1"/>
                  <a:pt x="76" y="0"/>
                </a:cubicBezTo>
                <a:cubicBezTo>
                  <a:pt x="73" y="0"/>
                  <a:pt x="69" y="4"/>
                  <a:pt x="69" y="6"/>
                </a:cubicBezTo>
                <a:cubicBezTo>
                  <a:pt x="69" y="8"/>
                  <a:pt x="63" y="8"/>
                  <a:pt x="63" y="10"/>
                </a:cubicBezTo>
                <a:cubicBezTo>
                  <a:pt x="63" y="11"/>
                  <a:pt x="57" y="9"/>
                  <a:pt x="56" y="11"/>
                </a:cubicBezTo>
                <a:cubicBezTo>
                  <a:pt x="55" y="14"/>
                  <a:pt x="52" y="10"/>
                  <a:pt x="50" y="10"/>
                </a:cubicBezTo>
                <a:cubicBezTo>
                  <a:pt x="48" y="10"/>
                  <a:pt x="47" y="7"/>
                  <a:pt x="44" y="8"/>
                </a:cubicBezTo>
                <a:cubicBezTo>
                  <a:pt x="42" y="9"/>
                  <a:pt x="40" y="7"/>
                  <a:pt x="38" y="7"/>
                </a:cubicBezTo>
                <a:cubicBezTo>
                  <a:pt x="36" y="7"/>
                  <a:pt x="35" y="11"/>
                  <a:pt x="33" y="10"/>
                </a:cubicBezTo>
                <a:cubicBezTo>
                  <a:pt x="31" y="9"/>
                  <a:pt x="30" y="14"/>
                  <a:pt x="29" y="17"/>
                </a:cubicBezTo>
                <a:cubicBezTo>
                  <a:pt x="28" y="20"/>
                  <a:pt x="19" y="20"/>
                  <a:pt x="19" y="23"/>
                </a:cubicBezTo>
                <a:cubicBezTo>
                  <a:pt x="19" y="26"/>
                  <a:pt x="14" y="27"/>
                  <a:pt x="13" y="25"/>
                </a:cubicBezTo>
                <a:cubicBezTo>
                  <a:pt x="13" y="23"/>
                  <a:pt x="9" y="24"/>
                  <a:pt x="8" y="23"/>
                </a:cubicBezTo>
                <a:cubicBezTo>
                  <a:pt x="7" y="23"/>
                  <a:pt x="5" y="24"/>
                  <a:pt x="5" y="27"/>
                </a:cubicBezTo>
                <a:cubicBezTo>
                  <a:pt x="5" y="29"/>
                  <a:pt x="3" y="31"/>
                  <a:pt x="2" y="32"/>
                </a:cubicBezTo>
                <a:cubicBezTo>
                  <a:pt x="2" y="33"/>
                  <a:pt x="1" y="36"/>
                  <a:pt x="2" y="38"/>
                </a:cubicBezTo>
                <a:cubicBezTo>
                  <a:pt x="3" y="40"/>
                  <a:pt x="0" y="42"/>
                  <a:pt x="2" y="45"/>
                </a:cubicBezTo>
                <a:cubicBezTo>
                  <a:pt x="3" y="48"/>
                  <a:pt x="2" y="52"/>
                  <a:pt x="3" y="53"/>
                </a:cubicBezTo>
                <a:cubicBezTo>
                  <a:pt x="3" y="54"/>
                  <a:pt x="8" y="54"/>
                  <a:pt x="10" y="57"/>
                </a:cubicBezTo>
                <a:cubicBezTo>
                  <a:pt x="11" y="60"/>
                  <a:pt x="3" y="65"/>
                  <a:pt x="2" y="67"/>
                </a:cubicBezTo>
                <a:cubicBezTo>
                  <a:pt x="2" y="67"/>
                  <a:pt x="3" y="68"/>
                  <a:pt x="4" y="69"/>
                </a:cubicBezTo>
                <a:cubicBezTo>
                  <a:pt x="7" y="69"/>
                  <a:pt x="11" y="69"/>
                  <a:pt x="14" y="70"/>
                </a:cubicBezTo>
                <a:cubicBezTo>
                  <a:pt x="19" y="71"/>
                  <a:pt x="42" y="67"/>
                  <a:pt x="42" y="67"/>
                </a:cubicBezTo>
                <a:cubicBezTo>
                  <a:pt x="43" y="66"/>
                  <a:pt x="41" y="61"/>
                  <a:pt x="42" y="60"/>
                </a:cubicBezTo>
                <a:cubicBezTo>
                  <a:pt x="42" y="59"/>
                  <a:pt x="45" y="56"/>
                  <a:pt x="47" y="56"/>
                </a:cubicBezTo>
                <a:cubicBezTo>
                  <a:pt x="49" y="57"/>
                  <a:pt x="52" y="57"/>
                  <a:pt x="52" y="55"/>
                </a:cubicBezTo>
                <a:cubicBezTo>
                  <a:pt x="52" y="53"/>
                  <a:pt x="58" y="51"/>
                  <a:pt x="59" y="53"/>
                </a:cubicBezTo>
                <a:cubicBezTo>
                  <a:pt x="60" y="54"/>
                  <a:pt x="62" y="54"/>
                  <a:pt x="62" y="50"/>
                </a:cubicBezTo>
                <a:cubicBezTo>
                  <a:pt x="63" y="46"/>
                  <a:pt x="62" y="43"/>
                  <a:pt x="65" y="42"/>
                </a:cubicBezTo>
                <a:cubicBezTo>
                  <a:pt x="67" y="42"/>
                  <a:pt x="69" y="41"/>
                  <a:pt x="69" y="40"/>
                </a:cubicBezTo>
                <a:cubicBezTo>
                  <a:pt x="69" y="38"/>
                  <a:pt x="66" y="36"/>
                  <a:pt x="67" y="35"/>
                </a:cubicBezTo>
                <a:cubicBezTo>
                  <a:pt x="68" y="34"/>
                  <a:pt x="74" y="37"/>
                  <a:pt x="75" y="35"/>
                </a:cubicBezTo>
                <a:cubicBezTo>
                  <a:pt x="76" y="33"/>
                  <a:pt x="74" y="31"/>
                  <a:pt x="75" y="30"/>
                </a:cubicBezTo>
                <a:cubicBezTo>
                  <a:pt x="76" y="28"/>
                  <a:pt x="79" y="27"/>
                  <a:pt x="79" y="25"/>
                </a:cubicBezTo>
                <a:cubicBezTo>
                  <a:pt x="78" y="23"/>
                  <a:pt x="79" y="22"/>
                  <a:pt x="77" y="21"/>
                </a:cubicBezTo>
                <a:cubicBezTo>
                  <a:pt x="76" y="19"/>
                  <a:pt x="77" y="18"/>
                  <a:pt x="78" y="17"/>
                </a:cubicBezTo>
                <a:cubicBezTo>
                  <a:pt x="79" y="17"/>
                  <a:pt x="79" y="17"/>
                  <a:pt x="79" y="17"/>
                </a:cubicBezTo>
                <a:cubicBezTo>
                  <a:pt x="81" y="17"/>
                  <a:pt x="82" y="16"/>
                  <a:pt x="83" y="16"/>
                </a:cubicBezTo>
                <a:cubicBezTo>
                  <a:pt x="86" y="14"/>
                  <a:pt x="90" y="12"/>
                  <a:pt x="92" y="13"/>
                </a:cubicBezTo>
                <a:cubicBezTo>
                  <a:pt x="94" y="13"/>
                  <a:pt x="97" y="13"/>
                  <a:pt x="99" y="11"/>
                </a:cubicBezTo>
                <a:cubicBezTo>
                  <a:pt x="98" y="10"/>
                  <a:pt x="97" y="10"/>
                  <a:pt x="96" y="1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9" name="Freeform 175"/>
          <p:cNvSpPr/>
          <p:nvPr/>
        </p:nvSpPr>
        <p:spPr bwMode="auto">
          <a:xfrm>
            <a:off x="5411267" y="2381698"/>
            <a:ext cx="325438" cy="292100"/>
          </a:xfrm>
          <a:custGeom>
            <a:avLst/>
            <a:gdLst>
              <a:gd name="T0" fmla="*/ 105 w 114"/>
              <a:gd name="T1" fmla="*/ 5 h 103"/>
              <a:gd name="T2" fmla="*/ 97 w 114"/>
              <a:gd name="T3" fmla="*/ 1 h 103"/>
              <a:gd name="T4" fmla="*/ 88 w 114"/>
              <a:gd name="T5" fmla="*/ 2 h 103"/>
              <a:gd name="T6" fmla="*/ 75 w 114"/>
              <a:gd name="T7" fmla="*/ 6 h 103"/>
              <a:gd name="T8" fmla="*/ 73 w 114"/>
              <a:gd name="T9" fmla="*/ 10 h 103"/>
              <a:gd name="T10" fmla="*/ 71 w 114"/>
              <a:gd name="T11" fmla="*/ 19 h 103"/>
              <a:gd name="T12" fmla="*/ 63 w 114"/>
              <a:gd name="T13" fmla="*/ 24 h 103"/>
              <a:gd name="T14" fmla="*/ 61 w 114"/>
              <a:gd name="T15" fmla="*/ 31 h 103"/>
              <a:gd name="T16" fmla="*/ 55 w 114"/>
              <a:gd name="T17" fmla="*/ 42 h 103"/>
              <a:gd name="T18" fmla="*/ 43 w 114"/>
              <a:gd name="T19" fmla="*/ 45 h 103"/>
              <a:gd name="T20" fmla="*/ 38 w 114"/>
              <a:gd name="T21" fmla="*/ 56 h 103"/>
              <a:gd name="T22" fmla="*/ 0 w 114"/>
              <a:gd name="T23" fmla="*/ 58 h 103"/>
              <a:gd name="T24" fmla="*/ 10 w 114"/>
              <a:gd name="T25" fmla="*/ 68 h 103"/>
              <a:gd name="T26" fmla="*/ 15 w 114"/>
              <a:gd name="T27" fmla="*/ 80 h 103"/>
              <a:gd name="T28" fmla="*/ 4 w 114"/>
              <a:gd name="T29" fmla="*/ 89 h 103"/>
              <a:gd name="T30" fmla="*/ 18 w 114"/>
              <a:gd name="T31" fmla="*/ 90 h 103"/>
              <a:gd name="T32" fmla="*/ 34 w 114"/>
              <a:gd name="T33" fmla="*/ 89 h 103"/>
              <a:gd name="T34" fmla="*/ 43 w 114"/>
              <a:gd name="T35" fmla="*/ 95 h 103"/>
              <a:gd name="T36" fmla="*/ 50 w 114"/>
              <a:gd name="T37" fmla="*/ 102 h 103"/>
              <a:gd name="T38" fmla="*/ 52 w 114"/>
              <a:gd name="T39" fmla="*/ 102 h 103"/>
              <a:gd name="T40" fmla="*/ 64 w 114"/>
              <a:gd name="T41" fmla="*/ 98 h 103"/>
              <a:gd name="T42" fmla="*/ 67 w 114"/>
              <a:gd name="T43" fmla="*/ 90 h 103"/>
              <a:gd name="T44" fmla="*/ 60 w 114"/>
              <a:gd name="T45" fmla="*/ 78 h 103"/>
              <a:gd name="T46" fmla="*/ 70 w 114"/>
              <a:gd name="T47" fmla="*/ 72 h 103"/>
              <a:gd name="T48" fmla="*/ 78 w 114"/>
              <a:gd name="T49" fmla="*/ 67 h 103"/>
              <a:gd name="T50" fmla="*/ 87 w 114"/>
              <a:gd name="T51" fmla="*/ 56 h 103"/>
              <a:gd name="T52" fmla="*/ 94 w 114"/>
              <a:gd name="T53" fmla="*/ 49 h 103"/>
              <a:gd name="T54" fmla="*/ 99 w 114"/>
              <a:gd name="T55" fmla="*/ 38 h 103"/>
              <a:gd name="T56" fmla="*/ 92 w 114"/>
              <a:gd name="T57" fmla="*/ 29 h 103"/>
              <a:gd name="T58" fmla="*/ 94 w 114"/>
              <a:gd name="T59" fmla="*/ 18 h 103"/>
              <a:gd name="T60" fmla="*/ 111 w 114"/>
              <a:gd name="T61" fmla="*/ 18 h 103"/>
              <a:gd name="T62" fmla="*/ 108 w 114"/>
              <a:gd name="T63" fmla="*/ 1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103">
                <a:moveTo>
                  <a:pt x="108" y="10"/>
                </a:moveTo>
                <a:cubicBezTo>
                  <a:pt x="105" y="9"/>
                  <a:pt x="105" y="6"/>
                  <a:pt x="105" y="5"/>
                </a:cubicBezTo>
                <a:cubicBezTo>
                  <a:pt x="105" y="4"/>
                  <a:pt x="101" y="2"/>
                  <a:pt x="99" y="0"/>
                </a:cubicBezTo>
                <a:cubicBezTo>
                  <a:pt x="98" y="0"/>
                  <a:pt x="97" y="0"/>
                  <a:pt x="97" y="1"/>
                </a:cubicBezTo>
                <a:cubicBezTo>
                  <a:pt x="96" y="0"/>
                  <a:pt x="96" y="0"/>
                  <a:pt x="95" y="0"/>
                </a:cubicBezTo>
                <a:cubicBezTo>
                  <a:pt x="93" y="2"/>
                  <a:pt x="90" y="2"/>
                  <a:pt x="88" y="2"/>
                </a:cubicBezTo>
                <a:cubicBezTo>
                  <a:pt x="86" y="1"/>
                  <a:pt x="82" y="3"/>
                  <a:pt x="79" y="5"/>
                </a:cubicBezTo>
                <a:cubicBezTo>
                  <a:pt x="78" y="5"/>
                  <a:pt x="77" y="6"/>
                  <a:pt x="75" y="6"/>
                </a:cubicBezTo>
                <a:cubicBezTo>
                  <a:pt x="75" y="6"/>
                  <a:pt x="75" y="6"/>
                  <a:pt x="74" y="6"/>
                </a:cubicBezTo>
                <a:cubicBezTo>
                  <a:pt x="73" y="7"/>
                  <a:pt x="72" y="8"/>
                  <a:pt x="73" y="10"/>
                </a:cubicBezTo>
                <a:cubicBezTo>
                  <a:pt x="75" y="11"/>
                  <a:pt x="74" y="12"/>
                  <a:pt x="75" y="14"/>
                </a:cubicBezTo>
                <a:cubicBezTo>
                  <a:pt x="75" y="16"/>
                  <a:pt x="72" y="17"/>
                  <a:pt x="71" y="19"/>
                </a:cubicBezTo>
                <a:cubicBezTo>
                  <a:pt x="70" y="20"/>
                  <a:pt x="72" y="22"/>
                  <a:pt x="71" y="24"/>
                </a:cubicBezTo>
                <a:cubicBezTo>
                  <a:pt x="70" y="26"/>
                  <a:pt x="64" y="23"/>
                  <a:pt x="63" y="24"/>
                </a:cubicBezTo>
                <a:cubicBezTo>
                  <a:pt x="62" y="25"/>
                  <a:pt x="65" y="27"/>
                  <a:pt x="65" y="29"/>
                </a:cubicBezTo>
                <a:cubicBezTo>
                  <a:pt x="65" y="30"/>
                  <a:pt x="63" y="31"/>
                  <a:pt x="61" y="31"/>
                </a:cubicBezTo>
                <a:cubicBezTo>
                  <a:pt x="58" y="32"/>
                  <a:pt x="59" y="35"/>
                  <a:pt x="58" y="39"/>
                </a:cubicBezTo>
                <a:cubicBezTo>
                  <a:pt x="58" y="43"/>
                  <a:pt x="56" y="43"/>
                  <a:pt x="55" y="42"/>
                </a:cubicBezTo>
                <a:cubicBezTo>
                  <a:pt x="54" y="40"/>
                  <a:pt x="48" y="42"/>
                  <a:pt x="48" y="44"/>
                </a:cubicBezTo>
                <a:cubicBezTo>
                  <a:pt x="48" y="46"/>
                  <a:pt x="45" y="46"/>
                  <a:pt x="43" y="45"/>
                </a:cubicBezTo>
                <a:cubicBezTo>
                  <a:pt x="41" y="45"/>
                  <a:pt x="38" y="48"/>
                  <a:pt x="38" y="49"/>
                </a:cubicBezTo>
                <a:cubicBezTo>
                  <a:pt x="37" y="50"/>
                  <a:pt x="39" y="55"/>
                  <a:pt x="38" y="56"/>
                </a:cubicBezTo>
                <a:cubicBezTo>
                  <a:pt x="38" y="56"/>
                  <a:pt x="15" y="60"/>
                  <a:pt x="10" y="59"/>
                </a:cubicBezTo>
                <a:cubicBezTo>
                  <a:pt x="7" y="58"/>
                  <a:pt x="3" y="58"/>
                  <a:pt x="0" y="58"/>
                </a:cubicBezTo>
                <a:cubicBezTo>
                  <a:pt x="1" y="59"/>
                  <a:pt x="3" y="60"/>
                  <a:pt x="3" y="62"/>
                </a:cubicBezTo>
                <a:cubicBezTo>
                  <a:pt x="4" y="64"/>
                  <a:pt x="7" y="66"/>
                  <a:pt x="10" y="68"/>
                </a:cubicBezTo>
                <a:cubicBezTo>
                  <a:pt x="13" y="69"/>
                  <a:pt x="12" y="75"/>
                  <a:pt x="13" y="75"/>
                </a:cubicBezTo>
                <a:cubicBezTo>
                  <a:pt x="15" y="76"/>
                  <a:pt x="17" y="80"/>
                  <a:pt x="15" y="80"/>
                </a:cubicBezTo>
                <a:cubicBezTo>
                  <a:pt x="13" y="81"/>
                  <a:pt x="11" y="81"/>
                  <a:pt x="9" y="82"/>
                </a:cubicBezTo>
                <a:cubicBezTo>
                  <a:pt x="7" y="83"/>
                  <a:pt x="4" y="86"/>
                  <a:pt x="4" y="89"/>
                </a:cubicBezTo>
                <a:cubicBezTo>
                  <a:pt x="5" y="90"/>
                  <a:pt x="5" y="90"/>
                  <a:pt x="5" y="91"/>
                </a:cubicBezTo>
                <a:cubicBezTo>
                  <a:pt x="10" y="91"/>
                  <a:pt x="17" y="91"/>
                  <a:pt x="18" y="90"/>
                </a:cubicBezTo>
                <a:cubicBezTo>
                  <a:pt x="19" y="89"/>
                  <a:pt x="21" y="88"/>
                  <a:pt x="23" y="89"/>
                </a:cubicBezTo>
                <a:cubicBezTo>
                  <a:pt x="24" y="90"/>
                  <a:pt x="31" y="91"/>
                  <a:pt x="34" y="89"/>
                </a:cubicBezTo>
                <a:cubicBezTo>
                  <a:pt x="37" y="87"/>
                  <a:pt x="39" y="89"/>
                  <a:pt x="39" y="91"/>
                </a:cubicBezTo>
                <a:cubicBezTo>
                  <a:pt x="39" y="92"/>
                  <a:pt x="41" y="93"/>
                  <a:pt x="43" y="95"/>
                </a:cubicBezTo>
                <a:cubicBezTo>
                  <a:pt x="44" y="96"/>
                  <a:pt x="43" y="98"/>
                  <a:pt x="44" y="99"/>
                </a:cubicBezTo>
                <a:cubicBezTo>
                  <a:pt x="45" y="101"/>
                  <a:pt x="47" y="101"/>
                  <a:pt x="50" y="102"/>
                </a:cubicBezTo>
                <a:cubicBezTo>
                  <a:pt x="50" y="102"/>
                  <a:pt x="51" y="102"/>
                  <a:pt x="51" y="103"/>
                </a:cubicBezTo>
                <a:cubicBezTo>
                  <a:pt x="51" y="102"/>
                  <a:pt x="51" y="102"/>
                  <a:pt x="52" y="102"/>
                </a:cubicBezTo>
                <a:cubicBezTo>
                  <a:pt x="53" y="100"/>
                  <a:pt x="53" y="97"/>
                  <a:pt x="58" y="98"/>
                </a:cubicBezTo>
                <a:cubicBezTo>
                  <a:pt x="62" y="99"/>
                  <a:pt x="62" y="97"/>
                  <a:pt x="64" y="98"/>
                </a:cubicBezTo>
                <a:cubicBezTo>
                  <a:pt x="67" y="98"/>
                  <a:pt x="68" y="98"/>
                  <a:pt x="69" y="96"/>
                </a:cubicBezTo>
                <a:cubicBezTo>
                  <a:pt x="71" y="95"/>
                  <a:pt x="68" y="91"/>
                  <a:pt x="67" y="90"/>
                </a:cubicBezTo>
                <a:cubicBezTo>
                  <a:pt x="66" y="89"/>
                  <a:pt x="64" y="86"/>
                  <a:pt x="64" y="83"/>
                </a:cubicBezTo>
                <a:cubicBezTo>
                  <a:pt x="64" y="80"/>
                  <a:pt x="60" y="80"/>
                  <a:pt x="60" y="78"/>
                </a:cubicBezTo>
                <a:cubicBezTo>
                  <a:pt x="60" y="76"/>
                  <a:pt x="64" y="72"/>
                  <a:pt x="65" y="71"/>
                </a:cubicBezTo>
                <a:cubicBezTo>
                  <a:pt x="66" y="71"/>
                  <a:pt x="69" y="74"/>
                  <a:pt x="70" y="72"/>
                </a:cubicBezTo>
                <a:cubicBezTo>
                  <a:pt x="71" y="70"/>
                  <a:pt x="73" y="71"/>
                  <a:pt x="75" y="72"/>
                </a:cubicBezTo>
                <a:cubicBezTo>
                  <a:pt x="76" y="72"/>
                  <a:pt x="78" y="69"/>
                  <a:pt x="78" y="67"/>
                </a:cubicBezTo>
                <a:cubicBezTo>
                  <a:pt x="79" y="64"/>
                  <a:pt x="83" y="64"/>
                  <a:pt x="84" y="63"/>
                </a:cubicBezTo>
                <a:cubicBezTo>
                  <a:pt x="85" y="62"/>
                  <a:pt x="86" y="57"/>
                  <a:pt x="87" y="56"/>
                </a:cubicBezTo>
                <a:cubicBezTo>
                  <a:pt x="87" y="55"/>
                  <a:pt x="91" y="55"/>
                  <a:pt x="91" y="52"/>
                </a:cubicBezTo>
                <a:cubicBezTo>
                  <a:pt x="91" y="49"/>
                  <a:pt x="93" y="49"/>
                  <a:pt x="94" y="49"/>
                </a:cubicBezTo>
                <a:cubicBezTo>
                  <a:pt x="96" y="48"/>
                  <a:pt x="95" y="46"/>
                  <a:pt x="96" y="43"/>
                </a:cubicBezTo>
                <a:cubicBezTo>
                  <a:pt x="96" y="41"/>
                  <a:pt x="97" y="39"/>
                  <a:pt x="99" y="38"/>
                </a:cubicBezTo>
                <a:cubicBezTo>
                  <a:pt x="101" y="38"/>
                  <a:pt x="98" y="35"/>
                  <a:pt x="96" y="35"/>
                </a:cubicBezTo>
                <a:cubicBezTo>
                  <a:pt x="93" y="36"/>
                  <a:pt x="92" y="29"/>
                  <a:pt x="92" y="29"/>
                </a:cubicBezTo>
                <a:cubicBezTo>
                  <a:pt x="92" y="29"/>
                  <a:pt x="92" y="23"/>
                  <a:pt x="91" y="22"/>
                </a:cubicBezTo>
                <a:cubicBezTo>
                  <a:pt x="89" y="21"/>
                  <a:pt x="91" y="18"/>
                  <a:pt x="94" y="18"/>
                </a:cubicBezTo>
                <a:cubicBezTo>
                  <a:pt x="97" y="18"/>
                  <a:pt x="103" y="22"/>
                  <a:pt x="105" y="20"/>
                </a:cubicBezTo>
                <a:cubicBezTo>
                  <a:pt x="106" y="19"/>
                  <a:pt x="110" y="18"/>
                  <a:pt x="111" y="18"/>
                </a:cubicBezTo>
                <a:cubicBezTo>
                  <a:pt x="112" y="17"/>
                  <a:pt x="113" y="15"/>
                  <a:pt x="114" y="13"/>
                </a:cubicBezTo>
                <a:cubicBezTo>
                  <a:pt x="113" y="12"/>
                  <a:pt x="110" y="11"/>
                  <a:pt x="108" y="1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0" name="Freeform 176"/>
          <p:cNvSpPr>
            <a:spLocks noEditPoints="1"/>
          </p:cNvSpPr>
          <p:nvPr/>
        </p:nvSpPr>
        <p:spPr bwMode="auto">
          <a:xfrm>
            <a:off x="6060555" y="3032573"/>
            <a:ext cx="903288" cy="328613"/>
          </a:xfrm>
          <a:custGeom>
            <a:avLst/>
            <a:gdLst>
              <a:gd name="T0" fmla="*/ 23 w 317"/>
              <a:gd name="T1" fmla="*/ 49 h 115"/>
              <a:gd name="T2" fmla="*/ 90 w 317"/>
              <a:gd name="T3" fmla="*/ 61 h 115"/>
              <a:gd name="T4" fmla="*/ 13 w 317"/>
              <a:gd name="T5" fmla="*/ 31 h 115"/>
              <a:gd name="T6" fmla="*/ 170 w 317"/>
              <a:gd name="T7" fmla="*/ 82 h 115"/>
              <a:gd name="T8" fmla="*/ 177 w 317"/>
              <a:gd name="T9" fmla="*/ 65 h 115"/>
              <a:gd name="T10" fmla="*/ 187 w 317"/>
              <a:gd name="T11" fmla="*/ 67 h 115"/>
              <a:gd name="T12" fmla="*/ 194 w 317"/>
              <a:gd name="T13" fmla="*/ 46 h 115"/>
              <a:gd name="T14" fmla="*/ 194 w 317"/>
              <a:gd name="T15" fmla="*/ 39 h 115"/>
              <a:gd name="T16" fmla="*/ 181 w 317"/>
              <a:gd name="T17" fmla="*/ 32 h 115"/>
              <a:gd name="T18" fmla="*/ 163 w 317"/>
              <a:gd name="T19" fmla="*/ 59 h 115"/>
              <a:gd name="T20" fmla="*/ 75 w 317"/>
              <a:gd name="T21" fmla="*/ 64 h 115"/>
              <a:gd name="T22" fmla="*/ 72 w 317"/>
              <a:gd name="T23" fmla="*/ 53 h 115"/>
              <a:gd name="T24" fmla="*/ 70 w 317"/>
              <a:gd name="T25" fmla="*/ 58 h 115"/>
              <a:gd name="T26" fmla="*/ 58 w 317"/>
              <a:gd name="T27" fmla="*/ 43 h 115"/>
              <a:gd name="T28" fmla="*/ 47 w 317"/>
              <a:gd name="T29" fmla="*/ 31 h 115"/>
              <a:gd name="T30" fmla="*/ 32 w 317"/>
              <a:gd name="T31" fmla="*/ 20 h 115"/>
              <a:gd name="T32" fmla="*/ 1 w 317"/>
              <a:gd name="T33" fmla="*/ 3 h 115"/>
              <a:gd name="T34" fmla="*/ 28 w 317"/>
              <a:gd name="T35" fmla="*/ 40 h 115"/>
              <a:gd name="T36" fmla="*/ 61 w 317"/>
              <a:gd name="T37" fmla="*/ 78 h 115"/>
              <a:gd name="T38" fmla="*/ 74 w 317"/>
              <a:gd name="T39" fmla="*/ 72 h 115"/>
              <a:gd name="T40" fmla="*/ 228 w 317"/>
              <a:gd name="T41" fmla="*/ 32 h 115"/>
              <a:gd name="T42" fmla="*/ 229 w 317"/>
              <a:gd name="T43" fmla="*/ 39 h 115"/>
              <a:gd name="T44" fmla="*/ 213 w 317"/>
              <a:gd name="T45" fmla="*/ 64 h 115"/>
              <a:gd name="T46" fmla="*/ 169 w 317"/>
              <a:gd name="T47" fmla="*/ 102 h 115"/>
              <a:gd name="T48" fmla="*/ 197 w 317"/>
              <a:gd name="T49" fmla="*/ 99 h 115"/>
              <a:gd name="T50" fmla="*/ 236 w 317"/>
              <a:gd name="T51" fmla="*/ 65 h 115"/>
              <a:gd name="T52" fmla="*/ 133 w 317"/>
              <a:gd name="T53" fmla="*/ 97 h 115"/>
              <a:gd name="T54" fmla="*/ 120 w 317"/>
              <a:gd name="T55" fmla="*/ 90 h 115"/>
              <a:gd name="T56" fmla="*/ 75 w 317"/>
              <a:gd name="T57" fmla="*/ 84 h 115"/>
              <a:gd name="T58" fmla="*/ 80 w 317"/>
              <a:gd name="T59" fmla="*/ 93 h 115"/>
              <a:gd name="T60" fmla="*/ 122 w 317"/>
              <a:gd name="T61" fmla="*/ 100 h 115"/>
              <a:gd name="T62" fmla="*/ 133 w 317"/>
              <a:gd name="T63" fmla="*/ 97 h 115"/>
              <a:gd name="T64" fmla="*/ 276 w 317"/>
              <a:gd name="T65" fmla="*/ 65 h 115"/>
              <a:gd name="T66" fmla="*/ 247 w 317"/>
              <a:gd name="T67" fmla="*/ 50 h 115"/>
              <a:gd name="T68" fmla="*/ 265 w 317"/>
              <a:gd name="T69" fmla="*/ 57 h 115"/>
              <a:gd name="T70" fmla="*/ 255 w 317"/>
              <a:gd name="T71" fmla="*/ 61 h 115"/>
              <a:gd name="T72" fmla="*/ 271 w 317"/>
              <a:gd name="T73" fmla="*/ 70 h 115"/>
              <a:gd name="T74" fmla="*/ 300 w 317"/>
              <a:gd name="T75" fmla="*/ 87 h 115"/>
              <a:gd name="T76" fmla="*/ 309 w 317"/>
              <a:gd name="T77" fmla="*/ 98 h 115"/>
              <a:gd name="T78" fmla="*/ 293 w 317"/>
              <a:gd name="T79" fmla="*/ 52 h 115"/>
              <a:gd name="T80" fmla="*/ 202 w 317"/>
              <a:gd name="T81" fmla="*/ 107 h 115"/>
              <a:gd name="T82" fmla="*/ 205 w 317"/>
              <a:gd name="T83" fmla="*/ 108 h 115"/>
              <a:gd name="T84" fmla="*/ 207 w 317"/>
              <a:gd name="T85" fmla="*/ 106 h 115"/>
              <a:gd name="T86" fmla="*/ 152 w 317"/>
              <a:gd name="T87" fmla="*/ 41 h 115"/>
              <a:gd name="T88" fmla="*/ 156 w 317"/>
              <a:gd name="T89" fmla="*/ 24 h 115"/>
              <a:gd name="T90" fmla="*/ 155 w 317"/>
              <a:gd name="T91" fmla="*/ 12 h 115"/>
              <a:gd name="T92" fmla="*/ 137 w 317"/>
              <a:gd name="T93" fmla="*/ 22 h 115"/>
              <a:gd name="T94" fmla="*/ 122 w 317"/>
              <a:gd name="T95" fmla="*/ 31 h 115"/>
              <a:gd name="T96" fmla="*/ 101 w 317"/>
              <a:gd name="T97" fmla="*/ 32 h 115"/>
              <a:gd name="T98" fmla="*/ 94 w 317"/>
              <a:gd name="T99" fmla="*/ 37 h 115"/>
              <a:gd name="T100" fmla="*/ 110 w 317"/>
              <a:gd name="T101" fmla="*/ 63 h 115"/>
              <a:gd name="T102" fmla="*/ 133 w 317"/>
              <a:gd name="T103" fmla="*/ 68 h 115"/>
              <a:gd name="T104" fmla="*/ 164 w 317"/>
              <a:gd name="T105" fmla="*/ 108 h 115"/>
              <a:gd name="T106" fmla="*/ 164 w 317"/>
              <a:gd name="T107" fmla="*/ 108 h 115"/>
              <a:gd name="T108" fmla="*/ 144 w 317"/>
              <a:gd name="T109" fmla="*/ 103 h 115"/>
              <a:gd name="T110" fmla="*/ 153 w 317"/>
              <a:gd name="T111" fmla="*/ 9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7" h="115">
                <a:moveTo>
                  <a:pt x="23" y="49"/>
                </a:moveTo>
                <a:cubicBezTo>
                  <a:pt x="23" y="50"/>
                  <a:pt x="25" y="54"/>
                  <a:pt x="26" y="53"/>
                </a:cubicBezTo>
                <a:cubicBezTo>
                  <a:pt x="28" y="52"/>
                  <a:pt x="24" y="46"/>
                  <a:pt x="23" y="49"/>
                </a:cubicBezTo>
                <a:close/>
                <a:moveTo>
                  <a:pt x="90" y="61"/>
                </a:moveTo>
                <a:cubicBezTo>
                  <a:pt x="90" y="60"/>
                  <a:pt x="84" y="60"/>
                  <a:pt x="86" y="63"/>
                </a:cubicBezTo>
                <a:cubicBezTo>
                  <a:pt x="88" y="66"/>
                  <a:pt x="90" y="63"/>
                  <a:pt x="90" y="61"/>
                </a:cubicBezTo>
                <a:close/>
                <a:moveTo>
                  <a:pt x="13" y="31"/>
                </a:moveTo>
                <a:cubicBezTo>
                  <a:pt x="13" y="33"/>
                  <a:pt x="15" y="39"/>
                  <a:pt x="17" y="37"/>
                </a:cubicBezTo>
                <a:cubicBezTo>
                  <a:pt x="20" y="34"/>
                  <a:pt x="14" y="29"/>
                  <a:pt x="13" y="31"/>
                </a:cubicBezTo>
                <a:close/>
                <a:moveTo>
                  <a:pt x="167" y="66"/>
                </a:moveTo>
                <a:cubicBezTo>
                  <a:pt x="170" y="66"/>
                  <a:pt x="169" y="71"/>
                  <a:pt x="169" y="74"/>
                </a:cubicBezTo>
                <a:cubicBezTo>
                  <a:pt x="168" y="76"/>
                  <a:pt x="167" y="83"/>
                  <a:pt x="170" y="82"/>
                </a:cubicBezTo>
                <a:cubicBezTo>
                  <a:pt x="173" y="80"/>
                  <a:pt x="175" y="76"/>
                  <a:pt x="173" y="75"/>
                </a:cubicBezTo>
                <a:cubicBezTo>
                  <a:pt x="171" y="73"/>
                  <a:pt x="172" y="64"/>
                  <a:pt x="172" y="62"/>
                </a:cubicBezTo>
                <a:cubicBezTo>
                  <a:pt x="173" y="60"/>
                  <a:pt x="179" y="62"/>
                  <a:pt x="177" y="65"/>
                </a:cubicBezTo>
                <a:cubicBezTo>
                  <a:pt x="175" y="68"/>
                  <a:pt x="180" y="68"/>
                  <a:pt x="180" y="72"/>
                </a:cubicBezTo>
                <a:cubicBezTo>
                  <a:pt x="180" y="76"/>
                  <a:pt x="183" y="74"/>
                  <a:pt x="187" y="73"/>
                </a:cubicBezTo>
                <a:cubicBezTo>
                  <a:pt x="190" y="72"/>
                  <a:pt x="189" y="70"/>
                  <a:pt x="187" y="67"/>
                </a:cubicBezTo>
                <a:cubicBezTo>
                  <a:pt x="185" y="65"/>
                  <a:pt x="189" y="62"/>
                  <a:pt x="186" y="60"/>
                </a:cubicBezTo>
                <a:cubicBezTo>
                  <a:pt x="183" y="57"/>
                  <a:pt x="180" y="54"/>
                  <a:pt x="183" y="54"/>
                </a:cubicBezTo>
                <a:cubicBezTo>
                  <a:pt x="186" y="53"/>
                  <a:pt x="195" y="48"/>
                  <a:pt x="194" y="46"/>
                </a:cubicBezTo>
                <a:cubicBezTo>
                  <a:pt x="193" y="44"/>
                  <a:pt x="181" y="47"/>
                  <a:pt x="180" y="50"/>
                </a:cubicBezTo>
                <a:cubicBezTo>
                  <a:pt x="179" y="54"/>
                  <a:pt x="170" y="50"/>
                  <a:pt x="171" y="44"/>
                </a:cubicBezTo>
                <a:cubicBezTo>
                  <a:pt x="172" y="37"/>
                  <a:pt x="189" y="36"/>
                  <a:pt x="194" y="39"/>
                </a:cubicBezTo>
                <a:cubicBezTo>
                  <a:pt x="199" y="41"/>
                  <a:pt x="204" y="35"/>
                  <a:pt x="206" y="31"/>
                </a:cubicBezTo>
                <a:cubicBezTo>
                  <a:pt x="208" y="28"/>
                  <a:pt x="202" y="32"/>
                  <a:pt x="199" y="34"/>
                </a:cubicBezTo>
                <a:cubicBezTo>
                  <a:pt x="195" y="37"/>
                  <a:pt x="186" y="34"/>
                  <a:pt x="181" y="32"/>
                </a:cubicBezTo>
                <a:cubicBezTo>
                  <a:pt x="177" y="31"/>
                  <a:pt x="177" y="35"/>
                  <a:pt x="173" y="36"/>
                </a:cubicBezTo>
                <a:cubicBezTo>
                  <a:pt x="169" y="37"/>
                  <a:pt x="170" y="45"/>
                  <a:pt x="168" y="46"/>
                </a:cubicBezTo>
                <a:cubicBezTo>
                  <a:pt x="166" y="47"/>
                  <a:pt x="166" y="53"/>
                  <a:pt x="163" y="59"/>
                </a:cubicBezTo>
                <a:cubicBezTo>
                  <a:pt x="159" y="65"/>
                  <a:pt x="164" y="66"/>
                  <a:pt x="167" y="66"/>
                </a:cubicBezTo>
                <a:close/>
                <a:moveTo>
                  <a:pt x="74" y="72"/>
                </a:moveTo>
                <a:cubicBezTo>
                  <a:pt x="74" y="69"/>
                  <a:pt x="75" y="66"/>
                  <a:pt x="75" y="64"/>
                </a:cubicBezTo>
                <a:cubicBezTo>
                  <a:pt x="75" y="63"/>
                  <a:pt x="76" y="62"/>
                  <a:pt x="78" y="63"/>
                </a:cubicBezTo>
                <a:cubicBezTo>
                  <a:pt x="79" y="63"/>
                  <a:pt x="79" y="59"/>
                  <a:pt x="78" y="59"/>
                </a:cubicBezTo>
                <a:cubicBezTo>
                  <a:pt x="76" y="58"/>
                  <a:pt x="76" y="53"/>
                  <a:pt x="72" y="53"/>
                </a:cubicBezTo>
                <a:cubicBezTo>
                  <a:pt x="69" y="53"/>
                  <a:pt x="69" y="56"/>
                  <a:pt x="71" y="56"/>
                </a:cubicBezTo>
                <a:cubicBezTo>
                  <a:pt x="73" y="56"/>
                  <a:pt x="75" y="58"/>
                  <a:pt x="74" y="59"/>
                </a:cubicBezTo>
                <a:cubicBezTo>
                  <a:pt x="73" y="61"/>
                  <a:pt x="73" y="58"/>
                  <a:pt x="70" y="58"/>
                </a:cubicBezTo>
                <a:cubicBezTo>
                  <a:pt x="67" y="58"/>
                  <a:pt x="69" y="55"/>
                  <a:pt x="65" y="54"/>
                </a:cubicBezTo>
                <a:cubicBezTo>
                  <a:pt x="62" y="54"/>
                  <a:pt x="63" y="48"/>
                  <a:pt x="59" y="48"/>
                </a:cubicBezTo>
                <a:cubicBezTo>
                  <a:pt x="56" y="48"/>
                  <a:pt x="56" y="45"/>
                  <a:pt x="58" y="43"/>
                </a:cubicBezTo>
                <a:cubicBezTo>
                  <a:pt x="60" y="41"/>
                  <a:pt x="54" y="40"/>
                  <a:pt x="54" y="37"/>
                </a:cubicBezTo>
                <a:cubicBezTo>
                  <a:pt x="54" y="35"/>
                  <a:pt x="51" y="36"/>
                  <a:pt x="51" y="34"/>
                </a:cubicBezTo>
                <a:cubicBezTo>
                  <a:pt x="51" y="32"/>
                  <a:pt x="49" y="33"/>
                  <a:pt x="47" y="31"/>
                </a:cubicBezTo>
                <a:cubicBezTo>
                  <a:pt x="45" y="28"/>
                  <a:pt x="45" y="30"/>
                  <a:pt x="43" y="29"/>
                </a:cubicBezTo>
                <a:cubicBezTo>
                  <a:pt x="41" y="27"/>
                  <a:pt x="39" y="26"/>
                  <a:pt x="38" y="26"/>
                </a:cubicBezTo>
                <a:cubicBezTo>
                  <a:pt x="36" y="27"/>
                  <a:pt x="33" y="24"/>
                  <a:pt x="32" y="20"/>
                </a:cubicBezTo>
                <a:cubicBezTo>
                  <a:pt x="31" y="18"/>
                  <a:pt x="21" y="14"/>
                  <a:pt x="20" y="10"/>
                </a:cubicBezTo>
                <a:cubicBezTo>
                  <a:pt x="19" y="7"/>
                  <a:pt x="16" y="5"/>
                  <a:pt x="10" y="5"/>
                </a:cubicBezTo>
                <a:cubicBezTo>
                  <a:pt x="5" y="6"/>
                  <a:pt x="3" y="0"/>
                  <a:pt x="1" y="3"/>
                </a:cubicBezTo>
                <a:cubicBezTo>
                  <a:pt x="0" y="6"/>
                  <a:pt x="7" y="14"/>
                  <a:pt x="11" y="16"/>
                </a:cubicBezTo>
                <a:cubicBezTo>
                  <a:pt x="14" y="18"/>
                  <a:pt x="16" y="25"/>
                  <a:pt x="20" y="26"/>
                </a:cubicBezTo>
                <a:cubicBezTo>
                  <a:pt x="24" y="26"/>
                  <a:pt x="25" y="39"/>
                  <a:pt x="28" y="40"/>
                </a:cubicBezTo>
                <a:cubicBezTo>
                  <a:pt x="31" y="40"/>
                  <a:pt x="37" y="50"/>
                  <a:pt x="38" y="55"/>
                </a:cubicBezTo>
                <a:cubicBezTo>
                  <a:pt x="39" y="61"/>
                  <a:pt x="46" y="63"/>
                  <a:pt x="48" y="67"/>
                </a:cubicBezTo>
                <a:cubicBezTo>
                  <a:pt x="50" y="71"/>
                  <a:pt x="59" y="76"/>
                  <a:pt x="61" y="78"/>
                </a:cubicBezTo>
                <a:cubicBezTo>
                  <a:pt x="62" y="80"/>
                  <a:pt x="63" y="83"/>
                  <a:pt x="64" y="82"/>
                </a:cubicBezTo>
                <a:cubicBezTo>
                  <a:pt x="65" y="80"/>
                  <a:pt x="69" y="82"/>
                  <a:pt x="71" y="82"/>
                </a:cubicBezTo>
                <a:cubicBezTo>
                  <a:pt x="73" y="82"/>
                  <a:pt x="74" y="74"/>
                  <a:pt x="74" y="72"/>
                </a:cubicBezTo>
                <a:close/>
                <a:moveTo>
                  <a:pt x="229" y="39"/>
                </a:moveTo>
                <a:cubicBezTo>
                  <a:pt x="234" y="39"/>
                  <a:pt x="232" y="37"/>
                  <a:pt x="232" y="34"/>
                </a:cubicBezTo>
                <a:cubicBezTo>
                  <a:pt x="232" y="31"/>
                  <a:pt x="228" y="33"/>
                  <a:pt x="228" y="32"/>
                </a:cubicBezTo>
                <a:cubicBezTo>
                  <a:pt x="228" y="31"/>
                  <a:pt x="226" y="25"/>
                  <a:pt x="223" y="29"/>
                </a:cubicBezTo>
                <a:cubicBezTo>
                  <a:pt x="220" y="34"/>
                  <a:pt x="224" y="45"/>
                  <a:pt x="227" y="44"/>
                </a:cubicBezTo>
                <a:cubicBezTo>
                  <a:pt x="229" y="44"/>
                  <a:pt x="225" y="39"/>
                  <a:pt x="229" y="39"/>
                </a:cubicBezTo>
                <a:close/>
                <a:moveTo>
                  <a:pt x="213" y="64"/>
                </a:moveTo>
                <a:cubicBezTo>
                  <a:pt x="213" y="68"/>
                  <a:pt x="219" y="70"/>
                  <a:pt x="221" y="67"/>
                </a:cubicBezTo>
                <a:cubicBezTo>
                  <a:pt x="223" y="64"/>
                  <a:pt x="212" y="61"/>
                  <a:pt x="213" y="64"/>
                </a:cubicBezTo>
                <a:close/>
                <a:moveTo>
                  <a:pt x="197" y="99"/>
                </a:moveTo>
                <a:cubicBezTo>
                  <a:pt x="191" y="98"/>
                  <a:pt x="187" y="102"/>
                  <a:pt x="182" y="100"/>
                </a:cubicBezTo>
                <a:cubicBezTo>
                  <a:pt x="176" y="98"/>
                  <a:pt x="168" y="100"/>
                  <a:pt x="169" y="102"/>
                </a:cubicBezTo>
                <a:cubicBezTo>
                  <a:pt x="170" y="103"/>
                  <a:pt x="175" y="104"/>
                  <a:pt x="180" y="104"/>
                </a:cubicBezTo>
                <a:cubicBezTo>
                  <a:pt x="186" y="104"/>
                  <a:pt x="191" y="101"/>
                  <a:pt x="194" y="101"/>
                </a:cubicBezTo>
                <a:cubicBezTo>
                  <a:pt x="198" y="101"/>
                  <a:pt x="202" y="100"/>
                  <a:pt x="197" y="99"/>
                </a:cubicBezTo>
                <a:close/>
                <a:moveTo>
                  <a:pt x="240" y="62"/>
                </a:moveTo>
                <a:cubicBezTo>
                  <a:pt x="235" y="60"/>
                  <a:pt x="226" y="61"/>
                  <a:pt x="227" y="64"/>
                </a:cubicBezTo>
                <a:cubicBezTo>
                  <a:pt x="227" y="66"/>
                  <a:pt x="232" y="65"/>
                  <a:pt x="236" y="65"/>
                </a:cubicBezTo>
                <a:cubicBezTo>
                  <a:pt x="240" y="65"/>
                  <a:pt x="243" y="68"/>
                  <a:pt x="245" y="68"/>
                </a:cubicBezTo>
                <a:cubicBezTo>
                  <a:pt x="247" y="68"/>
                  <a:pt x="245" y="63"/>
                  <a:pt x="240" y="62"/>
                </a:cubicBezTo>
                <a:close/>
                <a:moveTo>
                  <a:pt x="133" y="97"/>
                </a:moveTo>
                <a:cubicBezTo>
                  <a:pt x="133" y="94"/>
                  <a:pt x="125" y="96"/>
                  <a:pt x="121" y="95"/>
                </a:cubicBezTo>
                <a:cubicBezTo>
                  <a:pt x="117" y="93"/>
                  <a:pt x="125" y="92"/>
                  <a:pt x="128" y="90"/>
                </a:cubicBezTo>
                <a:cubicBezTo>
                  <a:pt x="130" y="88"/>
                  <a:pt x="126" y="88"/>
                  <a:pt x="120" y="90"/>
                </a:cubicBezTo>
                <a:cubicBezTo>
                  <a:pt x="113" y="92"/>
                  <a:pt x="106" y="85"/>
                  <a:pt x="105" y="88"/>
                </a:cubicBezTo>
                <a:cubicBezTo>
                  <a:pt x="105" y="91"/>
                  <a:pt x="94" y="87"/>
                  <a:pt x="91" y="85"/>
                </a:cubicBezTo>
                <a:cubicBezTo>
                  <a:pt x="88" y="83"/>
                  <a:pt x="77" y="80"/>
                  <a:pt x="75" y="84"/>
                </a:cubicBezTo>
                <a:cubicBezTo>
                  <a:pt x="72" y="88"/>
                  <a:pt x="70" y="85"/>
                  <a:pt x="71" y="88"/>
                </a:cubicBezTo>
                <a:cubicBezTo>
                  <a:pt x="72" y="91"/>
                  <a:pt x="75" y="89"/>
                  <a:pt x="76" y="89"/>
                </a:cubicBezTo>
                <a:cubicBezTo>
                  <a:pt x="78" y="89"/>
                  <a:pt x="77" y="93"/>
                  <a:pt x="80" y="93"/>
                </a:cubicBezTo>
                <a:cubicBezTo>
                  <a:pt x="83" y="94"/>
                  <a:pt x="92" y="96"/>
                  <a:pt x="92" y="94"/>
                </a:cubicBezTo>
                <a:cubicBezTo>
                  <a:pt x="93" y="92"/>
                  <a:pt x="101" y="94"/>
                  <a:pt x="105" y="97"/>
                </a:cubicBezTo>
                <a:cubicBezTo>
                  <a:pt x="109" y="101"/>
                  <a:pt x="119" y="101"/>
                  <a:pt x="122" y="100"/>
                </a:cubicBezTo>
                <a:cubicBezTo>
                  <a:pt x="126" y="100"/>
                  <a:pt x="130" y="103"/>
                  <a:pt x="132" y="101"/>
                </a:cubicBezTo>
                <a:cubicBezTo>
                  <a:pt x="133" y="99"/>
                  <a:pt x="136" y="104"/>
                  <a:pt x="140" y="101"/>
                </a:cubicBezTo>
                <a:cubicBezTo>
                  <a:pt x="144" y="98"/>
                  <a:pt x="133" y="99"/>
                  <a:pt x="133" y="97"/>
                </a:cubicBezTo>
                <a:close/>
                <a:moveTo>
                  <a:pt x="293" y="52"/>
                </a:moveTo>
                <a:cubicBezTo>
                  <a:pt x="290" y="52"/>
                  <a:pt x="290" y="58"/>
                  <a:pt x="287" y="58"/>
                </a:cubicBezTo>
                <a:cubicBezTo>
                  <a:pt x="284" y="58"/>
                  <a:pt x="281" y="63"/>
                  <a:pt x="276" y="65"/>
                </a:cubicBezTo>
                <a:cubicBezTo>
                  <a:pt x="271" y="66"/>
                  <a:pt x="271" y="51"/>
                  <a:pt x="268" y="48"/>
                </a:cubicBezTo>
                <a:cubicBezTo>
                  <a:pt x="266" y="45"/>
                  <a:pt x="254" y="42"/>
                  <a:pt x="253" y="46"/>
                </a:cubicBezTo>
                <a:cubicBezTo>
                  <a:pt x="252" y="49"/>
                  <a:pt x="247" y="47"/>
                  <a:pt x="247" y="50"/>
                </a:cubicBezTo>
                <a:cubicBezTo>
                  <a:pt x="246" y="53"/>
                  <a:pt x="248" y="52"/>
                  <a:pt x="251" y="52"/>
                </a:cubicBezTo>
                <a:cubicBezTo>
                  <a:pt x="253" y="52"/>
                  <a:pt x="253" y="54"/>
                  <a:pt x="254" y="57"/>
                </a:cubicBezTo>
                <a:cubicBezTo>
                  <a:pt x="256" y="59"/>
                  <a:pt x="263" y="57"/>
                  <a:pt x="265" y="57"/>
                </a:cubicBezTo>
                <a:cubicBezTo>
                  <a:pt x="268" y="57"/>
                  <a:pt x="268" y="61"/>
                  <a:pt x="265" y="59"/>
                </a:cubicBezTo>
                <a:cubicBezTo>
                  <a:pt x="261" y="58"/>
                  <a:pt x="261" y="61"/>
                  <a:pt x="259" y="60"/>
                </a:cubicBezTo>
                <a:cubicBezTo>
                  <a:pt x="256" y="60"/>
                  <a:pt x="253" y="60"/>
                  <a:pt x="255" y="61"/>
                </a:cubicBezTo>
                <a:cubicBezTo>
                  <a:pt x="256" y="63"/>
                  <a:pt x="259" y="64"/>
                  <a:pt x="259" y="67"/>
                </a:cubicBezTo>
                <a:cubicBezTo>
                  <a:pt x="259" y="71"/>
                  <a:pt x="264" y="70"/>
                  <a:pt x="264" y="67"/>
                </a:cubicBezTo>
                <a:cubicBezTo>
                  <a:pt x="264" y="65"/>
                  <a:pt x="266" y="68"/>
                  <a:pt x="271" y="70"/>
                </a:cubicBezTo>
                <a:cubicBezTo>
                  <a:pt x="276" y="71"/>
                  <a:pt x="272" y="73"/>
                  <a:pt x="277" y="73"/>
                </a:cubicBezTo>
                <a:cubicBezTo>
                  <a:pt x="282" y="73"/>
                  <a:pt x="292" y="76"/>
                  <a:pt x="296" y="79"/>
                </a:cubicBezTo>
                <a:cubicBezTo>
                  <a:pt x="300" y="83"/>
                  <a:pt x="298" y="85"/>
                  <a:pt x="300" y="87"/>
                </a:cubicBezTo>
                <a:cubicBezTo>
                  <a:pt x="303" y="90"/>
                  <a:pt x="304" y="94"/>
                  <a:pt x="300" y="94"/>
                </a:cubicBezTo>
                <a:cubicBezTo>
                  <a:pt x="296" y="94"/>
                  <a:pt x="292" y="97"/>
                  <a:pt x="293" y="99"/>
                </a:cubicBezTo>
                <a:cubicBezTo>
                  <a:pt x="294" y="101"/>
                  <a:pt x="306" y="98"/>
                  <a:pt x="309" y="98"/>
                </a:cubicBezTo>
                <a:cubicBezTo>
                  <a:pt x="311" y="98"/>
                  <a:pt x="313" y="102"/>
                  <a:pt x="317" y="104"/>
                </a:cubicBezTo>
                <a:cubicBezTo>
                  <a:pt x="317" y="60"/>
                  <a:pt x="317" y="60"/>
                  <a:pt x="317" y="60"/>
                </a:cubicBezTo>
                <a:cubicBezTo>
                  <a:pt x="308" y="58"/>
                  <a:pt x="296" y="52"/>
                  <a:pt x="293" y="52"/>
                </a:cubicBezTo>
                <a:close/>
                <a:moveTo>
                  <a:pt x="205" y="104"/>
                </a:moveTo>
                <a:cubicBezTo>
                  <a:pt x="204" y="104"/>
                  <a:pt x="204" y="105"/>
                  <a:pt x="203" y="105"/>
                </a:cubicBezTo>
                <a:cubicBezTo>
                  <a:pt x="202" y="106"/>
                  <a:pt x="202" y="106"/>
                  <a:pt x="202" y="107"/>
                </a:cubicBezTo>
                <a:cubicBezTo>
                  <a:pt x="201" y="107"/>
                  <a:pt x="200" y="106"/>
                  <a:pt x="199" y="105"/>
                </a:cubicBezTo>
                <a:cubicBezTo>
                  <a:pt x="195" y="107"/>
                  <a:pt x="193" y="112"/>
                  <a:pt x="196" y="113"/>
                </a:cubicBezTo>
                <a:cubicBezTo>
                  <a:pt x="199" y="115"/>
                  <a:pt x="203" y="111"/>
                  <a:pt x="205" y="108"/>
                </a:cubicBezTo>
                <a:cubicBezTo>
                  <a:pt x="205" y="108"/>
                  <a:pt x="205" y="108"/>
                  <a:pt x="206" y="107"/>
                </a:cubicBezTo>
                <a:cubicBezTo>
                  <a:pt x="206" y="107"/>
                  <a:pt x="206" y="107"/>
                  <a:pt x="206" y="107"/>
                </a:cubicBezTo>
                <a:cubicBezTo>
                  <a:pt x="207" y="106"/>
                  <a:pt x="207" y="106"/>
                  <a:pt x="207" y="106"/>
                </a:cubicBezTo>
                <a:cubicBezTo>
                  <a:pt x="206" y="105"/>
                  <a:pt x="206" y="104"/>
                  <a:pt x="205" y="104"/>
                </a:cubicBezTo>
                <a:close/>
                <a:moveTo>
                  <a:pt x="148" y="51"/>
                </a:moveTo>
                <a:cubicBezTo>
                  <a:pt x="152" y="49"/>
                  <a:pt x="153" y="45"/>
                  <a:pt x="152" y="41"/>
                </a:cubicBezTo>
                <a:cubicBezTo>
                  <a:pt x="152" y="37"/>
                  <a:pt x="161" y="37"/>
                  <a:pt x="163" y="35"/>
                </a:cubicBezTo>
                <a:cubicBezTo>
                  <a:pt x="164" y="33"/>
                  <a:pt x="161" y="31"/>
                  <a:pt x="158" y="29"/>
                </a:cubicBezTo>
                <a:cubicBezTo>
                  <a:pt x="155" y="28"/>
                  <a:pt x="158" y="26"/>
                  <a:pt x="156" y="24"/>
                </a:cubicBezTo>
                <a:cubicBezTo>
                  <a:pt x="154" y="22"/>
                  <a:pt x="151" y="18"/>
                  <a:pt x="154" y="18"/>
                </a:cubicBezTo>
                <a:cubicBezTo>
                  <a:pt x="156" y="18"/>
                  <a:pt x="152" y="14"/>
                  <a:pt x="154" y="13"/>
                </a:cubicBezTo>
                <a:cubicBezTo>
                  <a:pt x="154" y="13"/>
                  <a:pt x="155" y="12"/>
                  <a:pt x="155" y="12"/>
                </a:cubicBezTo>
                <a:cubicBezTo>
                  <a:pt x="154" y="12"/>
                  <a:pt x="153" y="11"/>
                  <a:pt x="152" y="11"/>
                </a:cubicBezTo>
                <a:cubicBezTo>
                  <a:pt x="149" y="11"/>
                  <a:pt x="141" y="10"/>
                  <a:pt x="141" y="16"/>
                </a:cubicBezTo>
                <a:cubicBezTo>
                  <a:pt x="142" y="21"/>
                  <a:pt x="137" y="19"/>
                  <a:pt x="137" y="22"/>
                </a:cubicBezTo>
                <a:cubicBezTo>
                  <a:pt x="138" y="25"/>
                  <a:pt x="135" y="25"/>
                  <a:pt x="135" y="28"/>
                </a:cubicBezTo>
                <a:cubicBezTo>
                  <a:pt x="135" y="32"/>
                  <a:pt x="133" y="30"/>
                  <a:pt x="129" y="32"/>
                </a:cubicBezTo>
                <a:cubicBezTo>
                  <a:pt x="125" y="34"/>
                  <a:pt x="127" y="31"/>
                  <a:pt x="122" y="31"/>
                </a:cubicBezTo>
                <a:cubicBezTo>
                  <a:pt x="118" y="31"/>
                  <a:pt x="118" y="33"/>
                  <a:pt x="116" y="34"/>
                </a:cubicBezTo>
                <a:cubicBezTo>
                  <a:pt x="113" y="35"/>
                  <a:pt x="108" y="33"/>
                  <a:pt x="107" y="35"/>
                </a:cubicBezTo>
                <a:cubicBezTo>
                  <a:pt x="105" y="36"/>
                  <a:pt x="102" y="32"/>
                  <a:pt x="101" y="32"/>
                </a:cubicBezTo>
                <a:cubicBezTo>
                  <a:pt x="100" y="32"/>
                  <a:pt x="99" y="30"/>
                  <a:pt x="99" y="27"/>
                </a:cubicBezTo>
                <a:cubicBezTo>
                  <a:pt x="99" y="27"/>
                  <a:pt x="98" y="27"/>
                  <a:pt x="98" y="27"/>
                </a:cubicBezTo>
                <a:cubicBezTo>
                  <a:pt x="95" y="28"/>
                  <a:pt x="91" y="35"/>
                  <a:pt x="94" y="37"/>
                </a:cubicBezTo>
                <a:cubicBezTo>
                  <a:pt x="97" y="40"/>
                  <a:pt x="96" y="44"/>
                  <a:pt x="97" y="47"/>
                </a:cubicBezTo>
                <a:cubicBezTo>
                  <a:pt x="99" y="49"/>
                  <a:pt x="103" y="49"/>
                  <a:pt x="103" y="53"/>
                </a:cubicBezTo>
                <a:cubicBezTo>
                  <a:pt x="103" y="58"/>
                  <a:pt x="107" y="64"/>
                  <a:pt x="110" y="63"/>
                </a:cubicBezTo>
                <a:cubicBezTo>
                  <a:pt x="112" y="61"/>
                  <a:pt x="114" y="63"/>
                  <a:pt x="115" y="65"/>
                </a:cubicBezTo>
                <a:cubicBezTo>
                  <a:pt x="116" y="67"/>
                  <a:pt x="122" y="64"/>
                  <a:pt x="124" y="64"/>
                </a:cubicBezTo>
                <a:cubicBezTo>
                  <a:pt x="126" y="65"/>
                  <a:pt x="133" y="66"/>
                  <a:pt x="133" y="68"/>
                </a:cubicBezTo>
                <a:cubicBezTo>
                  <a:pt x="133" y="71"/>
                  <a:pt x="139" y="68"/>
                  <a:pt x="143" y="67"/>
                </a:cubicBezTo>
                <a:cubicBezTo>
                  <a:pt x="147" y="65"/>
                  <a:pt x="145" y="54"/>
                  <a:pt x="148" y="51"/>
                </a:cubicBezTo>
                <a:close/>
                <a:moveTo>
                  <a:pt x="164" y="108"/>
                </a:moveTo>
                <a:cubicBezTo>
                  <a:pt x="165" y="110"/>
                  <a:pt x="168" y="110"/>
                  <a:pt x="170" y="111"/>
                </a:cubicBezTo>
                <a:cubicBezTo>
                  <a:pt x="171" y="113"/>
                  <a:pt x="176" y="115"/>
                  <a:pt x="176" y="112"/>
                </a:cubicBezTo>
                <a:cubicBezTo>
                  <a:pt x="176" y="108"/>
                  <a:pt x="162" y="106"/>
                  <a:pt x="164" y="108"/>
                </a:cubicBezTo>
                <a:close/>
                <a:moveTo>
                  <a:pt x="153" y="98"/>
                </a:moveTo>
                <a:cubicBezTo>
                  <a:pt x="153" y="100"/>
                  <a:pt x="149" y="101"/>
                  <a:pt x="147" y="99"/>
                </a:cubicBezTo>
                <a:cubicBezTo>
                  <a:pt x="145" y="98"/>
                  <a:pt x="143" y="101"/>
                  <a:pt x="144" y="103"/>
                </a:cubicBezTo>
                <a:cubicBezTo>
                  <a:pt x="144" y="104"/>
                  <a:pt x="149" y="107"/>
                  <a:pt x="154" y="105"/>
                </a:cubicBezTo>
                <a:cubicBezTo>
                  <a:pt x="159" y="102"/>
                  <a:pt x="162" y="104"/>
                  <a:pt x="164" y="102"/>
                </a:cubicBezTo>
                <a:cubicBezTo>
                  <a:pt x="165" y="99"/>
                  <a:pt x="154" y="97"/>
                  <a:pt x="153" y="98"/>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71" name="Freeform 177"/>
          <p:cNvSpPr>
            <a:spLocks noEditPoints="1"/>
          </p:cNvSpPr>
          <p:nvPr/>
        </p:nvSpPr>
        <p:spPr bwMode="auto">
          <a:xfrm>
            <a:off x="6627292" y="3311973"/>
            <a:ext cx="66675" cy="25400"/>
          </a:xfrm>
          <a:custGeom>
            <a:avLst/>
            <a:gdLst>
              <a:gd name="T0" fmla="*/ 3 w 23"/>
              <a:gd name="T1" fmla="*/ 7 h 9"/>
              <a:gd name="T2" fmla="*/ 0 w 23"/>
              <a:gd name="T3" fmla="*/ 7 h 9"/>
              <a:gd name="T4" fmla="*/ 3 w 23"/>
              <a:gd name="T5" fmla="*/ 9 h 9"/>
              <a:gd name="T6" fmla="*/ 4 w 23"/>
              <a:gd name="T7" fmla="*/ 7 h 9"/>
              <a:gd name="T8" fmla="*/ 3 w 23"/>
              <a:gd name="T9" fmla="*/ 7 h 9"/>
              <a:gd name="T10" fmla="*/ 3 w 23"/>
              <a:gd name="T11" fmla="*/ 7 h 9"/>
              <a:gd name="T12" fmla="*/ 12 w 23"/>
              <a:gd name="T13" fmla="*/ 2 h 9"/>
              <a:gd name="T14" fmla="*/ 7 w 23"/>
              <a:gd name="T15" fmla="*/ 5 h 9"/>
              <a:gd name="T16" fmla="*/ 6 w 23"/>
              <a:gd name="T17" fmla="*/ 6 h 9"/>
              <a:gd name="T18" fmla="*/ 8 w 23"/>
              <a:gd name="T19" fmla="*/ 8 h 9"/>
              <a:gd name="T20" fmla="*/ 23 w 23"/>
              <a:gd name="T21" fmla="*/ 1 h 9"/>
              <a:gd name="T22" fmla="*/ 12 w 23"/>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9">
                <a:moveTo>
                  <a:pt x="3" y="7"/>
                </a:moveTo>
                <a:cubicBezTo>
                  <a:pt x="2" y="7"/>
                  <a:pt x="1" y="7"/>
                  <a:pt x="0" y="7"/>
                </a:cubicBezTo>
                <a:cubicBezTo>
                  <a:pt x="1" y="8"/>
                  <a:pt x="2" y="9"/>
                  <a:pt x="3" y="9"/>
                </a:cubicBezTo>
                <a:cubicBezTo>
                  <a:pt x="3" y="8"/>
                  <a:pt x="3" y="8"/>
                  <a:pt x="4" y="7"/>
                </a:cubicBezTo>
                <a:cubicBezTo>
                  <a:pt x="3" y="7"/>
                  <a:pt x="3" y="7"/>
                  <a:pt x="3" y="7"/>
                </a:cubicBezTo>
                <a:cubicBezTo>
                  <a:pt x="3" y="7"/>
                  <a:pt x="3" y="7"/>
                  <a:pt x="3" y="7"/>
                </a:cubicBezTo>
                <a:close/>
                <a:moveTo>
                  <a:pt x="12" y="2"/>
                </a:moveTo>
                <a:cubicBezTo>
                  <a:pt x="10" y="1"/>
                  <a:pt x="9" y="4"/>
                  <a:pt x="7" y="5"/>
                </a:cubicBezTo>
                <a:cubicBezTo>
                  <a:pt x="6" y="6"/>
                  <a:pt x="6" y="6"/>
                  <a:pt x="6" y="6"/>
                </a:cubicBezTo>
                <a:cubicBezTo>
                  <a:pt x="7" y="6"/>
                  <a:pt x="7" y="7"/>
                  <a:pt x="8" y="8"/>
                </a:cubicBezTo>
                <a:cubicBezTo>
                  <a:pt x="12" y="6"/>
                  <a:pt x="22" y="3"/>
                  <a:pt x="23" y="1"/>
                </a:cubicBezTo>
                <a:cubicBezTo>
                  <a:pt x="23" y="0"/>
                  <a:pt x="16" y="2"/>
                  <a:pt x="12"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2" name="Freeform 178"/>
          <p:cNvSpPr/>
          <p:nvPr/>
        </p:nvSpPr>
        <p:spPr bwMode="auto">
          <a:xfrm>
            <a:off x="4471467" y="2145160"/>
            <a:ext cx="66675" cy="36513"/>
          </a:xfrm>
          <a:custGeom>
            <a:avLst/>
            <a:gdLst>
              <a:gd name="T0" fmla="*/ 0 w 23"/>
              <a:gd name="T1" fmla="*/ 11 h 13"/>
              <a:gd name="T2" fmla="*/ 5 w 23"/>
              <a:gd name="T3" fmla="*/ 11 h 13"/>
              <a:gd name="T4" fmla="*/ 6 w 23"/>
              <a:gd name="T5" fmla="*/ 13 h 13"/>
              <a:gd name="T6" fmla="*/ 11 w 23"/>
              <a:gd name="T7" fmla="*/ 12 h 13"/>
              <a:gd name="T8" fmla="*/ 15 w 23"/>
              <a:gd name="T9" fmla="*/ 12 h 13"/>
              <a:gd name="T10" fmla="*/ 17 w 23"/>
              <a:gd name="T11" fmla="*/ 9 h 13"/>
              <a:gd name="T12" fmla="*/ 19 w 23"/>
              <a:gd name="T13" fmla="*/ 6 h 13"/>
              <a:gd name="T14" fmla="*/ 23 w 23"/>
              <a:gd name="T15" fmla="*/ 3 h 13"/>
              <a:gd name="T16" fmla="*/ 22 w 23"/>
              <a:gd name="T17" fmla="*/ 0 h 13"/>
              <a:gd name="T18" fmla="*/ 17 w 23"/>
              <a:gd name="T19" fmla="*/ 2 h 13"/>
              <a:gd name="T20" fmla="*/ 11 w 23"/>
              <a:gd name="T21" fmla="*/ 4 h 13"/>
              <a:gd name="T22" fmla="*/ 3 w 23"/>
              <a:gd name="T23" fmla="*/ 2 h 13"/>
              <a:gd name="T24" fmla="*/ 1 w 23"/>
              <a:gd name="T25" fmla="*/ 2 h 13"/>
              <a:gd name="T26" fmla="*/ 0 w 23"/>
              <a:gd name="T27"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13">
                <a:moveTo>
                  <a:pt x="0" y="11"/>
                </a:moveTo>
                <a:cubicBezTo>
                  <a:pt x="2" y="11"/>
                  <a:pt x="4" y="10"/>
                  <a:pt x="5" y="11"/>
                </a:cubicBezTo>
                <a:cubicBezTo>
                  <a:pt x="5" y="11"/>
                  <a:pt x="6" y="12"/>
                  <a:pt x="6" y="13"/>
                </a:cubicBezTo>
                <a:cubicBezTo>
                  <a:pt x="7" y="13"/>
                  <a:pt x="10" y="12"/>
                  <a:pt x="11" y="12"/>
                </a:cubicBezTo>
                <a:cubicBezTo>
                  <a:pt x="12" y="11"/>
                  <a:pt x="15" y="13"/>
                  <a:pt x="15" y="12"/>
                </a:cubicBezTo>
                <a:cubicBezTo>
                  <a:pt x="15" y="11"/>
                  <a:pt x="16" y="9"/>
                  <a:pt x="17" y="9"/>
                </a:cubicBezTo>
                <a:cubicBezTo>
                  <a:pt x="19" y="9"/>
                  <a:pt x="18" y="6"/>
                  <a:pt x="19" y="6"/>
                </a:cubicBezTo>
                <a:cubicBezTo>
                  <a:pt x="20" y="5"/>
                  <a:pt x="23" y="3"/>
                  <a:pt x="23" y="3"/>
                </a:cubicBezTo>
                <a:cubicBezTo>
                  <a:pt x="23" y="3"/>
                  <a:pt x="22" y="0"/>
                  <a:pt x="22" y="0"/>
                </a:cubicBezTo>
                <a:cubicBezTo>
                  <a:pt x="21" y="0"/>
                  <a:pt x="20" y="2"/>
                  <a:pt x="17" y="2"/>
                </a:cubicBezTo>
                <a:cubicBezTo>
                  <a:pt x="14" y="2"/>
                  <a:pt x="12" y="4"/>
                  <a:pt x="11" y="4"/>
                </a:cubicBezTo>
                <a:cubicBezTo>
                  <a:pt x="10" y="4"/>
                  <a:pt x="6" y="2"/>
                  <a:pt x="3" y="2"/>
                </a:cubicBezTo>
                <a:cubicBezTo>
                  <a:pt x="2" y="2"/>
                  <a:pt x="2" y="2"/>
                  <a:pt x="1" y="2"/>
                </a:cubicBezTo>
                <a:cubicBezTo>
                  <a:pt x="0" y="4"/>
                  <a:pt x="0" y="8"/>
                  <a:pt x="0" y="1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3" name="Freeform 179"/>
          <p:cNvSpPr>
            <a:spLocks noEditPoints="1"/>
          </p:cNvSpPr>
          <p:nvPr/>
        </p:nvSpPr>
        <p:spPr bwMode="auto">
          <a:xfrm>
            <a:off x="4349230" y="2141985"/>
            <a:ext cx="225425" cy="244475"/>
          </a:xfrm>
          <a:custGeom>
            <a:avLst/>
            <a:gdLst>
              <a:gd name="T0" fmla="*/ 55 w 79"/>
              <a:gd name="T1" fmla="*/ 74 h 86"/>
              <a:gd name="T2" fmla="*/ 47 w 79"/>
              <a:gd name="T3" fmla="*/ 74 h 86"/>
              <a:gd name="T4" fmla="*/ 41 w 79"/>
              <a:gd name="T5" fmla="*/ 77 h 86"/>
              <a:gd name="T6" fmla="*/ 48 w 79"/>
              <a:gd name="T7" fmla="*/ 81 h 86"/>
              <a:gd name="T8" fmla="*/ 56 w 79"/>
              <a:gd name="T9" fmla="*/ 86 h 86"/>
              <a:gd name="T10" fmla="*/ 58 w 79"/>
              <a:gd name="T11" fmla="*/ 81 h 86"/>
              <a:gd name="T12" fmla="*/ 61 w 79"/>
              <a:gd name="T13" fmla="*/ 75 h 86"/>
              <a:gd name="T14" fmla="*/ 55 w 79"/>
              <a:gd name="T15" fmla="*/ 74 h 86"/>
              <a:gd name="T16" fmla="*/ 16 w 79"/>
              <a:gd name="T17" fmla="*/ 51 h 86"/>
              <a:gd name="T18" fmla="*/ 11 w 79"/>
              <a:gd name="T19" fmla="*/ 53 h 86"/>
              <a:gd name="T20" fmla="*/ 13 w 79"/>
              <a:gd name="T21" fmla="*/ 61 h 86"/>
              <a:gd name="T22" fmla="*/ 16 w 79"/>
              <a:gd name="T23" fmla="*/ 68 h 86"/>
              <a:gd name="T24" fmla="*/ 21 w 79"/>
              <a:gd name="T25" fmla="*/ 65 h 86"/>
              <a:gd name="T26" fmla="*/ 22 w 79"/>
              <a:gd name="T27" fmla="*/ 54 h 86"/>
              <a:gd name="T28" fmla="*/ 16 w 79"/>
              <a:gd name="T29" fmla="*/ 51 h 86"/>
              <a:gd name="T30" fmla="*/ 66 w 79"/>
              <a:gd name="T31" fmla="*/ 48 h 86"/>
              <a:gd name="T32" fmla="*/ 60 w 79"/>
              <a:gd name="T33" fmla="*/ 44 h 86"/>
              <a:gd name="T34" fmla="*/ 50 w 79"/>
              <a:gd name="T35" fmla="*/ 33 h 86"/>
              <a:gd name="T36" fmla="*/ 40 w 79"/>
              <a:gd name="T37" fmla="*/ 23 h 86"/>
              <a:gd name="T38" fmla="*/ 40 w 79"/>
              <a:gd name="T39" fmla="*/ 16 h 86"/>
              <a:gd name="T40" fmla="*/ 43 w 79"/>
              <a:gd name="T41" fmla="*/ 12 h 86"/>
              <a:gd name="T42" fmla="*/ 44 w 79"/>
              <a:gd name="T43" fmla="*/ 3 h 86"/>
              <a:gd name="T44" fmla="*/ 40 w 79"/>
              <a:gd name="T45" fmla="*/ 2 h 86"/>
              <a:gd name="T46" fmla="*/ 39 w 79"/>
              <a:gd name="T47" fmla="*/ 0 h 86"/>
              <a:gd name="T48" fmla="*/ 33 w 79"/>
              <a:gd name="T49" fmla="*/ 0 h 86"/>
              <a:gd name="T50" fmla="*/ 29 w 79"/>
              <a:gd name="T51" fmla="*/ 2 h 86"/>
              <a:gd name="T52" fmla="*/ 28 w 79"/>
              <a:gd name="T53" fmla="*/ 1 h 86"/>
              <a:gd name="T54" fmla="*/ 27 w 79"/>
              <a:gd name="T55" fmla="*/ 2 h 86"/>
              <a:gd name="T56" fmla="*/ 26 w 79"/>
              <a:gd name="T57" fmla="*/ 4 h 86"/>
              <a:gd name="T58" fmla="*/ 24 w 79"/>
              <a:gd name="T59" fmla="*/ 5 h 86"/>
              <a:gd name="T60" fmla="*/ 20 w 79"/>
              <a:gd name="T61" fmla="*/ 6 h 86"/>
              <a:gd name="T62" fmla="*/ 18 w 79"/>
              <a:gd name="T63" fmla="*/ 7 h 86"/>
              <a:gd name="T64" fmla="*/ 16 w 79"/>
              <a:gd name="T65" fmla="*/ 10 h 86"/>
              <a:gd name="T66" fmla="*/ 12 w 79"/>
              <a:gd name="T67" fmla="*/ 5 h 86"/>
              <a:gd name="T68" fmla="*/ 9 w 79"/>
              <a:gd name="T69" fmla="*/ 10 h 86"/>
              <a:gd name="T70" fmla="*/ 3 w 79"/>
              <a:gd name="T71" fmla="*/ 10 h 86"/>
              <a:gd name="T72" fmla="*/ 4 w 79"/>
              <a:gd name="T73" fmla="*/ 13 h 86"/>
              <a:gd name="T74" fmla="*/ 2 w 79"/>
              <a:gd name="T75" fmla="*/ 16 h 86"/>
              <a:gd name="T76" fmla="*/ 1 w 79"/>
              <a:gd name="T77" fmla="*/ 18 h 86"/>
              <a:gd name="T78" fmla="*/ 3 w 79"/>
              <a:gd name="T79" fmla="*/ 21 h 86"/>
              <a:gd name="T80" fmla="*/ 5 w 79"/>
              <a:gd name="T81" fmla="*/ 25 h 86"/>
              <a:gd name="T82" fmla="*/ 8 w 79"/>
              <a:gd name="T83" fmla="*/ 26 h 86"/>
              <a:gd name="T84" fmla="*/ 7 w 79"/>
              <a:gd name="T85" fmla="*/ 28 h 86"/>
              <a:gd name="T86" fmla="*/ 10 w 79"/>
              <a:gd name="T87" fmla="*/ 27 h 86"/>
              <a:gd name="T88" fmla="*/ 15 w 79"/>
              <a:gd name="T89" fmla="*/ 23 h 86"/>
              <a:gd name="T90" fmla="*/ 25 w 79"/>
              <a:gd name="T91" fmla="*/ 27 h 86"/>
              <a:gd name="T92" fmla="*/ 27 w 79"/>
              <a:gd name="T93" fmla="*/ 31 h 86"/>
              <a:gd name="T94" fmla="*/ 33 w 79"/>
              <a:gd name="T95" fmla="*/ 40 h 86"/>
              <a:gd name="T96" fmla="*/ 43 w 79"/>
              <a:gd name="T97" fmla="*/ 48 h 86"/>
              <a:gd name="T98" fmla="*/ 49 w 79"/>
              <a:gd name="T99" fmla="*/ 50 h 86"/>
              <a:gd name="T100" fmla="*/ 55 w 79"/>
              <a:gd name="T101" fmla="*/ 54 h 86"/>
              <a:gd name="T102" fmla="*/ 60 w 79"/>
              <a:gd name="T103" fmla="*/ 59 h 86"/>
              <a:gd name="T104" fmla="*/ 63 w 79"/>
              <a:gd name="T105" fmla="*/ 63 h 86"/>
              <a:gd name="T106" fmla="*/ 63 w 79"/>
              <a:gd name="T107" fmla="*/ 70 h 86"/>
              <a:gd name="T108" fmla="*/ 63 w 79"/>
              <a:gd name="T109" fmla="*/ 76 h 86"/>
              <a:gd name="T110" fmla="*/ 67 w 79"/>
              <a:gd name="T111" fmla="*/ 70 h 86"/>
              <a:gd name="T112" fmla="*/ 71 w 79"/>
              <a:gd name="T113" fmla="*/ 66 h 86"/>
              <a:gd name="T114" fmla="*/ 67 w 79"/>
              <a:gd name="T115" fmla="*/ 60 h 86"/>
              <a:gd name="T116" fmla="*/ 74 w 79"/>
              <a:gd name="T117" fmla="*/ 57 h 86"/>
              <a:gd name="T118" fmla="*/ 79 w 79"/>
              <a:gd name="T119" fmla="*/ 58 h 86"/>
              <a:gd name="T120" fmla="*/ 66 w 79"/>
              <a:gd name="T121" fmla="*/ 4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 h="86">
                <a:moveTo>
                  <a:pt x="55" y="74"/>
                </a:moveTo>
                <a:cubicBezTo>
                  <a:pt x="51" y="75"/>
                  <a:pt x="49" y="76"/>
                  <a:pt x="47" y="74"/>
                </a:cubicBezTo>
                <a:cubicBezTo>
                  <a:pt x="44" y="73"/>
                  <a:pt x="40" y="76"/>
                  <a:pt x="41" y="77"/>
                </a:cubicBezTo>
                <a:cubicBezTo>
                  <a:pt x="41" y="78"/>
                  <a:pt x="43" y="80"/>
                  <a:pt x="48" y="81"/>
                </a:cubicBezTo>
                <a:cubicBezTo>
                  <a:pt x="53" y="82"/>
                  <a:pt x="54" y="86"/>
                  <a:pt x="56" y="86"/>
                </a:cubicBezTo>
                <a:cubicBezTo>
                  <a:pt x="58" y="86"/>
                  <a:pt x="58" y="84"/>
                  <a:pt x="58" y="81"/>
                </a:cubicBezTo>
                <a:cubicBezTo>
                  <a:pt x="57" y="78"/>
                  <a:pt x="60" y="75"/>
                  <a:pt x="61" y="75"/>
                </a:cubicBezTo>
                <a:cubicBezTo>
                  <a:pt x="61" y="74"/>
                  <a:pt x="59" y="73"/>
                  <a:pt x="55" y="74"/>
                </a:cubicBezTo>
                <a:close/>
                <a:moveTo>
                  <a:pt x="16" y="51"/>
                </a:moveTo>
                <a:cubicBezTo>
                  <a:pt x="13" y="53"/>
                  <a:pt x="12" y="51"/>
                  <a:pt x="11" y="53"/>
                </a:cubicBezTo>
                <a:cubicBezTo>
                  <a:pt x="10" y="54"/>
                  <a:pt x="14" y="57"/>
                  <a:pt x="13" y="61"/>
                </a:cubicBezTo>
                <a:cubicBezTo>
                  <a:pt x="12" y="65"/>
                  <a:pt x="14" y="70"/>
                  <a:pt x="16" y="68"/>
                </a:cubicBezTo>
                <a:cubicBezTo>
                  <a:pt x="18" y="66"/>
                  <a:pt x="20" y="67"/>
                  <a:pt x="21" y="65"/>
                </a:cubicBezTo>
                <a:cubicBezTo>
                  <a:pt x="22" y="63"/>
                  <a:pt x="21" y="57"/>
                  <a:pt x="22" y="54"/>
                </a:cubicBezTo>
                <a:cubicBezTo>
                  <a:pt x="23" y="51"/>
                  <a:pt x="18" y="49"/>
                  <a:pt x="16" y="51"/>
                </a:cubicBezTo>
                <a:close/>
                <a:moveTo>
                  <a:pt x="66" y="48"/>
                </a:moveTo>
                <a:cubicBezTo>
                  <a:pt x="63" y="46"/>
                  <a:pt x="65" y="44"/>
                  <a:pt x="60" y="44"/>
                </a:cubicBezTo>
                <a:cubicBezTo>
                  <a:pt x="56" y="44"/>
                  <a:pt x="51" y="39"/>
                  <a:pt x="50" y="33"/>
                </a:cubicBezTo>
                <a:cubicBezTo>
                  <a:pt x="48" y="27"/>
                  <a:pt x="42" y="27"/>
                  <a:pt x="40" y="23"/>
                </a:cubicBezTo>
                <a:cubicBezTo>
                  <a:pt x="39" y="20"/>
                  <a:pt x="42" y="19"/>
                  <a:pt x="40" y="16"/>
                </a:cubicBezTo>
                <a:cubicBezTo>
                  <a:pt x="39" y="15"/>
                  <a:pt x="41" y="13"/>
                  <a:pt x="43" y="12"/>
                </a:cubicBezTo>
                <a:cubicBezTo>
                  <a:pt x="43" y="9"/>
                  <a:pt x="43" y="5"/>
                  <a:pt x="44" y="3"/>
                </a:cubicBezTo>
                <a:cubicBezTo>
                  <a:pt x="42" y="3"/>
                  <a:pt x="41" y="3"/>
                  <a:pt x="40" y="2"/>
                </a:cubicBezTo>
                <a:cubicBezTo>
                  <a:pt x="39" y="2"/>
                  <a:pt x="39" y="0"/>
                  <a:pt x="39" y="0"/>
                </a:cubicBezTo>
                <a:cubicBezTo>
                  <a:pt x="38" y="0"/>
                  <a:pt x="34" y="0"/>
                  <a:pt x="33" y="0"/>
                </a:cubicBezTo>
                <a:cubicBezTo>
                  <a:pt x="32" y="1"/>
                  <a:pt x="30" y="2"/>
                  <a:pt x="29" y="2"/>
                </a:cubicBezTo>
                <a:cubicBezTo>
                  <a:pt x="29" y="1"/>
                  <a:pt x="28" y="1"/>
                  <a:pt x="28" y="1"/>
                </a:cubicBezTo>
                <a:cubicBezTo>
                  <a:pt x="27" y="2"/>
                  <a:pt x="27" y="2"/>
                  <a:pt x="27" y="2"/>
                </a:cubicBezTo>
                <a:cubicBezTo>
                  <a:pt x="27" y="2"/>
                  <a:pt x="27" y="4"/>
                  <a:pt x="26" y="4"/>
                </a:cubicBezTo>
                <a:cubicBezTo>
                  <a:pt x="25" y="4"/>
                  <a:pt x="24" y="3"/>
                  <a:pt x="24" y="5"/>
                </a:cubicBezTo>
                <a:cubicBezTo>
                  <a:pt x="24" y="6"/>
                  <a:pt x="22" y="6"/>
                  <a:pt x="20" y="6"/>
                </a:cubicBezTo>
                <a:cubicBezTo>
                  <a:pt x="19" y="5"/>
                  <a:pt x="18" y="6"/>
                  <a:pt x="18" y="7"/>
                </a:cubicBezTo>
                <a:cubicBezTo>
                  <a:pt x="18" y="8"/>
                  <a:pt x="18" y="11"/>
                  <a:pt x="16" y="10"/>
                </a:cubicBezTo>
                <a:cubicBezTo>
                  <a:pt x="15" y="8"/>
                  <a:pt x="13" y="4"/>
                  <a:pt x="12" y="5"/>
                </a:cubicBezTo>
                <a:cubicBezTo>
                  <a:pt x="12" y="5"/>
                  <a:pt x="10" y="10"/>
                  <a:pt x="9" y="10"/>
                </a:cubicBezTo>
                <a:cubicBezTo>
                  <a:pt x="8" y="10"/>
                  <a:pt x="5" y="10"/>
                  <a:pt x="3" y="10"/>
                </a:cubicBezTo>
                <a:cubicBezTo>
                  <a:pt x="2" y="12"/>
                  <a:pt x="3" y="13"/>
                  <a:pt x="4" y="13"/>
                </a:cubicBezTo>
                <a:cubicBezTo>
                  <a:pt x="5" y="14"/>
                  <a:pt x="3" y="16"/>
                  <a:pt x="2" y="16"/>
                </a:cubicBezTo>
                <a:cubicBezTo>
                  <a:pt x="2" y="17"/>
                  <a:pt x="0" y="16"/>
                  <a:pt x="1" y="18"/>
                </a:cubicBezTo>
                <a:cubicBezTo>
                  <a:pt x="2" y="20"/>
                  <a:pt x="4" y="20"/>
                  <a:pt x="3" y="21"/>
                </a:cubicBezTo>
                <a:cubicBezTo>
                  <a:pt x="2" y="23"/>
                  <a:pt x="3" y="25"/>
                  <a:pt x="5" y="25"/>
                </a:cubicBezTo>
                <a:cubicBezTo>
                  <a:pt x="6" y="25"/>
                  <a:pt x="8" y="25"/>
                  <a:pt x="8" y="26"/>
                </a:cubicBezTo>
                <a:cubicBezTo>
                  <a:pt x="8" y="26"/>
                  <a:pt x="7" y="27"/>
                  <a:pt x="7" y="28"/>
                </a:cubicBezTo>
                <a:cubicBezTo>
                  <a:pt x="8" y="28"/>
                  <a:pt x="9" y="28"/>
                  <a:pt x="10" y="27"/>
                </a:cubicBezTo>
                <a:cubicBezTo>
                  <a:pt x="12" y="26"/>
                  <a:pt x="12" y="24"/>
                  <a:pt x="15" y="23"/>
                </a:cubicBezTo>
                <a:cubicBezTo>
                  <a:pt x="19" y="22"/>
                  <a:pt x="23" y="25"/>
                  <a:pt x="25" y="27"/>
                </a:cubicBezTo>
                <a:cubicBezTo>
                  <a:pt x="26" y="29"/>
                  <a:pt x="27" y="29"/>
                  <a:pt x="27" y="31"/>
                </a:cubicBezTo>
                <a:cubicBezTo>
                  <a:pt x="27" y="33"/>
                  <a:pt x="29" y="36"/>
                  <a:pt x="33" y="40"/>
                </a:cubicBezTo>
                <a:cubicBezTo>
                  <a:pt x="38" y="43"/>
                  <a:pt x="40" y="46"/>
                  <a:pt x="43" y="48"/>
                </a:cubicBezTo>
                <a:cubicBezTo>
                  <a:pt x="45" y="49"/>
                  <a:pt x="48" y="49"/>
                  <a:pt x="49" y="50"/>
                </a:cubicBezTo>
                <a:cubicBezTo>
                  <a:pt x="51" y="52"/>
                  <a:pt x="53" y="53"/>
                  <a:pt x="55" y="54"/>
                </a:cubicBezTo>
                <a:cubicBezTo>
                  <a:pt x="58" y="56"/>
                  <a:pt x="58" y="58"/>
                  <a:pt x="60" y="59"/>
                </a:cubicBezTo>
                <a:cubicBezTo>
                  <a:pt x="63" y="59"/>
                  <a:pt x="61" y="61"/>
                  <a:pt x="63" y="63"/>
                </a:cubicBezTo>
                <a:cubicBezTo>
                  <a:pt x="64" y="64"/>
                  <a:pt x="64" y="68"/>
                  <a:pt x="63" y="70"/>
                </a:cubicBezTo>
                <a:cubicBezTo>
                  <a:pt x="61" y="72"/>
                  <a:pt x="62" y="76"/>
                  <a:pt x="63" y="76"/>
                </a:cubicBezTo>
                <a:cubicBezTo>
                  <a:pt x="64" y="76"/>
                  <a:pt x="66" y="72"/>
                  <a:pt x="67" y="70"/>
                </a:cubicBezTo>
                <a:cubicBezTo>
                  <a:pt x="67" y="68"/>
                  <a:pt x="69" y="68"/>
                  <a:pt x="71" y="66"/>
                </a:cubicBezTo>
                <a:cubicBezTo>
                  <a:pt x="72" y="64"/>
                  <a:pt x="68" y="63"/>
                  <a:pt x="67" y="60"/>
                </a:cubicBezTo>
                <a:cubicBezTo>
                  <a:pt x="67" y="58"/>
                  <a:pt x="70" y="55"/>
                  <a:pt x="74" y="57"/>
                </a:cubicBezTo>
                <a:cubicBezTo>
                  <a:pt x="78" y="60"/>
                  <a:pt x="79" y="61"/>
                  <a:pt x="79" y="58"/>
                </a:cubicBezTo>
                <a:cubicBezTo>
                  <a:pt x="79" y="54"/>
                  <a:pt x="68" y="50"/>
                  <a:pt x="66" y="4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4" name="Freeform 180"/>
          <p:cNvSpPr/>
          <p:nvPr/>
        </p:nvSpPr>
        <p:spPr bwMode="auto">
          <a:xfrm>
            <a:off x="4574655" y="2230885"/>
            <a:ext cx="25400" cy="30163"/>
          </a:xfrm>
          <a:custGeom>
            <a:avLst/>
            <a:gdLst>
              <a:gd name="T0" fmla="*/ 3 w 9"/>
              <a:gd name="T1" fmla="*/ 0 h 11"/>
              <a:gd name="T2" fmla="*/ 1 w 9"/>
              <a:gd name="T3" fmla="*/ 5 h 11"/>
              <a:gd name="T4" fmla="*/ 0 w 9"/>
              <a:gd name="T5" fmla="*/ 8 h 11"/>
              <a:gd name="T6" fmla="*/ 5 w 9"/>
              <a:gd name="T7" fmla="*/ 11 h 11"/>
              <a:gd name="T8" fmla="*/ 6 w 9"/>
              <a:gd name="T9" fmla="*/ 11 h 11"/>
              <a:gd name="T10" fmla="*/ 9 w 9"/>
              <a:gd name="T11" fmla="*/ 6 h 11"/>
              <a:gd name="T12" fmla="*/ 3 w 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0"/>
                </a:moveTo>
                <a:cubicBezTo>
                  <a:pt x="2" y="2"/>
                  <a:pt x="0" y="5"/>
                  <a:pt x="1" y="5"/>
                </a:cubicBezTo>
                <a:cubicBezTo>
                  <a:pt x="1" y="6"/>
                  <a:pt x="1" y="6"/>
                  <a:pt x="0" y="8"/>
                </a:cubicBezTo>
                <a:cubicBezTo>
                  <a:pt x="2" y="9"/>
                  <a:pt x="4" y="10"/>
                  <a:pt x="5" y="11"/>
                </a:cubicBezTo>
                <a:cubicBezTo>
                  <a:pt x="5" y="11"/>
                  <a:pt x="5" y="11"/>
                  <a:pt x="6" y="11"/>
                </a:cubicBezTo>
                <a:cubicBezTo>
                  <a:pt x="6" y="9"/>
                  <a:pt x="8" y="7"/>
                  <a:pt x="9" y="6"/>
                </a:cubicBezTo>
                <a:cubicBezTo>
                  <a:pt x="7" y="5"/>
                  <a:pt x="5" y="2"/>
                  <a:pt x="3"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5" name="Freeform 181"/>
          <p:cNvSpPr/>
          <p:nvPr/>
        </p:nvSpPr>
        <p:spPr bwMode="auto">
          <a:xfrm>
            <a:off x="4579417" y="2162623"/>
            <a:ext cx="84138" cy="96838"/>
          </a:xfrm>
          <a:custGeom>
            <a:avLst/>
            <a:gdLst>
              <a:gd name="T0" fmla="*/ 25 w 29"/>
              <a:gd name="T1" fmla="*/ 23 h 34"/>
              <a:gd name="T2" fmla="*/ 25 w 29"/>
              <a:gd name="T3" fmla="*/ 18 h 34"/>
              <a:gd name="T4" fmla="*/ 26 w 29"/>
              <a:gd name="T5" fmla="*/ 14 h 34"/>
              <a:gd name="T6" fmla="*/ 18 w 29"/>
              <a:gd name="T7" fmla="*/ 12 h 34"/>
              <a:gd name="T8" fmla="*/ 17 w 29"/>
              <a:gd name="T9" fmla="*/ 8 h 34"/>
              <a:gd name="T10" fmla="*/ 15 w 29"/>
              <a:gd name="T11" fmla="*/ 5 h 34"/>
              <a:gd name="T12" fmla="*/ 12 w 29"/>
              <a:gd name="T13" fmla="*/ 1 h 34"/>
              <a:gd name="T14" fmla="*/ 12 w 29"/>
              <a:gd name="T15" fmla="*/ 1 h 34"/>
              <a:gd name="T16" fmla="*/ 11 w 29"/>
              <a:gd name="T17" fmla="*/ 1 h 34"/>
              <a:gd name="T18" fmla="*/ 8 w 29"/>
              <a:gd name="T19" fmla="*/ 0 h 34"/>
              <a:gd name="T20" fmla="*/ 0 w 29"/>
              <a:gd name="T21" fmla="*/ 2 h 34"/>
              <a:gd name="T22" fmla="*/ 2 w 29"/>
              <a:gd name="T23" fmla="*/ 6 h 34"/>
              <a:gd name="T24" fmla="*/ 4 w 29"/>
              <a:gd name="T25" fmla="*/ 11 h 34"/>
              <a:gd name="T26" fmla="*/ 4 w 29"/>
              <a:gd name="T27" fmla="*/ 22 h 34"/>
              <a:gd name="T28" fmla="*/ 1 w 29"/>
              <a:gd name="T29" fmla="*/ 24 h 34"/>
              <a:gd name="T30" fmla="*/ 7 w 29"/>
              <a:gd name="T31" fmla="*/ 30 h 34"/>
              <a:gd name="T32" fmla="*/ 7 w 29"/>
              <a:gd name="T33" fmla="*/ 30 h 34"/>
              <a:gd name="T34" fmla="*/ 13 w 29"/>
              <a:gd name="T35" fmla="*/ 34 h 34"/>
              <a:gd name="T36" fmla="*/ 25 w 29"/>
              <a:gd name="T37" fmla="*/ 32 h 34"/>
              <a:gd name="T38" fmla="*/ 25 w 29"/>
              <a:gd name="T39" fmla="*/ 30 h 34"/>
              <a:gd name="T40" fmla="*/ 28 w 29"/>
              <a:gd name="T41" fmla="*/ 27 h 34"/>
              <a:gd name="T42" fmla="*/ 25 w 29"/>
              <a:gd name="T43"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34">
                <a:moveTo>
                  <a:pt x="25" y="23"/>
                </a:moveTo>
                <a:cubicBezTo>
                  <a:pt x="24" y="21"/>
                  <a:pt x="24" y="19"/>
                  <a:pt x="25" y="18"/>
                </a:cubicBezTo>
                <a:cubicBezTo>
                  <a:pt x="27" y="17"/>
                  <a:pt x="26" y="16"/>
                  <a:pt x="26" y="14"/>
                </a:cubicBezTo>
                <a:cubicBezTo>
                  <a:pt x="26" y="13"/>
                  <a:pt x="19" y="12"/>
                  <a:pt x="18" y="12"/>
                </a:cubicBezTo>
                <a:cubicBezTo>
                  <a:pt x="17" y="12"/>
                  <a:pt x="19" y="8"/>
                  <a:pt x="17" y="8"/>
                </a:cubicBezTo>
                <a:cubicBezTo>
                  <a:pt x="15" y="8"/>
                  <a:pt x="15" y="6"/>
                  <a:pt x="15" y="5"/>
                </a:cubicBezTo>
                <a:cubicBezTo>
                  <a:pt x="15" y="4"/>
                  <a:pt x="12" y="2"/>
                  <a:pt x="12" y="1"/>
                </a:cubicBezTo>
                <a:cubicBezTo>
                  <a:pt x="12" y="1"/>
                  <a:pt x="12" y="1"/>
                  <a:pt x="12" y="1"/>
                </a:cubicBezTo>
                <a:cubicBezTo>
                  <a:pt x="12" y="1"/>
                  <a:pt x="11" y="1"/>
                  <a:pt x="11" y="1"/>
                </a:cubicBezTo>
                <a:cubicBezTo>
                  <a:pt x="9" y="0"/>
                  <a:pt x="8" y="0"/>
                  <a:pt x="8" y="0"/>
                </a:cubicBezTo>
                <a:cubicBezTo>
                  <a:pt x="8" y="0"/>
                  <a:pt x="3" y="1"/>
                  <a:pt x="0" y="2"/>
                </a:cubicBezTo>
                <a:cubicBezTo>
                  <a:pt x="1" y="4"/>
                  <a:pt x="1" y="6"/>
                  <a:pt x="2" y="6"/>
                </a:cubicBezTo>
                <a:cubicBezTo>
                  <a:pt x="4" y="7"/>
                  <a:pt x="4" y="9"/>
                  <a:pt x="4" y="11"/>
                </a:cubicBezTo>
                <a:cubicBezTo>
                  <a:pt x="5" y="13"/>
                  <a:pt x="5" y="22"/>
                  <a:pt x="4" y="22"/>
                </a:cubicBezTo>
                <a:cubicBezTo>
                  <a:pt x="3" y="22"/>
                  <a:pt x="2" y="23"/>
                  <a:pt x="1" y="24"/>
                </a:cubicBezTo>
                <a:cubicBezTo>
                  <a:pt x="3" y="26"/>
                  <a:pt x="5" y="29"/>
                  <a:pt x="7" y="30"/>
                </a:cubicBezTo>
                <a:cubicBezTo>
                  <a:pt x="7" y="30"/>
                  <a:pt x="7" y="30"/>
                  <a:pt x="7" y="30"/>
                </a:cubicBezTo>
                <a:cubicBezTo>
                  <a:pt x="8" y="30"/>
                  <a:pt x="13" y="34"/>
                  <a:pt x="13" y="34"/>
                </a:cubicBezTo>
                <a:cubicBezTo>
                  <a:pt x="13" y="34"/>
                  <a:pt x="20" y="33"/>
                  <a:pt x="25" y="32"/>
                </a:cubicBezTo>
                <a:cubicBezTo>
                  <a:pt x="25" y="31"/>
                  <a:pt x="25" y="30"/>
                  <a:pt x="25" y="30"/>
                </a:cubicBezTo>
                <a:cubicBezTo>
                  <a:pt x="25" y="29"/>
                  <a:pt x="26" y="27"/>
                  <a:pt x="28" y="27"/>
                </a:cubicBezTo>
                <a:cubicBezTo>
                  <a:pt x="29" y="27"/>
                  <a:pt x="27" y="24"/>
                  <a:pt x="25" y="2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6" name="Freeform 182"/>
          <p:cNvSpPr/>
          <p:nvPr/>
        </p:nvSpPr>
        <p:spPr bwMode="auto">
          <a:xfrm>
            <a:off x="2199755" y="1259335"/>
            <a:ext cx="3362325" cy="1058863"/>
          </a:xfrm>
          <a:custGeom>
            <a:avLst/>
            <a:gdLst>
              <a:gd name="T0" fmla="*/ 2 w 1181"/>
              <a:gd name="T1" fmla="*/ 372 h 372"/>
              <a:gd name="T2" fmla="*/ 1 w 1181"/>
              <a:gd name="T3" fmla="*/ 372 h 372"/>
              <a:gd name="T4" fmla="*/ 0 w 1181"/>
              <a:gd name="T5" fmla="*/ 370 h 372"/>
              <a:gd name="T6" fmla="*/ 220 w 1181"/>
              <a:gd name="T7" fmla="*/ 134 h 372"/>
              <a:gd name="T8" fmla="*/ 555 w 1181"/>
              <a:gd name="T9" fmla="*/ 24 h 372"/>
              <a:gd name="T10" fmla="*/ 1181 w 1181"/>
              <a:gd name="T11" fmla="*/ 298 h 372"/>
              <a:gd name="T12" fmla="*/ 1180 w 1181"/>
              <a:gd name="T13" fmla="*/ 301 h 372"/>
              <a:gd name="T14" fmla="*/ 1178 w 1181"/>
              <a:gd name="T15" fmla="*/ 300 h 372"/>
              <a:gd name="T16" fmla="*/ 556 w 1181"/>
              <a:gd name="T17" fmla="*/ 28 h 372"/>
              <a:gd name="T18" fmla="*/ 4 w 1181"/>
              <a:gd name="T19" fmla="*/ 371 h 372"/>
              <a:gd name="T20" fmla="*/ 2 w 1181"/>
              <a:gd name="T21"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1" h="372">
                <a:moveTo>
                  <a:pt x="2" y="372"/>
                </a:moveTo>
                <a:cubicBezTo>
                  <a:pt x="2" y="372"/>
                  <a:pt x="2" y="372"/>
                  <a:pt x="1" y="372"/>
                </a:cubicBezTo>
                <a:cubicBezTo>
                  <a:pt x="0" y="372"/>
                  <a:pt x="0" y="371"/>
                  <a:pt x="0" y="370"/>
                </a:cubicBezTo>
                <a:cubicBezTo>
                  <a:pt x="43" y="277"/>
                  <a:pt x="119" y="196"/>
                  <a:pt x="220" y="134"/>
                </a:cubicBezTo>
                <a:cubicBezTo>
                  <a:pt x="319" y="73"/>
                  <a:pt x="435" y="35"/>
                  <a:pt x="555" y="24"/>
                </a:cubicBezTo>
                <a:cubicBezTo>
                  <a:pt x="812" y="0"/>
                  <a:pt x="1040" y="100"/>
                  <a:pt x="1181" y="298"/>
                </a:cubicBezTo>
                <a:cubicBezTo>
                  <a:pt x="1181" y="299"/>
                  <a:pt x="1181" y="300"/>
                  <a:pt x="1180" y="301"/>
                </a:cubicBezTo>
                <a:cubicBezTo>
                  <a:pt x="1179" y="301"/>
                  <a:pt x="1178" y="301"/>
                  <a:pt x="1178" y="300"/>
                </a:cubicBezTo>
                <a:cubicBezTo>
                  <a:pt x="1037" y="104"/>
                  <a:pt x="811" y="4"/>
                  <a:pt x="556" y="28"/>
                </a:cubicBezTo>
                <a:cubicBezTo>
                  <a:pt x="310" y="51"/>
                  <a:pt x="88" y="189"/>
                  <a:pt x="4" y="371"/>
                </a:cubicBezTo>
                <a:cubicBezTo>
                  <a:pt x="4" y="372"/>
                  <a:pt x="3" y="372"/>
                  <a:pt x="2" y="372"/>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77" name="Freeform 183"/>
          <p:cNvSpPr/>
          <p:nvPr/>
        </p:nvSpPr>
        <p:spPr bwMode="auto">
          <a:xfrm>
            <a:off x="2953817" y="2170560"/>
            <a:ext cx="2787650" cy="1651000"/>
          </a:xfrm>
          <a:custGeom>
            <a:avLst/>
            <a:gdLst>
              <a:gd name="T0" fmla="*/ 2 w 979"/>
              <a:gd name="T1" fmla="*/ 580 h 580"/>
              <a:gd name="T2" fmla="*/ 2 w 979"/>
              <a:gd name="T3" fmla="*/ 580 h 580"/>
              <a:gd name="T4" fmla="*/ 0 w 979"/>
              <a:gd name="T5" fmla="*/ 578 h 580"/>
              <a:gd name="T6" fmla="*/ 143 w 979"/>
              <a:gd name="T7" fmla="*/ 292 h 580"/>
              <a:gd name="T8" fmla="*/ 459 w 979"/>
              <a:gd name="T9" fmla="*/ 80 h 580"/>
              <a:gd name="T10" fmla="*/ 978 w 979"/>
              <a:gd name="T11" fmla="*/ 188 h 580"/>
              <a:gd name="T12" fmla="*/ 978 w 979"/>
              <a:gd name="T13" fmla="*/ 191 h 580"/>
              <a:gd name="T14" fmla="*/ 976 w 979"/>
              <a:gd name="T15" fmla="*/ 190 h 580"/>
              <a:gd name="T16" fmla="*/ 460 w 979"/>
              <a:gd name="T17" fmla="*/ 84 h 580"/>
              <a:gd name="T18" fmla="*/ 146 w 979"/>
              <a:gd name="T19" fmla="*/ 295 h 580"/>
              <a:gd name="T20" fmla="*/ 4 w 979"/>
              <a:gd name="T21" fmla="*/ 578 h 580"/>
              <a:gd name="T22" fmla="*/ 2 w 979"/>
              <a:gd name="T23" fmla="*/ 58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9" h="580">
                <a:moveTo>
                  <a:pt x="2" y="580"/>
                </a:moveTo>
                <a:cubicBezTo>
                  <a:pt x="2" y="580"/>
                  <a:pt x="2" y="580"/>
                  <a:pt x="2" y="580"/>
                </a:cubicBezTo>
                <a:cubicBezTo>
                  <a:pt x="0" y="579"/>
                  <a:pt x="0" y="579"/>
                  <a:pt x="0" y="578"/>
                </a:cubicBezTo>
                <a:cubicBezTo>
                  <a:pt x="4" y="488"/>
                  <a:pt x="55" y="387"/>
                  <a:pt x="143" y="292"/>
                </a:cubicBezTo>
                <a:cubicBezTo>
                  <a:pt x="230" y="197"/>
                  <a:pt x="342" y="122"/>
                  <a:pt x="459" y="80"/>
                </a:cubicBezTo>
                <a:cubicBezTo>
                  <a:pt x="663" y="7"/>
                  <a:pt x="847" y="45"/>
                  <a:pt x="978" y="188"/>
                </a:cubicBezTo>
                <a:cubicBezTo>
                  <a:pt x="979" y="189"/>
                  <a:pt x="979" y="190"/>
                  <a:pt x="978" y="191"/>
                </a:cubicBezTo>
                <a:cubicBezTo>
                  <a:pt x="978" y="191"/>
                  <a:pt x="976" y="191"/>
                  <a:pt x="976" y="190"/>
                </a:cubicBezTo>
                <a:cubicBezTo>
                  <a:pt x="800" y="0"/>
                  <a:pt x="577" y="42"/>
                  <a:pt x="460" y="84"/>
                </a:cubicBezTo>
                <a:cubicBezTo>
                  <a:pt x="344" y="126"/>
                  <a:pt x="232" y="200"/>
                  <a:pt x="146" y="295"/>
                </a:cubicBezTo>
                <a:cubicBezTo>
                  <a:pt x="59" y="389"/>
                  <a:pt x="8" y="489"/>
                  <a:pt x="4" y="578"/>
                </a:cubicBezTo>
                <a:cubicBezTo>
                  <a:pt x="3" y="579"/>
                  <a:pt x="3" y="580"/>
                  <a:pt x="2" y="580"/>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78" name="Freeform 184"/>
          <p:cNvSpPr/>
          <p:nvPr/>
        </p:nvSpPr>
        <p:spPr bwMode="auto">
          <a:xfrm>
            <a:off x="2199755" y="1683198"/>
            <a:ext cx="2078038" cy="635000"/>
          </a:xfrm>
          <a:custGeom>
            <a:avLst/>
            <a:gdLst>
              <a:gd name="T0" fmla="*/ 2 w 730"/>
              <a:gd name="T1" fmla="*/ 223 h 223"/>
              <a:gd name="T2" fmla="*/ 1 w 730"/>
              <a:gd name="T3" fmla="*/ 223 h 223"/>
              <a:gd name="T4" fmla="*/ 0 w 730"/>
              <a:gd name="T5" fmla="*/ 221 h 223"/>
              <a:gd name="T6" fmla="*/ 341 w 730"/>
              <a:gd name="T7" fmla="*/ 15 h 223"/>
              <a:gd name="T8" fmla="*/ 730 w 730"/>
              <a:gd name="T9" fmla="*/ 178 h 223"/>
              <a:gd name="T10" fmla="*/ 729 w 730"/>
              <a:gd name="T11" fmla="*/ 181 h 223"/>
              <a:gd name="T12" fmla="*/ 727 w 730"/>
              <a:gd name="T13" fmla="*/ 180 h 223"/>
              <a:gd name="T14" fmla="*/ 341 w 730"/>
              <a:gd name="T15" fmla="*/ 19 h 223"/>
              <a:gd name="T16" fmla="*/ 4 w 730"/>
              <a:gd name="T17" fmla="*/ 222 h 223"/>
              <a:gd name="T18" fmla="*/ 2 w 730"/>
              <a:gd name="T19"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0" h="223">
                <a:moveTo>
                  <a:pt x="2" y="223"/>
                </a:moveTo>
                <a:cubicBezTo>
                  <a:pt x="2" y="223"/>
                  <a:pt x="2" y="223"/>
                  <a:pt x="1" y="223"/>
                </a:cubicBezTo>
                <a:cubicBezTo>
                  <a:pt x="0" y="223"/>
                  <a:pt x="0" y="222"/>
                  <a:pt x="0" y="221"/>
                </a:cubicBezTo>
                <a:cubicBezTo>
                  <a:pt x="53" y="110"/>
                  <a:pt x="187" y="30"/>
                  <a:pt x="341" y="15"/>
                </a:cubicBezTo>
                <a:cubicBezTo>
                  <a:pt x="500" y="0"/>
                  <a:pt x="642" y="59"/>
                  <a:pt x="730" y="178"/>
                </a:cubicBezTo>
                <a:cubicBezTo>
                  <a:pt x="730" y="179"/>
                  <a:pt x="730" y="180"/>
                  <a:pt x="729" y="181"/>
                </a:cubicBezTo>
                <a:cubicBezTo>
                  <a:pt x="728" y="181"/>
                  <a:pt x="727" y="181"/>
                  <a:pt x="727" y="180"/>
                </a:cubicBezTo>
                <a:cubicBezTo>
                  <a:pt x="640" y="63"/>
                  <a:pt x="499" y="4"/>
                  <a:pt x="341" y="19"/>
                </a:cubicBezTo>
                <a:cubicBezTo>
                  <a:pt x="189" y="33"/>
                  <a:pt x="56" y="113"/>
                  <a:pt x="4" y="222"/>
                </a:cubicBezTo>
                <a:cubicBezTo>
                  <a:pt x="4" y="223"/>
                  <a:pt x="3" y="223"/>
                  <a:pt x="2" y="223"/>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79" name="Freeform 185"/>
          <p:cNvSpPr/>
          <p:nvPr/>
        </p:nvSpPr>
        <p:spPr bwMode="auto">
          <a:xfrm>
            <a:off x="4187305" y="1299023"/>
            <a:ext cx="2725738" cy="1112838"/>
          </a:xfrm>
          <a:custGeom>
            <a:avLst/>
            <a:gdLst>
              <a:gd name="T0" fmla="*/ 955 w 957"/>
              <a:gd name="T1" fmla="*/ 391 h 391"/>
              <a:gd name="T2" fmla="*/ 954 w 957"/>
              <a:gd name="T3" fmla="*/ 390 h 391"/>
              <a:gd name="T4" fmla="*/ 417 w 957"/>
              <a:gd name="T5" fmla="*/ 6 h 391"/>
              <a:gd name="T6" fmla="*/ 4 w 957"/>
              <a:gd name="T7" fmla="*/ 239 h 391"/>
              <a:gd name="T8" fmla="*/ 2 w 957"/>
              <a:gd name="T9" fmla="*/ 240 h 391"/>
              <a:gd name="T10" fmla="*/ 1 w 957"/>
              <a:gd name="T11" fmla="*/ 237 h 391"/>
              <a:gd name="T12" fmla="*/ 417 w 957"/>
              <a:gd name="T13" fmla="*/ 2 h 391"/>
              <a:gd name="T14" fmla="*/ 957 w 957"/>
              <a:gd name="T15" fmla="*/ 388 h 391"/>
              <a:gd name="T16" fmla="*/ 956 w 957"/>
              <a:gd name="T17" fmla="*/ 390 h 391"/>
              <a:gd name="T18" fmla="*/ 955 w 957"/>
              <a:gd name="T19"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7" h="391">
                <a:moveTo>
                  <a:pt x="955" y="391"/>
                </a:moveTo>
                <a:cubicBezTo>
                  <a:pt x="955" y="391"/>
                  <a:pt x="954" y="390"/>
                  <a:pt x="954" y="390"/>
                </a:cubicBezTo>
                <a:cubicBezTo>
                  <a:pt x="760" y="76"/>
                  <a:pt x="555" y="8"/>
                  <a:pt x="417" y="6"/>
                </a:cubicBezTo>
                <a:cubicBezTo>
                  <a:pt x="257" y="4"/>
                  <a:pt x="99" y="94"/>
                  <a:pt x="4" y="239"/>
                </a:cubicBezTo>
                <a:cubicBezTo>
                  <a:pt x="4" y="240"/>
                  <a:pt x="2" y="240"/>
                  <a:pt x="2" y="240"/>
                </a:cubicBezTo>
                <a:cubicBezTo>
                  <a:pt x="1" y="239"/>
                  <a:pt x="0" y="238"/>
                  <a:pt x="1" y="237"/>
                </a:cubicBezTo>
                <a:cubicBezTo>
                  <a:pt x="96" y="90"/>
                  <a:pt x="256" y="0"/>
                  <a:pt x="417" y="2"/>
                </a:cubicBezTo>
                <a:cubicBezTo>
                  <a:pt x="556" y="4"/>
                  <a:pt x="762" y="72"/>
                  <a:pt x="957" y="388"/>
                </a:cubicBezTo>
                <a:cubicBezTo>
                  <a:pt x="957" y="389"/>
                  <a:pt x="957" y="390"/>
                  <a:pt x="956" y="390"/>
                </a:cubicBezTo>
                <a:cubicBezTo>
                  <a:pt x="956" y="390"/>
                  <a:pt x="956" y="391"/>
                  <a:pt x="955" y="391"/>
                </a:cubicBezTo>
                <a:close/>
              </a:path>
            </a:pathLst>
          </a:custGeom>
          <a:solidFill>
            <a:srgbClr val="FFFFFF"/>
          </a:solidFill>
          <a:ln w="9525">
            <a:solidFill>
              <a:srgbClr val="FF6D55"/>
            </a:solidFill>
            <a:round/>
          </a:ln>
        </p:spPr>
        <p:txBody>
          <a:bodyPr vert="horz" wrap="square" lIns="91440" tIns="45720" rIns="91440" bIns="45720" numCol="1" anchor="t" anchorCtr="0" compatLnSpc="1"/>
          <a:lstStyle/>
          <a:p>
            <a:endParaRPr lang="zh-CN" altLang="en-US"/>
          </a:p>
        </p:txBody>
      </p:sp>
      <p:sp>
        <p:nvSpPr>
          <p:cNvPr id="180" name="Freeform 186"/>
          <p:cNvSpPr/>
          <p:nvPr/>
        </p:nvSpPr>
        <p:spPr bwMode="auto">
          <a:xfrm>
            <a:off x="4665142" y="2830960"/>
            <a:ext cx="1771650" cy="922338"/>
          </a:xfrm>
          <a:custGeom>
            <a:avLst/>
            <a:gdLst>
              <a:gd name="T0" fmla="*/ 2 w 622"/>
              <a:gd name="T1" fmla="*/ 324 h 324"/>
              <a:gd name="T2" fmla="*/ 1 w 622"/>
              <a:gd name="T3" fmla="*/ 324 h 324"/>
              <a:gd name="T4" fmla="*/ 0 w 622"/>
              <a:gd name="T5" fmla="*/ 321 h 324"/>
              <a:gd name="T6" fmla="*/ 317 w 622"/>
              <a:gd name="T7" fmla="*/ 24 h 324"/>
              <a:gd name="T8" fmla="*/ 621 w 622"/>
              <a:gd name="T9" fmla="*/ 120 h 324"/>
              <a:gd name="T10" fmla="*/ 621 w 622"/>
              <a:gd name="T11" fmla="*/ 123 h 324"/>
              <a:gd name="T12" fmla="*/ 618 w 622"/>
              <a:gd name="T13" fmla="*/ 123 h 324"/>
              <a:gd name="T14" fmla="*/ 318 w 622"/>
              <a:gd name="T15" fmla="*/ 27 h 324"/>
              <a:gd name="T16" fmla="*/ 3 w 622"/>
              <a:gd name="T17" fmla="*/ 323 h 324"/>
              <a:gd name="T18" fmla="*/ 2 w 622"/>
              <a:gd name="T19"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324">
                <a:moveTo>
                  <a:pt x="2" y="324"/>
                </a:moveTo>
                <a:cubicBezTo>
                  <a:pt x="1" y="324"/>
                  <a:pt x="1" y="324"/>
                  <a:pt x="1" y="324"/>
                </a:cubicBezTo>
                <a:cubicBezTo>
                  <a:pt x="0" y="323"/>
                  <a:pt x="0" y="322"/>
                  <a:pt x="0" y="321"/>
                </a:cubicBezTo>
                <a:cubicBezTo>
                  <a:pt x="62" y="167"/>
                  <a:pt x="183" y="53"/>
                  <a:pt x="317" y="24"/>
                </a:cubicBezTo>
                <a:cubicBezTo>
                  <a:pt x="426" y="0"/>
                  <a:pt x="531" y="34"/>
                  <a:pt x="621" y="120"/>
                </a:cubicBezTo>
                <a:cubicBezTo>
                  <a:pt x="622" y="121"/>
                  <a:pt x="622" y="122"/>
                  <a:pt x="621" y="123"/>
                </a:cubicBezTo>
                <a:cubicBezTo>
                  <a:pt x="620" y="124"/>
                  <a:pt x="619" y="124"/>
                  <a:pt x="618" y="123"/>
                </a:cubicBezTo>
                <a:cubicBezTo>
                  <a:pt x="529" y="37"/>
                  <a:pt x="425" y="4"/>
                  <a:pt x="318" y="27"/>
                </a:cubicBezTo>
                <a:cubicBezTo>
                  <a:pt x="185" y="56"/>
                  <a:pt x="65" y="169"/>
                  <a:pt x="3" y="323"/>
                </a:cubicBezTo>
                <a:cubicBezTo>
                  <a:pt x="3" y="323"/>
                  <a:pt x="2" y="324"/>
                  <a:pt x="2" y="324"/>
                </a:cubicBezTo>
                <a:close/>
              </a:path>
            </a:pathLst>
          </a:custGeom>
          <a:solidFill>
            <a:srgbClr val="FFFFFF"/>
          </a:solidFill>
          <a:ln w="9525">
            <a:solidFill>
              <a:srgbClr val="FF6D55"/>
            </a:solidFill>
            <a:round/>
          </a:ln>
        </p:spPr>
        <p:txBody>
          <a:bodyPr vert="horz" wrap="square" lIns="91440" tIns="45720" rIns="91440" bIns="45720" numCol="1" anchor="t" anchorCtr="0" compatLnSpc="1"/>
          <a:lstStyle/>
          <a:p>
            <a:endParaRPr lang="zh-CN" altLang="en-US"/>
          </a:p>
        </p:txBody>
      </p:sp>
      <p:sp>
        <p:nvSpPr>
          <p:cNvPr id="181" name="Freeform 187"/>
          <p:cNvSpPr/>
          <p:nvPr/>
        </p:nvSpPr>
        <p:spPr bwMode="auto">
          <a:xfrm>
            <a:off x="2199755" y="1937198"/>
            <a:ext cx="2476500" cy="1816100"/>
          </a:xfrm>
          <a:custGeom>
            <a:avLst/>
            <a:gdLst>
              <a:gd name="T0" fmla="*/ 868 w 870"/>
              <a:gd name="T1" fmla="*/ 638 h 638"/>
              <a:gd name="T2" fmla="*/ 866 w 870"/>
              <a:gd name="T3" fmla="*/ 636 h 638"/>
              <a:gd name="T4" fmla="*/ 300 w 870"/>
              <a:gd name="T5" fmla="*/ 20 h 638"/>
              <a:gd name="T6" fmla="*/ 4 w 870"/>
              <a:gd name="T7" fmla="*/ 133 h 638"/>
              <a:gd name="T8" fmla="*/ 1 w 870"/>
              <a:gd name="T9" fmla="*/ 134 h 638"/>
              <a:gd name="T10" fmla="*/ 0 w 870"/>
              <a:gd name="T11" fmla="*/ 132 h 638"/>
              <a:gd name="T12" fmla="*/ 300 w 870"/>
              <a:gd name="T13" fmla="*/ 16 h 638"/>
              <a:gd name="T14" fmla="*/ 634 w 870"/>
              <a:gd name="T15" fmla="*/ 180 h 638"/>
              <a:gd name="T16" fmla="*/ 870 w 870"/>
              <a:gd name="T17" fmla="*/ 635 h 638"/>
              <a:gd name="T18" fmla="*/ 868 w 870"/>
              <a:gd name="T19" fmla="*/ 638 h 638"/>
              <a:gd name="T20" fmla="*/ 868 w 870"/>
              <a:gd name="T21" fmla="*/ 6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0" h="638">
                <a:moveTo>
                  <a:pt x="868" y="638"/>
                </a:moveTo>
                <a:cubicBezTo>
                  <a:pt x="867" y="638"/>
                  <a:pt x="866" y="637"/>
                  <a:pt x="866" y="636"/>
                </a:cubicBezTo>
                <a:cubicBezTo>
                  <a:pt x="778" y="222"/>
                  <a:pt x="516" y="46"/>
                  <a:pt x="300" y="20"/>
                </a:cubicBezTo>
                <a:cubicBezTo>
                  <a:pt x="163" y="4"/>
                  <a:pt x="44" y="49"/>
                  <a:pt x="4" y="133"/>
                </a:cubicBezTo>
                <a:cubicBezTo>
                  <a:pt x="3" y="134"/>
                  <a:pt x="2" y="135"/>
                  <a:pt x="1" y="134"/>
                </a:cubicBezTo>
                <a:cubicBezTo>
                  <a:pt x="0" y="134"/>
                  <a:pt x="0" y="133"/>
                  <a:pt x="0" y="132"/>
                </a:cubicBezTo>
                <a:cubicBezTo>
                  <a:pt x="42" y="46"/>
                  <a:pt x="162" y="0"/>
                  <a:pt x="300" y="16"/>
                </a:cubicBezTo>
                <a:cubicBezTo>
                  <a:pt x="420" y="31"/>
                  <a:pt x="538" y="89"/>
                  <a:pt x="634" y="180"/>
                </a:cubicBezTo>
                <a:cubicBezTo>
                  <a:pt x="750" y="292"/>
                  <a:pt x="829" y="445"/>
                  <a:pt x="870" y="635"/>
                </a:cubicBezTo>
                <a:cubicBezTo>
                  <a:pt x="870" y="636"/>
                  <a:pt x="869" y="637"/>
                  <a:pt x="868" y="638"/>
                </a:cubicBezTo>
                <a:cubicBezTo>
                  <a:pt x="868" y="638"/>
                  <a:pt x="868" y="638"/>
                  <a:pt x="868" y="638"/>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82" name="TextBox 181"/>
          <p:cNvSpPr txBox="1"/>
          <p:nvPr/>
        </p:nvSpPr>
        <p:spPr>
          <a:xfrm>
            <a:off x="1096755" y="2384079"/>
            <a:ext cx="800219" cy="276999"/>
          </a:xfrm>
          <a:prstGeom prst="rect">
            <a:avLst/>
          </a:prstGeom>
          <a:no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p>
        </p:txBody>
      </p:sp>
      <p:sp>
        <p:nvSpPr>
          <p:cNvPr id="183" name="TextBox 182"/>
          <p:cNvSpPr txBox="1"/>
          <p:nvPr/>
        </p:nvSpPr>
        <p:spPr>
          <a:xfrm>
            <a:off x="3537898" y="1460948"/>
            <a:ext cx="800219" cy="276999"/>
          </a:xfrm>
          <a:prstGeom prst="rect">
            <a:avLst/>
          </a:prstGeom>
          <a:no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p>
        </p:txBody>
      </p:sp>
      <p:sp>
        <p:nvSpPr>
          <p:cNvPr id="184" name="TextBox 183"/>
          <p:cNvSpPr txBox="1"/>
          <p:nvPr/>
        </p:nvSpPr>
        <p:spPr>
          <a:xfrm>
            <a:off x="3036367" y="3898232"/>
            <a:ext cx="800219" cy="276999"/>
          </a:xfrm>
          <a:prstGeom prst="rect">
            <a:avLst/>
          </a:prstGeom>
          <a:no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p>
        </p:txBody>
      </p:sp>
      <p:sp>
        <p:nvSpPr>
          <p:cNvPr id="185" name="TextBox 184"/>
          <p:cNvSpPr txBox="1"/>
          <p:nvPr/>
        </p:nvSpPr>
        <p:spPr>
          <a:xfrm>
            <a:off x="4773767" y="3837841"/>
            <a:ext cx="800219" cy="276999"/>
          </a:xfrm>
          <a:prstGeom prst="rect">
            <a:avLst/>
          </a:prstGeom>
          <a:no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p>
        </p:txBody>
      </p:sp>
      <p:sp>
        <p:nvSpPr>
          <p:cNvPr id="186" name="TextBox 185"/>
          <p:cNvSpPr txBox="1"/>
          <p:nvPr/>
        </p:nvSpPr>
        <p:spPr>
          <a:xfrm>
            <a:off x="6811382" y="2572604"/>
            <a:ext cx="800219" cy="276999"/>
          </a:xfrm>
          <a:prstGeom prst="rect">
            <a:avLst/>
          </a:prstGeom>
          <a:solidFill>
            <a:srgbClr val="800080"/>
          </a:solid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p>
        </p:txBody>
      </p:sp>
      <p:sp>
        <p:nvSpPr>
          <p:cNvPr id="187" name="TextBox 186"/>
          <p:cNvSpPr txBox="1"/>
          <p:nvPr/>
        </p:nvSpPr>
        <p:spPr>
          <a:xfrm>
            <a:off x="5620773" y="1658998"/>
            <a:ext cx="800219" cy="276999"/>
          </a:xfrm>
          <a:prstGeom prst="rect">
            <a:avLst/>
          </a:prstGeom>
          <a:solidFill>
            <a:srgbClr val="800080"/>
          </a:solidFill>
        </p:spPr>
        <p:txBody>
          <a:bodyPr wrap="none" rtlCol="0">
            <a:spAutoFit/>
          </a:bodyPr>
          <a:lstStyle/>
          <a:p>
            <a:r>
              <a:rPr lang="zh-CN" altLang="en-US" sz="1200" b="1" dirty="0">
                <a:solidFill>
                  <a:schemeClr val="bg1"/>
                </a:solidFill>
                <a:latin typeface="微软雅黑" panose="020B0503020204020204" pitchFamily="34" charset="-122"/>
                <a:ea typeface="微软雅黑" panose="020B0503020204020204" pitchFamily="34" charset="-122"/>
              </a:rPr>
              <a:t>输入文本</a:t>
            </a:r>
          </a:p>
        </p:txBody>
      </p:sp>
      <p:sp>
        <p:nvSpPr>
          <p:cNvPr id="188" name="TextBox 187"/>
          <p:cNvSpPr txBox="1"/>
          <p:nvPr/>
        </p:nvSpPr>
        <p:spPr>
          <a:xfrm>
            <a:off x="7019345" y="2344798"/>
            <a:ext cx="800219" cy="276999"/>
          </a:xfrm>
          <a:prstGeom prst="rect">
            <a:avLst/>
          </a:prstGeom>
          <a:no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p>
        </p:txBody>
      </p:sp>
      <p:sp>
        <p:nvSpPr>
          <p:cNvPr id="189" name="TextBox 188"/>
          <p:cNvSpPr txBox="1"/>
          <p:nvPr/>
        </p:nvSpPr>
        <p:spPr>
          <a:xfrm>
            <a:off x="7087667" y="2969724"/>
            <a:ext cx="800219" cy="276999"/>
          </a:xfrm>
          <a:prstGeom prst="rect">
            <a:avLst/>
          </a:prstGeom>
          <a:no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p>
        </p:txBody>
      </p:sp>
      <p:sp>
        <p:nvSpPr>
          <p:cNvPr id="190" name="TextBox 189"/>
          <p:cNvSpPr txBox="1"/>
          <p:nvPr/>
        </p:nvSpPr>
        <p:spPr>
          <a:xfrm>
            <a:off x="4303192" y="3933499"/>
            <a:ext cx="800219" cy="276999"/>
          </a:xfrm>
          <a:prstGeom prst="rect">
            <a:avLst/>
          </a:prstGeom>
          <a:solidFill>
            <a:srgbClr val="800080"/>
          </a:solidFill>
        </p:spPr>
        <p:txBody>
          <a:bodyPr wrap="none" rtlCol="0">
            <a:spAutoFit/>
          </a:bodyPr>
          <a:lstStyle/>
          <a:p>
            <a:r>
              <a:rPr lang="zh-CN" altLang="en-US" sz="1200" b="1" dirty="0">
                <a:solidFill>
                  <a:schemeClr val="bg1"/>
                </a:solidFill>
                <a:latin typeface="微软雅黑" panose="020B0503020204020204" pitchFamily="34" charset="-122"/>
                <a:ea typeface="微软雅黑" panose="020B0503020204020204" pitchFamily="34" charset="-122"/>
              </a:rPr>
              <a:t>输入文本</a:t>
            </a:r>
          </a:p>
        </p:txBody>
      </p:sp>
      <p:sp>
        <p:nvSpPr>
          <p:cNvPr id="191" name="TextBox 190"/>
          <p:cNvSpPr txBox="1"/>
          <p:nvPr/>
        </p:nvSpPr>
        <p:spPr>
          <a:xfrm>
            <a:off x="1096755" y="2556496"/>
            <a:ext cx="800219" cy="276999"/>
          </a:xfrm>
          <a:prstGeom prst="rect">
            <a:avLst/>
          </a:prstGeom>
          <a:solidFill>
            <a:srgbClr val="800080"/>
          </a:solidFill>
        </p:spPr>
        <p:txBody>
          <a:bodyPr wrap="none" rtlCol="0">
            <a:spAutoFit/>
          </a:bodyPr>
          <a:lstStyle/>
          <a:p>
            <a:r>
              <a:rPr lang="zh-CN" altLang="en-US" sz="1200" b="1" dirty="0">
                <a:solidFill>
                  <a:schemeClr val="bg1"/>
                </a:solidFill>
                <a:latin typeface="微软雅黑" panose="020B0503020204020204" pitchFamily="34" charset="-122"/>
                <a:ea typeface="微软雅黑" panose="020B0503020204020204" pitchFamily="34" charset="-122"/>
              </a:rPr>
              <a:t>输入文本</a:t>
            </a:r>
          </a:p>
        </p:txBody>
      </p:sp>
      <p:sp>
        <p:nvSpPr>
          <p:cNvPr id="192" name="TextBox 191"/>
          <p:cNvSpPr txBox="1"/>
          <p:nvPr/>
        </p:nvSpPr>
        <p:spPr>
          <a:xfrm>
            <a:off x="632773" y="1022024"/>
            <a:ext cx="800219" cy="276999"/>
          </a:xfrm>
          <a:prstGeom prst="rect">
            <a:avLst/>
          </a:prstGeom>
          <a:solidFill>
            <a:srgbClr val="800080"/>
          </a:solidFill>
        </p:spPr>
        <p:txBody>
          <a:bodyPr wrap="none" rtlCol="0">
            <a:spAutoFit/>
          </a:bodyPr>
          <a:lstStyle/>
          <a:p>
            <a:r>
              <a:rPr lang="zh-CN" altLang="en-US" sz="1200" b="1" dirty="0">
                <a:solidFill>
                  <a:schemeClr val="bg1"/>
                </a:solidFill>
                <a:latin typeface="微软雅黑" panose="020B0503020204020204" pitchFamily="34" charset="-122"/>
                <a:ea typeface="微软雅黑" panose="020B0503020204020204" pitchFamily="34" charset="-122"/>
              </a:rPr>
              <a:t>输入文本</a:t>
            </a:r>
          </a:p>
        </p:txBody>
      </p:sp>
      <p:sp>
        <p:nvSpPr>
          <p:cNvPr id="193" name="TextBox 192"/>
          <p:cNvSpPr txBox="1"/>
          <p:nvPr/>
        </p:nvSpPr>
        <p:spPr>
          <a:xfrm>
            <a:off x="683568" y="123478"/>
            <a:ext cx="268535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en-US" altLang="zh-CN" dirty="0"/>
              <a:t>ADD YOUR TEXT</a:t>
            </a:r>
            <a:endParaRPr lang="zh-CN" altLang="en-US" dirty="0"/>
          </a:p>
        </p:txBody>
      </p:sp>
    </p:spTree>
  </p:cSld>
  <p:clrMapOvr>
    <a:masterClrMapping/>
  </p:clrMapOvr>
  <mc:AlternateContent xmlns:mc="http://schemas.openxmlformats.org/markup-compatibility/2006" xmlns:p14="http://schemas.microsoft.com/office/powerpoint/2010/main">
    <mc:Choice Requires="p14">
      <p:transition spd="slow" p14:dur="1100">
        <p14:switch dir="r"/>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801171" y="267494"/>
            <a:ext cx="2647776" cy="523220"/>
          </a:xfrm>
          <a:prstGeom prst="rect">
            <a:avLst/>
          </a:prstGeom>
          <a:noFill/>
        </p:spPr>
        <p:txBody>
          <a:bodyPr wrap="none" rtlCol="0">
            <a:spAutoFit/>
          </a:bodyPr>
          <a:lstStyle/>
          <a:p>
            <a:pPr algn="ctr"/>
            <a:r>
              <a:rPr lang="en-US" altLang="zh-CN" sz="2800" b="1" dirty="0">
                <a:gradFill flip="none" rotWithShape="1">
                  <a:gsLst>
                    <a:gs pos="417">
                      <a:srgbClr val="00B0F0"/>
                    </a:gs>
                    <a:gs pos="99167">
                      <a:srgbClr val="FFFF00"/>
                    </a:gs>
                    <a:gs pos="37000">
                      <a:srgbClr val="71158D"/>
                    </a:gs>
                    <a:gs pos="64000">
                      <a:srgbClr val="800080"/>
                    </a:gs>
                  </a:gsLst>
                  <a:lin ang="0" scaled="1"/>
                  <a:tileRect/>
                </a:gradFill>
              </a:rPr>
              <a:t>ADD YOUR TITLE</a:t>
            </a:r>
            <a:endParaRPr lang="zh-CN" altLang="en-US" sz="2800" b="1" dirty="0">
              <a:gradFill flip="none" rotWithShape="1">
                <a:gsLst>
                  <a:gs pos="417">
                    <a:srgbClr val="00B0F0"/>
                  </a:gs>
                  <a:gs pos="99167">
                    <a:srgbClr val="FFFF00"/>
                  </a:gs>
                  <a:gs pos="37000">
                    <a:srgbClr val="71158D"/>
                  </a:gs>
                  <a:gs pos="64000">
                    <a:srgbClr val="800080"/>
                  </a:gs>
                </a:gsLst>
                <a:lin ang="0" scaled="1"/>
                <a:tileRect/>
              </a:gradFill>
            </a:endParaRPr>
          </a:p>
        </p:txBody>
      </p:sp>
      <p:cxnSp>
        <p:nvCxnSpPr>
          <p:cNvPr id="20" name="直接连接符 19"/>
          <p:cNvCxnSpPr/>
          <p:nvPr/>
        </p:nvCxnSpPr>
        <p:spPr>
          <a:xfrm>
            <a:off x="3493561" y="529104"/>
            <a:ext cx="5671955" cy="0"/>
          </a:xfrm>
          <a:prstGeom prst="line">
            <a:avLst/>
          </a:prstGeom>
          <a:ln>
            <a:solidFill>
              <a:srgbClr val="CC009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 name="组合 1"/>
          <p:cNvGrpSpPr/>
          <p:nvPr/>
        </p:nvGrpSpPr>
        <p:grpSpPr>
          <a:xfrm>
            <a:off x="-457336" y="1453415"/>
            <a:ext cx="1012700" cy="2068851"/>
            <a:chOff x="-457336" y="1453415"/>
            <a:chExt cx="1012700" cy="2068851"/>
          </a:xfrm>
        </p:grpSpPr>
        <p:pic>
          <p:nvPicPr>
            <p:cNvPr id="11"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6766" t="19203" r="18133" b="48780"/>
            <a:stretch>
              <a:fillRect/>
            </a:stretch>
          </p:blipFill>
          <p:spPr bwMode="auto">
            <a:xfrm rot="13437075">
              <a:off x="-457336" y="1453415"/>
              <a:ext cx="839027" cy="839027"/>
            </a:xfrm>
            <a:prstGeom prst="rtTriangle">
              <a:avLst/>
            </a:prstGeom>
            <a:noFill/>
            <a:extLst>
              <a:ext uri="{909E8E84-426E-40DD-AFC4-6F175D3DCCD1}">
                <a14:hiddenFill xmlns:a14="http://schemas.microsoft.com/office/drawing/2010/main">
                  <a:solidFill>
                    <a:srgbClr val="FFFFFF"/>
                  </a:solidFill>
                </a14:hiddenFill>
              </a:ext>
            </a:extLst>
          </p:spPr>
        </p:pic>
        <p:pic>
          <p:nvPicPr>
            <p:cNvPr id="23"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6766" t="19203" r="18133" b="48780"/>
            <a:stretch>
              <a:fillRect/>
            </a:stretch>
          </p:blipFill>
          <p:spPr bwMode="auto">
            <a:xfrm rot="8162925" flipV="1">
              <a:off x="-457336" y="2683239"/>
              <a:ext cx="839027" cy="839027"/>
            </a:xfrm>
            <a:prstGeom prst="rtTriangle">
              <a:avLst/>
            </a:prstGeom>
            <a:noFill/>
            <a:extLst>
              <a:ext uri="{909E8E84-426E-40DD-AFC4-6F175D3DCCD1}">
                <a14:hiddenFill xmlns:a14="http://schemas.microsoft.com/office/drawing/2010/main">
                  <a:solidFill>
                    <a:srgbClr val="FFFFFF"/>
                  </a:solidFill>
                </a14:hiddenFill>
              </a:ext>
            </a:extLst>
          </p:spPr>
        </p:pic>
        <p:sp>
          <p:nvSpPr>
            <p:cNvPr id="25" name="等腰三角形 24"/>
            <p:cNvSpPr/>
            <p:nvPr/>
          </p:nvSpPr>
          <p:spPr>
            <a:xfrm rot="16200000">
              <a:off x="-236875" y="2226332"/>
              <a:ext cx="1058488" cy="525991"/>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27"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6766" t="19203" r="18133" b="48780"/>
          <a:stretch>
            <a:fillRect/>
          </a:stretch>
        </p:blipFill>
        <p:spPr bwMode="auto">
          <a:xfrm rot="8162925" flipH="1">
            <a:off x="8746003" y="2241379"/>
            <a:ext cx="839027" cy="839027"/>
          </a:xfrm>
          <a:prstGeom prst="rtTriangle">
            <a:avLst/>
          </a:prstGeom>
          <a:noFill/>
          <a:extLst>
            <a:ext uri="{909E8E84-426E-40DD-AFC4-6F175D3DCCD1}">
              <a14:hiddenFill xmlns:a14="http://schemas.microsoft.com/office/drawing/2010/main">
                <a:solidFill>
                  <a:srgbClr val="FFFFFF"/>
                </a:solidFill>
              </a14:hiddenFill>
            </a:ext>
          </a:extLst>
        </p:spPr>
      </p:pic>
      <p:cxnSp>
        <p:nvCxnSpPr>
          <p:cNvPr id="30" name="直接连接符 29"/>
          <p:cNvCxnSpPr>
            <a:stCxn id="10" idx="1"/>
          </p:cNvCxnSpPr>
          <p:nvPr/>
        </p:nvCxnSpPr>
        <p:spPr>
          <a:xfrm flipH="1">
            <a:off x="-180528" y="529104"/>
            <a:ext cx="981699" cy="0"/>
          </a:xfrm>
          <a:prstGeom prst="line">
            <a:avLst/>
          </a:prstGeom>
          <a:ln>
            <a:solidFill>
              <a:srgbClr val="CC009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982112" y="918037"/>
            <a:ext cx="6803578" cy="792781"/>
          </a:xfrm>
          <a:prstGeom prst="rect">
            <a:avLst/>
          </a:prstGeom>
          <a:noFill/>
        </p:spPr>
        <p:txBody>
          <a:bodyPr wrap="square" rtlCol="0">
            <a:spAutoFit/>
          </a:bodyPr>
          <a:lstStyle/>
          <a:p>
            <a:pPr>
              <a:lnSpc>
                <a:spcPct val="150000"/>
              </a:lnSpc>
            </a:pPr>
            <a:r>
              <a:rPr lang="en-US" altLang="zh-CN" sz="1600" b="1" dirty="0">
                <a:solidFill>
                  <a:srgbClr val="800080"/>
                </a:solidFill>
              </a:rPr>
              <a:t>You can click here to enter you text. You can click here to enter you text. You can click here to enter you text. You can click here to enter you text.</a:t>
            </a:r>
            <a:endParaRPr lang="zh-CN" altLang="en-US" sz="1600" b="1" dirty="0">
              <a:solidFill>
                <a:srgbClr val="800080"/>
              </a:solidFill>
            </a:endParaRPr>
          </a:p>
        </p:txBody>
      </p:sp>
      <p:sp>
        <p:nvSpPr>
          <p:cNvPr id="40" name="TextBox 39"/>
          <p:cNvSpPr txBox="1"/>
          <p:nvPr/>
        </p:nvSpPr>
        <p:spPr>
          <a:xfrm>
            <a:off x="1124421" y="2692156"/>
            <a:ext cx="1853312" cy="1477328"/>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sp>
        <p:nvSpPr>
          <p:cNvPr id="45" name="TextBox 44"/>
          <p:cNvSpPr txBox="1"/>
          <p:nvPr/>
        </p:nvSpPr>
        <p:spPr>
          <a:xfrm>
            <a:off x="3140645" y="2692156"/>
            <a:ext cx="1853312" cy="1477328"/>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sp>
        <p:nvSpPr>
          <p:cNvPr id="47" name="TextBox 46"/>
          <p:cNvSpPr txBox="1"/>
          <p:nvPr/>
        </p:nvSpPr>
        <p:spPr>
          <a:xfrm>
            <a:off x="5148064" y="2692156"/>
            <a:ext cx="1853312" cy="1477328"/>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sp>
        <p:nvSpPr>
          <p:cNvPr id="49" name="TextBox 48"/>
          <p:cNvSpPr txBox="1"/>
          <p:nvPr/>
        </p:nvSpPr>
        <p:spPr>
          <a:xfrm>
            <a:off x="7020055" y="2692156"/>
            <a:ext cx="1853312" cy="1477328"/>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grpSp>
        <p:nvGrpSpPr>
          <p:cNvPr id="5" name="组合 4"/>
          <p:cNvGrpSpPr/>
          <p:nvPr/>
        </p:nvGrpSpPr>
        <p:grpSpPr>
          <a:xfrm>
            <a:off x="1115616" y="2067694"/>
            <a:ext cx="7056101" cy="672930"/>
            <a:chOff x="1115616" y="2067694"/>
            <a:chExt cx="7056101" cy="672930"/>
          </a:xfrm>
        </p:grpSpPr>
        <p:sp>
          <p:nvSpPr>
            <p:cNvPr id="3" name="矩形 2"/>
            <p:cNvSpPr/>
            <p:nvPr/>
          </p:nvSpPr>
          <p:spPr>
            <a:xfrm>
              <a:off x="1259009" y="2116477"/>
              <a:ext cx="6526681" cy="46434"/>
            </a:xfrm>
            <a:prstGeom prst="rect">
              <a:avLst/>
            </a:prstGeom>
            <a:solidFill>
              <a:schemeClr val="bg1">
                <a:lumMod val="85000"/>
              </a:schemeClr>
            </a:solidFill>
            <a:ln w="25400" cap="flat" cmpd="sng" algn="ctr">
              <a:noFill/>
              <a:prstDash val="solid"/>
            </a:ln>
            <a:effectLst/>
          </p:spPr>
          <p:txBody>
            <a:bodyPr anchor="ctr"/>
            <a:lstStyle/>
            <a:p>
              <a:pPr algn="ctr" eaLnBrk="1" fontAlgn="auto" hangingPunct="1">
                <a:spcBef>
                  <a:spcPts val="0"/>
                </a:spcBef>
                <a:spcAft>
                  <a:spcPts val="0"/>
                </a:spcAft>
                <a:defRPr/>
              </a:pPr>
              <a:endParaRPr lang="en-US" kern="0">
                <a:solidFill>
                  <a:sysClr val="window" lastClr="FFFFFF"/>
                </a:solidFill>
                <a:latin typeface="Calibri" panose="020F0502020204030204"/>
                <a:ea typeface="+mn-ea"/>
              </a:endParaRPr>
            </a:p>
          </p:txBody>
        </p:sp>
        <p:sp>
          <p:nvSpPr>
            <p:cNvPr id="4" name="椭圆 3"/>
            <p:cNvSpPr/>
            <p:nvPr/>
          </p:nvSpPr>
          <p:spPr>
            <a:xfrm>
              <a:off x="1178393" y="2067694"/>
              <a:ext cx="143582" cy="144000"/>
            </a:xfrm>
            <a:prstGeom prst="ellipse">
              <a:avLst/>
            </a:prstGeom>
            <a:solidFill>
              <a:srgbClr val="800080"/>
            </a:solidFill>
            <a:ln w="25400" cap="flat" cmpd="sng" algn="ctr">
              <a:solidFill>
                <a:sysClr val="window" lastClr="FFFFFF"/>
              </a:solidFill>
              <a:prstDash val="solid"/>
            </a:ln>
            <a:effectLst/>
          </p:spPr>
          <p:txBody>
            <a:bodyPr anchor="ctr"/>
            <a:lstStyle/>
            <a:p>
              <a:pPr algn="ctr" eaLnBrk="1" fontAlgn="auto" hangingPunct="1">
                <a:spcBef>
                  <a:spcPts val="0"/>
                </a:spcBef>
                <a:spcAft>
                  <a:spcPts val="0"/>
                </a:spcAft>
                <a:defRPr/>
              </a:pPr>
              <a:endParaRPr lang="en-US" kern="0">
                <a:solidFill>
                  <a:sysClr val="window" lastClr="FFFFFF"/>
                </a:solidFill>
                <a:latin typeface="Calibri" panose="020F0502020204030204"/>
                <a:ea typeface="+mn-ea"/>
              </a:endParaRPr>
            </a:p>
          </p:txBody>
        </p:sp>
        <p:sp>
          <p:nvSpPr>
            <p:cNvPr id="36" name="椭圆 35"/>
            <p:cNvSpPr/>
            <p:nvPr/>
          </p:nvSpPr>
          <p:spPr>
            <a:xfrm>
              <a:off x="3464506" y="2067694"/>
              <a:ext cx="143582" cy="144000"/>
            </a:xfrm>
            <a:prstGeom prst="ellipse">
              <a:avLst/>
            </a:prstGeom>
            <a:solidFill>
              <a:srgbClr val="800080"/>
            </a:solidFill>
            <a:ln w="25400" cap="flat" cmpd="sng" algn="ctr">
              <a:solidFill>
                <a:sysClr val="window" lastClr="FFFFFF"/>
              </a:solidFill>
              <a:prstDash val="solid"/>
            </a:ln>
            <a:effectLst/>
          </p:spPr>
          <p:txBody>
            <a:bodyPr anchor="ctr"/>
            <a:lstStyle/>
            <a:p>
              <a:pPr algn="ctr" eaLnBrk="1" fontAlgn="auto" hangingPunct="1">
                <a:spcBef>
                  <a:spcPts val="0"/>
                </a:spcBef>
                <a:spcAft>
                  <a:spcPts val="0"/>
                </a:spcAft>
                <a:defRPr/>
              </a:pPr>
              <a:endParaRPr lang="en-US" kern="0">
                <a:solidFill>
                  <a:sysClr val="window" lastClr="FFFFFF"/>
                </a:solidFill>
                <a:latin typeface="Calibri" panose="020F0502020204030204"/>
                <a:ea typeface="+mn-ea"/>
              </a:endParaRPr>
            </a:p>
          </p:txBody>
        </p:sp>
        <p:sp>
          <p:nvSpPr>
            <p:cNvPr id="37" name="椭圆 36"/>
            <p:cNvSpPr/>
            <p:nvPr/>
          </p:nvSpPr>
          <p:spPr>
            <a:xfrm>
              <a:off x="5453495" y="2067694"/>
              <a:ext cx="143582" cy="144000"/>
            </a:xfrm>
            <a:prstGeom prst="ellipse">
              <a:avLst/>
            </a:prstGeom>
            <a:solidFill>
              <a:srgbClr val="800080"/>
            </a:solidFill>
            <a:ln w="25400" cap="flat" cmpd="sng" algn="ctr">
              <a:solidFill>
                <a:sysClr val="window" lastClr="FFFFFF"/>
              </a:solidFill>
              <a:prstDash val="solid"/>
            </a:ln>
            <a:effectLst/>
          </p:spPr>
          <p:txBody>
            <a:bodyPr anchor="ctr"/>
            <a:lstStyle/>
            <a:p>
              <a:pPr algn="ctr" eaLnBrk="1" fontAlgn="auto" hangingPunct="1">
                <a:spcBef>
                  <a:spcPts val="0"/>
                </a:spcBef>
                <a:spcAft>
                  <a:spcPts val="0"/>
                </a:spcAft>
                <a:defRPr/>
              </a:pPr>
              <a:endParaRPr lang="en-US" kern="0">
                <a:solidFill>
                  <a:sysClr val="window" lastClr="FFFFFF"/>
                </a:solidFill>
                <a:latin typeface="Calibri" panose="020F0502020204030204"/>
                <a:ea typeface="+mn-ea"/>
              </a:endParaRPr>
            </a:p>
          </p:txBody>
        </p:sp>
        <p:sp>
          <p:nvSpPr>
            <p:cNvPr id="38" name="椭圆 37"/>
            <p:cNvSpPr/>
            <p:nvPr/>
          </p:nvSpPr>
          <p:spPr>
            <a:xfrm>
              <a:off x="7642108" y="2067694"/>
              <a:ext cx="143582" cy="144000"/>
            </a:xfrm>
            <a:prstGeom prst="ellipse">
              <a:avLst/>
            </a:prstGeom>
            <a:solidFill>
              <a:srgbClr val="800080"/>
            </a:solidFill>
            <a:ln w="25400" cap="flat" cmpd="sng" algn="ctr">
              <a:solidFill>
                <a:sysClr val="window" lastClr="FFFFFF"/>
              </a:solidFill>
              <a:prstDash val="solid"/>
            </a:ln>
            <a:effectLst/>
          </p:spPr>
          <p:txBody>
            <a:bodyPr anchor="ctr"/>
            <a:lstStyle/>
            <a:p>
              <a:pPr algn="ctr" eaLnBrk="1" fontAlgn="auto" hangingPunct="1">
                <a:spcBef>
                  <a:spcPts val="0"/>
                </a:spcBef>
                <a:spcAft>
                  <a:spcPts val="0"/>
                </a:spcAft>
                <a:defRPr/>
              </a:pPr>
              <a:endParaRPr lang="en-US" kern="0">
                <a:solidFill>
                  <a:sysClr val="window" lastClr="FFFFFF"/>
                </a:solidFill>
                <a:latin typeface="Calibri" panose="020F0502020204030204"/>
                <a:ea typeface="+mn-ea"/>
              </a:endParaRPr>
            </a:p>
          </p:txBody>
        </p:sp>
        <p:sp>
          <p:nvSpPr>
            <p:cNvPr id="41" name="TextBox 40"/>
            <p:cNvSpPr txBox="1"/>
            <p:nvPr/>
          </p:nvSpPr>
          <p:spPr>
            <a:xfrm>
              <a:off x="1115616" y="2217404"/>
              <a:ext cx="915636" cy="523220"/>
            </a:xfrm>
            <a:prstGeom prst="rect">
              <a:avLst/>
            </a:prstGeom>
            <a:noFill/>
          </p:spPr>
          <p:txBody>
            <a:bodyPr wrap="none" rtlCol="0">
              <a:spAutoFit/>
            </a:bodyPr>
            <a:lstStyle/>
            <a:p>
              <a:pPr algn="ctr"/>
              <a:r>
                <a:rPr lang="en-US" altLang="zh-CN" sz="2800" b="1" dirty="0">
                  <a:solidFill>
                    <a:srgbClr val="800080"/>
                  </a:solidFill>
                </a:rPr>
                <a:t>2012</a:t>
              </a:r>
              <a:endParaRPr lang="zh-CN" altLang="en-US" sz="2800" b="1" dirty="0">
                <a:solidFill>
                  <a:srgbClr val="800080"/>
                </a:solidFill>
              </a:endParaRPr>
            </a:p>
          </p:txBody>
        </p:sp>
        <p:sp>
          <p:nvSpPr>
            <p:cNvPr id="46" name="TextBox 45"/>
            <p:cNvSpPr txBox="1"/>
            <p:nvPr/>
          </p:nvSpPr>
          <p:spPr>
            <a:xfrm>
              <a:off x="3131840" y="2217404"/>
              <a:ext cx="915636" cy="523220"/>
            </a:xfrm>
            <a:prstGeom prst="rect">
              <a:avLst/>
            </a:prstGeom>
            <a:noFill/>
          </p:spPr>
          <p:txBody>
            <a:bodyPr wrap="none" rtlCol="0">
              <a:spAutoFit/>
            </a:bodyPr>
            <a:lstStyle/>
            <a:p>
              <a:pPr algn="ctr"/>
              <a:r>
                <a:rPr lang="en-US" altLang="zh-CN" sz="2800" b="1" dirty="0">
                  <a:solidFill>
                    <a:srgbClr val="800080"/>
                  </a:solidFill>
                </a:rPr>
                <a:t>2013</a:t>
              </a:r>
              <a:endParaRPr lang="zh-CN" altLang="en-US" sz="2800" b="1" dirty="0">
                <a:solidFill>
                  <a:srgbClr val="800080"/>
                </a:solidFill>
              </a:endParaRPr>
            </a:p>
          </p:txBody>
        </p:sp>
        <p:sp>
          <p:nvSpPr>
            <p:cNvPr id="48" name="TextBox 47"/>
            <p:cNvSpPr txBox="1"/>
            <p:nvPr/>
          </p:nvSpPr>
          <p:spPr>
            <a:xfrm>
              <a:off x="5139259" y="2217404"/>
              <a:ext cx="915636" cy="523220"/>
            </a:xfrm>
            <a:prstGeom prst="rect">
              <a:avLst/>
            </a:prstGeom>
            <a:noFill/>
          </p:spPr>
          <p:txBody>
            <a:bodyPr wrap="none" rtlCol="0">
              <a:spAutoFit/>
            </a:bodyPr>
            <a:lstStyle/>
            <a:p>
              <a:pPr algn="ctr"/>
              <a:r>
                <a:rPr lang="en-US" altLang="zh-CN" sz="2800" b="1" dirty="0">
                  <a:solidFill>
                    <a:srgbClr val="800080"/>
                  </a:solidFill>
                </a:rPr>
                <a:t>2014</a:t>
              </a:r>
              <a:endParaRPr lang="zh-CN" altLang="en-US" sz="2800" b="1" dirty="0">
                <a:solidFill>
                  <a:srgbClr val="800080"/>
                </a:solidFill>
              </a:endParaRPr>
            </a:p>
          </p:txBody>
        </p:sp>
        <p:sp>
          <p:nvSpPr>
            <p:cNvPr id="50" name="TextBox 49"/>
            <p:cNvSpPr txBox="1"/>
            <p:nvPr/>
          </p:nvSpPr>
          <p:spPr>
            <a:xfrm>
              <a:off x="7256081" y="2217404"/>
              <a:ext cx="915636" cy="523220"/>
            </a:xfrm>
            <a:prstGeom prst="rect">
              <a:avLst/>
            </a:prstGeom>
            <a:noFill/>
          </p:spPr>
          <p:txBody>
            <a:bodyPr wrap="none" rtlCol="0">
              <a:spAutoFit/>
            </a:bodyPr>
            <a:lstStyle/>
            <a:p>
              <a:pPr algn="ctr"/>
              <a:r>
                <a:rPr lang="en-US" altLang="zh-CN" sz="2800" b="1" dirty="0">
                  <a:solidFill>
                    <a:srgbClr val="800080"/>
                  </a:solidFill>
                </a:rPr>
                <a:t>2015</a:t>
              </a:r>
              <a:endParaRPr lang="zh-CN" altLang="en-US" sz="2800" b="1" dirty="0">
                <a:solidFill>
                  <a:srgbClr val="800080"/>
                </a:solidFill>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500" fill="hold"/>
                                        <p:tgtEl>
                                          <p:spTgt spid="27"/>
                                        </p:tgtEl>
                                        <p:attrNameLst>
                                          <p:attrName>ppt_x</p:attrName>
                                        </p:attrNameLst>
                                      </p:cBhvr>
                                      <p:tavLst>
                                        <p:tav tm="0">
                                          <p:val>
                                            <p:strVal val="1+#ppt_w/2"/>
                                          </p:val>
                                        </p:tav>
                                        <p:tav tm="100000">
                                          <p:val>
                                            <p:strVal val="#ppt_x"/>
                                          </p:val>
                                        </p:tav>
                                      </p:tavLst>
                                    </p:anim>
                                    <p:anim calcmode="lin" valueType="num">
                                      <p:cBhvr additive="base">
                                        <p:cTn id="12" dur="500" fill="hold"/>
                                        <p:tgtEl>
                                          <p:spTgt spid="27"/>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childTnLst>
                          </p:cTn>
                        </p:par>
                        <p:par>
                          <p:cTn id="17" fill="hold">
                            <p:stCondLst>
                              <p:cond delay="1000"/>
                            </p:stCondLst>
                            <p:childTnLst>
                              <p:par>
                                <p:cTn id="18" presetID="22" presetClass="entr" presetSubtype="8"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ipe(left)">
                                      <p:cBhvr>
                                        <p:cTn id="20" dur="750"/>
                                        <p:tgtEl>
                                          <p:spTgt spid="5"/>
                                        </p:tgtEl>
                                      </p:cBhvr>
                                    </p:animEffect>
                                  </p:childTnLst>
                                </p:cTn>
                              </p:par>
                            </p:childTnLst>
                          </p:cTn>
                        </p:par>
                        <p:par>
                          <p:cTn id="21" fill="hold">
                            <p:stCondLst>
                              <p:cond delay="2000"/>
                            </p:stCondLst>
                            <p:childTnLst>
                              <p:par>
                                <p:cTn id="22" presetID="10" presetClass="entr" presetSubtype="0" fill="hold" grpId="0" nodeType="after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par>
                          <p:cTn id="25" fill="hold">
                            <p:stCondLst>
                              <p:cond delay="2500"/>
                            </p:stCondLst>
                            <p:childTnLst>
                              <p:par>
                                <p:cTn id="26" presetID="10" presetClass="entr" presetSubtype="0" fill="hold" grpId="0" nodeType="after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childTnLst>
                          </p:cTn>
                        </p:par>
                        <p:par>
                          <p:cTn id="29" fill="hold">
                            <p:stCondLst>
                              <p:cond delay="3000"/>
                            </p:stCondLst>
                            <p:childTnLst>
                              <p:par>
                                <p:cTn id="30" presetID="10" presetClass="entr" presetSubtype="0" fill="hold" grpId="0" nodeType="afterEffect">
                                  <p:stCondLst>
                                    <p:cond delay="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500"/>
                                        <p:tgtEl>
                                          <p:spTgt spid="47"/>
                                        </p:tgtEl>
                                      </p:cBhvr>
                                    </p:animEffect>
                                  </p:childTnLst>
                                </p:cTn>
                              </p:par>
                            </p:childTnLst>
                          </p:cTn>
                        </p:par>
                        <p:par>
                          <p:cTn id="33" fill="hold">
                            <p:stCondLst>
                              <p:cond delay="3500"/>
                            </p:stCondLst>
                            <p:childTnLst>
                              <p:par>
                                <p:cTn id="34" presetID="10" presetClass="entr" presetSubtype="0" fill="hold" grpId="0" nodeType="afterEffect">
                                  <p:stCondLst>
                                    <p:cond delay="0"/>
                                  </p:stCondLst>
                                  <p:childTnLst>
                                    <p:set>
                                      <p:cBhvr>
                                        <p:cTn id="35" dur="1" fill="hold">
                                          <p:stCondLst>
                                            <p:cond delay="0"/>
                                          </p:stCondLst>
                                        </p:cTn>
                                        <p:tgtEl>
                                          <p:spTgt spid="49"/>
                                        </p:tgtEl>
                                        <p:attrNameLst>
                                          <p:attrName>style.visibility</p:attrName>
                                        </p:attrNameLst>
                                      </p:cBhvr>
                                      <p:to>
                                        <p:strVal val="visible"/>
                                      </p:to>
                                    </p:set>
                                    <p:animEffect transition="in" filter="fade">
                                      <p:cBhvr>
                                        <p:cTn id="36"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45" grpId="0"/>
      <p:bldP spid="47" grpId="0"/>
      <p:bldP spid="4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721573" y="0"/>
            <a:ext cx="2647776"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en-US" altLang="zh-CN" dirty="0"/>
              <a:t>ADD YOUR TITLE</a:t>
            </a:r>
            <a:endParaRPr lang="zh-CN" altLang="en-US" dirty="0"/>
          </a:p>
        </p:txBody>
      </p:sp>
      <p:grpSp>
        <p:nvGrpSpPr>
          <p:cNvPr id="3" name="组合 2"/>
          <p:cNvGrpSpPr/>
          <p:nvPr/>
        </p:nvGrpSpPr>
        <p:grpSpPr>
          <a:xfrm>
            <a:off x="1311264" y="1939967"/>
            <a:ext cx="2342633" cy="2297754"/>
            <a:chOff x="1311264" y="1939967"/>
            <a:chExt cx="2342633" cy="2297754"/>
          </a:xfrm>
        </p:grpSpPr>
        <p:sp>
          <p:nvSpPr>
            <p:cNvPr id="4" name="椭圆 3"/>
            <p:cNvSpPr/>
            <p:nvPr/>
          </p:nvSpPr>
          <p:spPr>
            <a:xfrm>
              <a:off x="1311264" y="2189999"/>
              <a:ext cx="2072913" cy="2047722"/>
            </a:xfrm>
            <a:prstGeom prst="ellipse">
              <a:avLst/>
            </a:prstGeom>
            <a:solidFill>
              <a:srgbClr val="800080"/>
            </a:solidFill>
            <a:ln w="57150" cap="flat" cmpd="sng" algn="ctr">
              <a:solidFill>
                <a:srgbClr val="800080"/>
              </a:solidFill>
              <a:prstDash val="sysDot"/>
              <a:miter lim="800000"/>
            </a:ln>
            <a:effectLst/>
          </p:spPr>
          <p:txBody>
            <a:bodyPr anchor="ctr"/>
            <a:lstStyle/>
            <a:p>
              <a:pPr eaLnBrk="1" fontAlgn="auto" hangingPunct="1">
                <a:spcBef>
                  <a:spcPts val="0"/>
                </a:spcBef>
                <a:spcAft>
                  <a:spcPts val="0"/>
                </a:spcAft>
                <a:defRPr/>
              </a:pPr>
              <a:endParaRPr lang="zh-CN" altLang="en-US" sz="2000" kern="0" dirty="0">
                <a:solidFill>
                  <a:prstClr val="white"/>
                </a:solidFill>
                <a:latin typeface="Arial" panose="020B0604020202020204" pitchFamily="34" charset="0"/>
              </a:endParaRPr>
            </a:p>
          </p:txBody>
        </p:sp>
        <p:sp>
          <p:nvSpPr>
            <p:cNvPr id="5" name="椭圆 4"/>
            <p:cNvSpPr/>
            <p:nvPr/>
          </p:nvSpPr>
          <p:spPr>
            <a:xfrm>
              <a:off x="2938957" y="2294381"/>
              <a:ext cx="565457" cy="559883"/>
            </a:xfrm>
            <a:prstGeom prst="ellipse">
              <a:avLst/>
            </a:prstGeom>
            <a:solidFill>
              <a:srgbClr val="CC0099"/>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a:solidFill>
                  <a:prstClr val="white"/>
                </a:solidFill>
                <a:latin typeface="Calibri" panose="020F0502020204030204"/>
                <a:ea typeface="宋体" panose="02010600030101010101" pitchFamily="2" charset="-122"/>
              </a:endParaRPr>
            </a:p>
          </p:txBody>
        </p:sp>
        <p:pic>
          <p:nvPicPr>
            <p:cNvPr id="6" name="图片 29"/>
            <p:cNvPicPr>
              <a:picLocks noChangeAspect="1"/>
            </p:cNvPicPr>
            <p:nvPr/>
          </p:nvPicPr>
          <p:blipFill>
            <a:blip r:embed="rId2" cstate="print">
              <a:extLst>
                <a:ext uri="{28A0092B-C50C-407E-A947-70E740481C1C}">
                  <a14:useLocalDpi xmlns:a14="http://schemas.microsoft.com/office/drawing/2010/main" val="0"/>
                </a:ext>
              </a:extLst>
            </a:blip>
            <a:srcRect t="5220"/>
            <a:stretch>
              <a:fillRect/>
            </a:stretch>
          </p:blipFill>
          <p:spPr bwMode="auto">
            <a:xfrm>
              <a:off x="3028339" y="2423334"/>
              <a:ext cx="381785" cy="30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椭圆 6"/>
            <p:cNvSpPr/>
            <p:nvPr/>
          </p:nvSpPr>
          <p:spPr>
            <a:xfrm>
              <a:off x="2310155" y="1939967"/>
              <a:ext cx="548405" cy="543035"/>
            </a:xfrm>
            <a:prstGeom prst="ellipse">
              <a:avLst/>
            </a:prstGeom>
            <a:solidFill>
              <a:srgbClr val="CC0099"/>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a:solidFill>
                  <a:prstClr val="white"/>
                </a:solidFill>
                <a:latin typeface="Calibri" panose="020F0502020204030204"/>
                <a:ea typeface="宋体" panose="02010600030101010101" pitchFamily="2" charset="-122"/>
              </a:endParaRPr>
            </a:p>
          </p:txBody>
        </p:sp>
        <p:pic>
          <p:nvPicPr>
            <p:cNvPr id="8" name="图片 32"/>
            <p:cNvPicPr>
              <a:picLocks noChangeAspect="1"/>
            </p:cNvPicPr>
            <p:nvPr/>
          </p:nvPicPr>
          <p:blipFill>
            <a:blip r:embed="rId3" cstate="print">
              <a:extLst>
                <a:ext uri="{28A0092B-C50C-407E-A947-70E740481C1C}">
                  <a14:useLocalDpi xmlns:a14="http://schemas.microsoft.com/office/drawing/2010/main" val="0"/>
                </a:ext>
              </a:extLst>
            </a:blip>
            <a:srcRect l="23180" t="13547" r="24422" b="28755"/>
            <a:stretch>
              <a:fillRect/>
            </a:stretch>
          </p:blipFill>
          <p:spPr bwMode="auto">
            <a:xfrm>
              <a:off x="2466935" y="2083825"/>
              <a:ext cx="234843" cy="255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椭圆 8"/>
            <p:cNvSpPr/>
            <p:nvPr/>
          </p:nvSpPr>
          <p:spPr>
            <a:xfrm>
              <a:off x="3105492" y="2996053"/>
              <a:ext cx="548405" cy="541739"/>
            </a:xfrm>
            <a:prstGeom prst="ellipse">
              <a:avLst/>
            </a:prstGeom>
            <a:solidFill>
              <a:srgbClr val="CC0099"/>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a:solidFill>
                  <a:prstClr val="white"/>
                </a:solidFill>
                <a:latin typeface="Calibri" panose="020F0502020204030204"/>
                <a:ea typeface="宋体" panose="02010600030101010101" pitchFamily="2" charset="-122"/>
              </a:endParaRPr>
            </a:p>
          </p:txBody>
        </p:sp>
        <p:sp>
          <p:nvSpPr>
            <p:cNvPr id="10" name="任意多边形 9"/>
            <p:cNvSpPr/>
            <p:nvPr/>
          </p:nvSpPr>
          <p:spPr>
            <a:xfrm>
              <a:off x="3171130" y="3127020"/>
              <a:ext cx="321431" cy="243653"/>
            </a:xfrm>
            <a:custGeom>
              <a:avLst/>
              <a:gdLst>
                <a:gd name="connsiteX0" fmla="*/ 332089 w 388650"/>
                <a:gd name="connsiteY0" fmla="*/ 43940 h 298935"/>
                <a:gd name="connsiteX1" fmla="*/ 354779 w 388650"/>
                <a:gd name="connsiteY1" fmla="*/ 43940 h 298935"/>
                <a:gd name="connsiteX2" fmla="*/ 388650 w 388650"/>
                <a:gd name="connsiteY2" fmla="*/ 77811 h 298935"/>
                <a:gd name="connsiteX3" fmla="*/ 388650 w 388650"/>
                <a:gd name="connsiteY3" fmla="*/ 162486 h 298935"/>
                <a:gd name="connsiteX4" fmla="*/ 388650 w 388650"/>
                <a:gd name="connsiteY4" fmla="*/ 213291 h 298935"/>
                <a:gd name="connsiteX5" fmla="*/ 354779 w 388650"/>
                <a:gd name="connsiteY5" fmla="*/ 247162 h 298935"/>
                <a:gd name="connsiteX6" fmla="*/ 328319 w 388650"/>
                <a:gd name="connsiteY6" fmla="*/ 247162 h 298935"/>
                <a:gd name="connsiteX7" fmla="*/ 262816 w 388650"/>
                <a:gd name="connsiteY7" fmla="*/ 298935 h 298935"/>
                <a:gd name="connsiteX8" fmla="*/ 237822 w 388650"/>
                <a:gd name="connsiteY8" fmla="*/ 247162 h 298935"/>
                <a:gd name="connsiteX9" fmla="*/ 60533 w 388650"/>
                <a:gd name="connsiteY9" fmla="*/ 247162 h 298935"/>
                <a:gd name="connsiteX10" fmla="*/ 26662 w 388650"/>
                <a:gd name="connsiteY10" fmla="*/ 213291 h 298935"/>
                <a:gd name="connsiteX11" fmla="*/ 26662 w 388650"/>
                <a:gd name="connsiteY11" fmla="*/ 188693 h 298935"/>
                <a:gd name="connsiteX12" fmla="*/ 27227 w 388650"/>
                <a:gd name="connsiteY12" fmla="*/ 188927 h 298935"/>
                <a:gd name="connsiteX13" fmla="*/ 300065 w 388650"/>
                <a:gd name="connsiteY13" fmla="*/ 188927 h 298935"/>
                <a:gd name="connsiteX14" fmla="*/ 332089 w 388650"/>
                <a:gd name="connsiteY14" fmla="*/ 156903 h 298935"/>
                <a:gd name="connsiteX15" fmla="*/ 28100 w 388650"/>
                <a:gd name="connsiteY15" fmla="*/ 0 h 298935"/>
                <a:gd name="connsiteX16" fmla="*/ 290988 w 388650"/>
                <a:gd name="connsiteY16" fmla="*/ 0 h 298935"/>
                <a:gd name="connsiteX17" fmla="*/ 319088 w 388650"/>
                <a:gd name="connsiteY17" fmla="*/ 28100 h 298935"/>
                <a:gd name="connsiteX18" fmla="*/ 319088 w 388650"/>
                <a:gd name="connsiteY18" fmla="*/ 140499 h 298935"/>
                <a:gd name="connsiteX19" fmla="*/ 290988 w 388650"/>
                <a:gd name="connsiteY19" fmla="*/ 168599 h 298935"/>
                <a:gd name="connsiteX20" fmla="*/ 28100 w 388650"/>
                <a:gd name="connsiteY20" fmla="*/ 168599 h 298935"/>
                <a:gd name="connsiteX21" fmla="*/ 0 w 388650"/>
                <a:gd name="connsiteY21" fmla="*/ 140499 h 298935"/>
                <a:gd name="connsiteX22" fmla="*/ 0 w 388650"/>
                <a:gd name="connsiteY22" fmla="*/ 28100 h 298935"/>
                <a:gd name="connsiteX23" fmla="*/ 28100 w 388650"/>
                <a:gd name="connsiteY23" fmla="*/ 0 h 298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8650" h="298935">
                  <a:moveTo>
                    <a:pt x="332089" y="43940"/>
                  </a:moveTo>
                  <a:lnTo>
                    <a:pt x="354779" y="43940"/>
                  </a:lnTo>
                  <a:cubicBezTo>
                    <a:pt x="373485" y="43940"/>
                    <a:pt x="388650" y="59105"/>
                    <a:pt x="388650" y="77811"/>
                  </a:cubicBezTo>
                  <a:lnTo>
                    <a:pt x="388650" y="162486"/>
                  </a:lnTo>
                  <a:lnTo>
                    <a:pt x="388650" y="213291"/>
                  </a:lnTo>
                  <a:cubicBezTo>
                    <a:pt x="388650" y="231997"/>
                    <a:pt x="373485" y="247162"/>
                    <a:pt x="354779" y="247162"/>
                  </a:cubicBezTo>
                  <a:lnTo>
                    <a:pt x="328319" y="247162"/>
                  </a:lnTo>
                  <a:lnTo>
                    <a:pt x="262816" y="298935"/>
                  </a:lnTo>
                  <a:lnTo>
                    <a:pt x="237822" y="247162"/>
                  </a:lnTo>
                  <a:lnTo>
                    <a:pt x="60533" y="247162"/>
                  </a:lnTo>
                  <a:cubicBezTo>
                    <a:pt x="41827" y="247162"/>
                    <a:pt x="26662" y="231997"/>
                    <a:pt x="26662" y="213291"/>
                  </a:cubicBezTo>
                  <a:lnTo>
                    <a:pt x="26662" y="188693"/>
                  </a:lnTo>
                  <a:lnTo>
                    <a:pt x="27227" y="188927"/>
                  </a:lnTo>
                  <a:lnTo>
                    <a:pt x="300065" y="188927"/>
                  </a:lnTo>
                  <a:cubicBezTo>
                    <a:pt x="317751" y="188927"/>
                    <a:pt x="332089" y="174589"/>
                    <a:pt x="332089" y="156903"/>
                  </a:cubicBezTo>
                  <a:close/>
                  <a:moveTo>
                    <a:pt x="28100" y="0"/>
                  </a:moveTo>
                  <a:lnTo>
                    <a:pt x="290988" y="0"/>
                  </a:lnTo>
                  <a:cubicBezTo>
                    <a:pt x="306507" y="0"/>
                    <a:pt x="319088" y="12581"/>
                    <a:pt x="319088" y="28100"/>
                  </a:cubicBezTo>
                  <a:lnTo>
                    <a:pt x="319088" y="140499"/>
                  </a:lnTo>
                  <a:cubicBezTo>
                    <a:pt x="319088" y="156018"/>
                    <a:pt x="306507" y="168599"/>
                    <a:pt x="290988" y="168599"/>
                  </a:cubicBezTo>
                  <a:lnTo>
                    <a:pt x="28100" y="168599"/>
                  </a:lnTo>
                  <a:cubicBezTo>
                    <a:pt x="12581" y="168599"/>
                    <a:pt x="0" y="156018"/>
                    <a:pt x="0" y="140499"/>
                  </a:cubicBezTo>
                  <a:lnTo>
                    <a:pt x="0" y="28100"/>
                  </a:lnTo>
                  <a:cubicBezTo>
                    <a:pt x="0" y="12581"/>
                    <a:pt x="12581" y="0"/>
                    <a:pt x="28100" y="0"/>
                  </a:cubicBezTo>
                  <a:close/>
                </a:path>
              </a:pathLst>
            </a:custGeom>
            <a:solidFill>
              <a:sysClr val="window" lastClr="FFFFFF"/>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a:solidFill>
                  <a:prstClr val="white"/>
                </a:solidFill>
                <a:latin typeface="Calibri" panose="020F0502020204030204"/>
                <a:ea typeface="宋体" panose="02010600030101010101" pitchFamily="2" charset="-122"/>
              </a:endParaRPr>
            </a:p>
          </p:txBody>
        </p:sp>
        <p:sp>
          <p:nvSpPr>
            <p:cNvPr id="11" name="椭圆 10"/>
            <p:cNvSpPr/>
            <p:nvPr/>
          </p:nvSpPr>
          <p:spPr>
            <a:xfrm>
              <a:off x="2879935" y="3715393"/>
              <a:ext cx="447382" cy="443241"/>
            </a:xfrm>
            <a:prstGeom prst="ellipse">
              <a:avLst/>
            </a:prstGeom>
            <a:solidFill>
              <a:srgbClr val="CC0099"/>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dirty="0">
                <a:solidFill>
                  <a:prstClr val="white"/>
                </a:solidFill>
                <a:latin typeface="Calibri" panose="020F0502020204030204"/>
                <a:ea typeface="宋体" panose="02010600030101010101" pitchFamily="2" charset="-122"/>
              </a:endParaRPr>
            </a:p>
          </p:txBody>
        </p:sp>
        <p:sp>
          <p:nvSpPr>
            <p:cNvPr id="12" name="任意多边形 11"/>
            <p:cNvSpPr/>
            <p:nvPr/>
          </p:nvSpPr>
          <p:spPr>
            <a:xfrm rot="10800000" flipH="1">
              <a:off x="2951599" y="3822545"/>
              <a:ext cx="284699" cy="209956"/>
            </a:xfrm>
            <a:custGeom>
              <a:avLst/>
              <a:gdLst>
                <a:gd name="connsiteX0" fmla="*/ 441259 w 1065398"/>
                <a:gd name="connsiteY0" fmla="*/ 795512 h 795512"/>
                <a:gd name="connsiteX1" fmla="*/ 624139 w 1065398"/>
                <a:gd name="connsiteY1" fmla="*/ 795512 h 795512"/>
                <a:gd name="connsiteX2" fmla="*/ 624139 w 1065398"/>
                <a:gd name="connsiteY2" fmla="*/ 611235 h 795512"/>
                <a:gd name="connsiteX3" fmla="*/ 975398 w 1065398"/>
                <a:gd name="connsiteY3" fmla="*/ 611235 h 795512"/>
                <a:gd name="connsiteX4" fmla="*/ 1065398 w 1065398"/>
                <a:gd name="connsiteY4" fmla="*/ 521235 h 795512"/>
                <a:gd name="connsiteX5" fmla="*/ 975398 w 1065398"/>
                <a:gd name="connsiteY5" fmla="*/ 431235 h 795512"/>
                <a:gd name="connsiteX6" fmla="*/ 624139 w 1065398"/>
                <a:gd name="connsiteY6" fmla="*/ 431235 h 795512"/>
                <a:gd name="connsiteX7" fmla="*/ 624139 w 1065398"/>
                <a:gd name="connsiteY7" fmla="*/ 0 h 795512"/>
                <a:gd name="connsiteX8" fmla="*/ 441259 w 1065398"/>
                <a:gd name="connsiteY8" fmla="*/ 0 h 795512"/>
                <a:gd name="connsiteX9" fmla="*/ 441259 w 1065398"/>
                <a:gd name="connsiteY9" fmla="*/ 217756 h 795512"/>
                <a:gd name="connsiteX10" fmla="*/ 90000 w 1065398"/>
                <a:gd name="connsiteY10" fmla="*/ 217756 h 795512"/>
                <a:gd name="connsiteX11" fmla="*/ 0 w 1065398"/>
                <a:gd name="connsiteY11" fmla="*/ 307756 h 795512"/>
                <a:gd name="connsiteX12" fmla="*/ 90000 w 1065398"/>
                <a:gd name="connsiteY12" fmla="*/ 397756 h 795512"/>
                <a:gd name="connsiteX13" fmla="*/ 441259 w 1065398"/>
                <a:gd name="connsiteY13" fmla="*/ 397756 h 795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5398" h="795512">
                  <a:moveTo>
                    <a:pt x="441259" y="795512"/>
                  </a:moveTo>
                  <a:lnTo>
                    <a:pt x="624139" y="795512"/>
                  </a:lnTo>
                  <a:lnTo>
                    <a:pt x="624139" y="611235"/>
                  </a:lnTo>
                  <a:lnTo>
                    <a:pt x="975398" y="611235"/>
                  </a:lnTo>
                  <a:lnTo>
                    <a:pt x="1065398" y="521235"/>
                  </a:lnTo>
                  <a:lnTo>
                    <a:pt x="975398" y="431235"/>
                  </a:lnTo>
                  <a:lnTo>
                    <a:pt x="624139" y="431235"/>
                  </a:lnTo>
                  <a:lnTo>
                    <a:pt x="624139" y="0"/>
                  </a:lnTo>
                  <a:lnTo>
                    <a:pt x="441259" y="0"/>
                  </a:lnTo>
                  <a:lnTo>
                    <a:pt x="441259" y="217756"/>
                  </a:lnTo>
                  <a:lnTo>
                    <a:pt x="90000" y="217756"/>
                  </a:lnTo>
                  <a:lnTo>
                    <a:pt x="0" y="307756"/>
                  </a:lnTo>
                  <a:lnTo>
                    <a:pt x="90000" y="397756"/>
                  </a:lnTo>
                  <a:lnTo>
                    <a:pt x="441259" y="397756"/>
                  </a:lnTo>
                  <a:close/>
                </a:path>
              </a:pathLst>
            </a:custGeom>
            <a:solidFill>
              <a:sysClr val="window" lastClr="FFFFFF"/>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a:solidFill>
                  <a:prstClr val="white"/>
                </a:solidFill>
                <a:latin typeface="Calibri" panose="020F0502020204030204"/>
                <a:ea typeface="宋体" panose="02010600030101010101" pitchFamily="2" charset="-122"/>
              </a:endParaRPr>
            </a:p>
          </p:txBody>
        </p:sp>
        <p:sp>
          <p:nvSpPr>
            <p:cNvPr id="17" name="矩形 16"/>
            <p:cNvSpPr/>
            <p:nvPr/>
          </p:nvSpPr>
          <p:spPr>
            <a:xfrm>
              <a:off x="1827385" y="2852617"/>
              <a:ext cx="1040670" cy="830997"/>
            </a:xfrm>
            <a:prstGeom prst="rect">
              <a:avLst/>
            </a:prstGeom>
          </p:spPr>
          <p:txBody>
            <a:bodyPr wrap="none">
              <a:spAutoFit/>
            </a:bodyPr>
            <a:lstStyle/>
            <a:p>
              <a:pPr>
                <a:defRPr/>
              </a:pPr>
              <a:r>
                <a:rPr lang="en-US" altLang="zh-CN" sz="2400" kern="0" dirty="0">
                  <a:solidFill>
                    <a:prstClr val="white"/>
                  </a:solidFill>
                  <a:latin typeface="Arial" panose="020B0604020202020204" pitchFamily="34" charset="0"/>
                </a:rPr>
                <a:t>TEXT</a:t>
              </a:r>
            </a:p>
            <a:p>
              <a:pPr>
                <a:defRPr/>
              </a:pPr>
              <a:r>
                <a:rPr lang="en-US" altLang="zh-CN" sz="2400" kern="0" dirty="0">
                  <a:solidFill>
                    <a:prstClr val="white"/>
                  </a:solidFill>
                  <a:latin typeface="Arial" panose="020B0604020202020204" pitchFamily="34" charset="0"/>
                </a:rPr>
                <a:t>HERE</a:t>
              </a:r>
              <a:endParaRPr lang="zh-CN" altLang="en-US" sz="2400" kern="0" dirty="0">
                <a:solidFill>
                  <a:prstClr val="white"/>
                </a:solidFill>
                <a:latin typeface="Arial" panose="020B0604020202020204" pitchFamily="34" charset="0"/>
              </a:endParaRPr>
            </a:p>
          </p:txBody>
        </p:sp>
      </p:grpSp>
      <p:sp>
        <p:nvSpPr>
          <p:cNvPr id="14" name="TextBox 13"/>
          <p:cNvSpPr txBox="1"/>
          <p:nvPr/>
        </p:nvSpPr>
        <p:spPr>
          <a:xfrm>
            <a:off x="611560" y="843558"/>
            <a:ext cx="7580791" cy="830997"/>
          </a:xfrm>
          <a:prstGeom prst="rect">
            <a:avLst/>
          </a:prstGeom>
          <a:noFill/>
        </p:spPr>
        <p:txBody>
          <a:bodyPr wrap="square" rtlCol="0">
            <a:spAutoFit/>
          </a:bodyPr>
          <a:lstStyle/>
          <a:p>
            <a:pPr>
              <a:lnSpc>
                <a:spcPct val="150000"/>
              </a:lnSpc>
            </a:pPr>
            <a:r>
              <a:rPr lang="en-US" altLang="zh-CN" sz="1600" b="1" dirty="0">
                <a:solidFill>
                  <a:schemeClr val="tx1">
                    <a:lumMod val="75000"/>
                    <a:lumOff val="25000"/>
                  </a:schemeClr>
                </a:solidFill>
              </a:rPr>
              <a:t>You can click here to enter you text. You can click here to enter you text. You can click here to enter you text. </a:t>
            </a:r>
            <a:endParaRPr lang="zh-CN" altLang="en-US" sz="1600" b="1" dirty="0">
              <a:solidFill>
                <a:schemeClr val="tx1">
                  <a:lumMod val="75000"/>
                  <a:lumOff val="25000"/>
                </a:schemeClr>
              </a:solidFill>
            </a:endParaRPr>
          </a:p>
        </p:txBody>
      </p:sp>
      <p:sp>
        <p:nvSpPr>
          <p:cNvPr id="15" name="TextBox 14"/>
          <p:cNvSpPr txBox="1"/>
          <p:nvPr/>
        </p:nvSpPr>
        <p:spPr>
          <a:xfrm>
            <a:off x="4283968" y="2189999"/>
            <a:ext cx="4647540" cy="1938992"/>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zh-CN" sz="1600" dirty="0">
                <a:solidFill>
                  <a:schemeClr val="tx1">
                    <a:lumMod val="75000"/>
                    <a:lumOff val="25000"/>
                  </a:schemeClr>
                </a:solidFill>
              </a:rPr>
              <a:t>You can click here to enter you text. </a:t>
            </a:r>
          </a:p>
          <a:p>
            <a:pPr marL="285750" indent="-285750">
              <a:lnSpc>
                <a:spcPct val="150000"/>
              </a:lnSpc>
              <a:buFont typeface="Arial" panose="020B0604020202020204" pitchFamily="34" charset="0"/>
              <a:buChar char="•"/>
            </a:pPr>
            <a:r>
              <a:rPr lang="en-US" altLang="zh-CN" sz="1600" dirty="0">
                <a:solidFill>
                  <a:schemeClr val="tx1">
                    <a:lumMod val="75000"/>
                    <a:lumOff val="25000"/>
                  </a:schemeClr>
                </a:solidFill>
              </a:rPr>
              <a:t>You can click here to enter you text. </a:t>
            </a:r>
          </a:p>
          <a:p>
            <a:pPr marL="285750" indent="-285750">
              <a:lnSpc>
                <a:spcPct val="150000"/>
              </a:lnSpc>
              <a:buFont typeface="Arial" panose="020B0604020202020204" pitchFamily="34" charset="0"/>
              <a:buChar char="•"/>
            </a:pPr>
            <a:r>
              <a:rPr lang="en-US" altLang="zh-CN" sz="1600" dirty="0">
                <a:solidFill>
                  <a:schemeClr val="tx1">
                    <a:lumMod val="75000"/>
                    <a:lumOff val="25000"/>
                  </a:schemeClr>
                </a:solidFill>
              </a:rPr>
              <a:t>You can click here to enter you text.</a:t>
            </a:r>
          </a:p>
          <a:p>
            <a:pPr marL="285750" indent="-285750">
              <a:lnSpc>
                <a:spcPct val="150000"/>
              </a:lnSpc>
              <a:buFont typeface="Arial" panose="020B0604020202020204" pitchFamily="34" charset="0"/>
              <a:buChar char="•"/>
            </a:pPr>
            <a:r>
              <a:rPr lang="en-US" altLang="zh-CN" sz="1600" dirty="0">
                <a:solidFill>
                  <a:schemeClr val="tx1">
                    <a:lumMod val="75000"/>
                    <a:lumOff val="25000"/>
                  </a:schemeClr>
                </a:solidFill>
              </a:rPr>
              <a:t> You can click here to enter you text. </a:t>
            </a:r>
          </a:p>
          <a:p>
            <a:pPr marL="285750" indent="-285750">
              <a:lnSpc>
                <a:spcPct val="150000"/>
              </a:lnSpc>
              <a:buFont typeface="Arial" panose="020B0604020202020204" pitchFamily="34" charset="0"/>
              <a:buChar char="•"/>
            </a:pPr>
            <a:r>
              <a:rPr lang="en-US" altLang="zh-CN" sz="1600" dirty="0">
                <a:solidFill>
                  <a:schemeClr val="tx1">
                    <a:lumMod val="75000"/>
                    <a:lumOff val="25000"/>
                  </a:schemeClr>
                </a:solidFill>
              </a:rPr>
              <a:t>You can click here to enter you text. </a:t>
            </a:r>
            <a:endParaRPr lang="zh-CN" altLang="en-US" sz="1600" dirty="0">
              <a:solidFill>
                <a:schemeClr val="tx1">
                  <a:lumMod val="75000"/>
                  <a:lumOff val="25000"/>
                </a:schemeClr>
              </a:solidFill>
            </a:endParaRPr>
          </a:p>
        </p:txBody>
      </p:sp>
      <p:sp>
        <p:nvSpPr>
          <p:cNvPr id="16" name="TextBox 15"/>
          <p:cNvSpPr txBox="1"/>
          <p:nvPr/>
        </p:nvSpPr>
        <p:spPr>
          <a:xfrm>
            <a:off x="4269488" y="1755301"/>
            <a:ext cx="1751366" cy="369332"/>
          </a:xfrm>
          <a:prstGeom prst="rect">
            <a:avLst/>
          </a:prstGeom>
          <a:solidFill>
            <a:srgbClr val="800080"/>
          </a:solidFill>
        </p:spPr>
        <p:txBody>
          <a:bodyPr wrap="square" rtlCol="0">
            <a:spAutoFit/>
          </a:bodyPr>
          <a:lstStyle/>
          <a:p>
            <a:r>
              <a:rPr lang="en-US" altLang="zh-CN" b="1" dirty="0">
                <a:solidFill>
                  <a:schemeClr val="bg1"/>
                </a:solidFill>
              </a:rPr>
              <a:t>TEXT  HERE</a:t>
            </a:r>
            <a:endParaRPr lang="zh-CN" altLang="en-US" b="1" dirty="0">
              <a:solidFill>
                <a:schemeClr val="bg1"/>
              </a:solidFill>
            </a:endParaRPr>
          </a:p>
        </p:txBody>
      </p:sp>
      <p:grpSp>
        <p:nvGrpSpPr>
          <p:cNvPr id="2" name="组合 1"/>
          <p:cNvGrpSpPr/>
          <p:nvPr/>
        </p:nvGrpSpPr>
        <p:grpSpPr>
          <a:xfrm rot="13506405">
            <a:off x="8122079" y="3564550"/>
            <a:ext cx="1214651" cy="2299620"/>
            <a:chOff x="7929355" y="2878525"/>
            <a:chExt cx="1214651" cy="2299620"/>
          </a:xfrm>
        </p:grpSpPr>
        <p:pic>
          <p:nvPicPr>
            <p:cNvPr id="18" name="Picture 2" descr="I:\PPT素材\图片素材\百张low poly 高清背景图\6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6766" t="19203" r="18133" b="48780"/>
            <a:stretch>
              <a:fillRect/>
            </a:stretch>
          </p:blipFill>
          <p:spPr bwMode="auto">
            <a:xfrm rot="13437075">
              <a:off x="8131305" y="3612988"/>
              <a:ext cx="839027" cy="839027"/>
            </a:xfrm>
            <a:prstGeom prst="rtTriangle">
              <a:avLst/>
            </a:prstGeom>
            <a:noFill/>
            <a:extLst>
              <a:ext uri="{909E8E84-426E-40DD-AFC4-6F175D3DCCD1}">
                <a14:hiddenFill xmlns:a14="http://schemas.microsoft.com/office/drawing/2010/main">
                  <a:solidFill>
                    <a:srgbClr val="FFFFFF"/>
                  </a:solidFill>
                </a14:hiddenFill>
              </a:ext>
            </a:extLst>
          </p:spPr>
        </p:pic>
        <p:sp>
          <p:nvSpPr>
            <p:cNvPr id="19" name="等腰三角形 18"/>
            <p:cNvSpPr/>
            <p:nvPr/>
          </p:nvSpPr>
          <p:spPr>
            <a:xfrm rot="16200000">
              <a:off x="8351766" y="4385905"/>
              <a:ext cx="1058488" cy="525991"/>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等腰三角形 19"/>
            <p:cNvSpPr/>
            <p:nvPr/>
          </p:nvSpPr>
          <p:spPr>
            <a:xfrm rot="16200000">
              <a:off x="8351767" y="3144773"/>
              <a:ext cx="1058488" cy="525991"/>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等腰三角形 20"/>
            <p:cNvSpPr/>
            <p:nvPr/>
          </p:nvSpPr>
          <p:spPr>
            <a:xfrm rot="16200000">
              <a:off x="7663107" y="3769505"/>
              <a:ext cx="1058488" cy="525991"/>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21"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1500"/>
                                        <p:tgtEl>
                                          <p:spTgt spid="3"/>
                                        </p:tgtEl>
                                      </p:cBhvr>
                                    </p:animEffect>
                                  </p:childTnLst>
                                </p:cTn>
                              </p:par>
                            </p:childTnLst>
                          </p:cTn>
                        </p:par>
                        <p:par>
                          <p:cTn id="12" fill="hold">
                            <p:stCondLst>
                              <p:cond delay="2000"/>
                            </p:stCondLst>
                            <p:childTnLst>
                              <p:par>
                                <p:cTn id="13" presetID="42"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anim calcmode="lin" valueType="num">
                                      <p:cBhvr>
                                        <p:cTn id="16" dur="500" fill="hold"/>
                                        <p:tgtEl>
                                          <p:spTgt spid="16"/>
                                        </p:tgtEl>
                                        <p:attrNameLst>
                                          <p:attrName>ppt_x</p:attrName>
                                        </p:attrNameLst>
                                      </p:cBhvr>
                                      <p:tavLst>
                                        <p:tav tm="0">
                                          <p:val>
                                            <p:strVal val="#ppt_x"/>
                                          </p:val>
                                        </p:tav>
                                        <p:tav tm="100000">
                                          <p:val>
                                            <p:strVal val="#ppt_x"/>
                                          </p:val>
                                        </p:tav>
                                      </p:tavLst>
                                    </p:anim>
                                    <p:anim calcmode="lin" valueType="num">
                                      <p:cBhvr>
                                        <p:cTn id="17" dur="500" fill="hold"/>
                                        <p:tgtEl>
                                          <p:spTgt spid="16"/>
                                        </p:tgtEl>
                                        <p:attrNameLst>
                                          <p:attrName>ppt_y</p:attrName>
                                        </p:attrNameLst>
                                      </p:cBhvr>
                                      <p:tavLst>
                                        <p:tav tm="0">
                                          <p:val>
                                            <p:strVal val="#ppt_y+.1"/>
                                          </p:val>
                                        </p:tav>
                                        <p:tav tm="100000">
                                          <p:val>
                                            <p:strVal val="#ppt_y"/>
                                          </p:val>
                                        </p:tav>
                                      </p:tavLst>
                                    </p:anim>
                                  </p:childTnLst>
                                </p:cTn>
                              </p:par>
                            </p:childTnLst>
                          </p:cTn>
                        </p:par>
                        <p:par>
                          <p:cTn id="18" fill="hold">
                            <p:stCondLst>
                              <p:cond delay="2500"/>
                            </p:stCondLst>
                            <p:childTnLst>
                              <p:par>
                                <p:cTn id="19" presetID="10" presetClass="entr" presetSubtype="0" fill="hold" grpId="0"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0527" t="19203" r="11894" b="58771"/>
          <a:stretch>
            <a:fillRect/>
          </a:stretch>
        </p:blipFill>
        <p:spPr bwMode="auto">
          <a:xfrm flipV="1">
            <a:off x="3673867" y="0"/>
            <a:ext cx="5498593" cy="443012"/>
          </a:xfrm>
          <a:prstGeom prst="triangle">
            <a:avLst/>
          </a:prstGeom>
          <a:noFill/>
          <a:extLst>
            <a:ext uri="{909E8E84-426E-40DD-AFC4-6F175D3DCCD1}">
              <a14:hiddenFill xmlns:a14="http://schemas.microsoft.com/office/drawing/2010/main">
                <a:solidFill>
                  <a:srgbClr val="FFFFFF"/>
                </a:solidFill>
              </a14:hiddenFill>
            </a:ext>
          </a:extLst>
        </p:spPr>
      </p:pic>
      <p:grpSp>
        <p:nvGrpSpPr>
          <p:cNvPr id="16" name="组合 15"/>
          <p:cNvGrpSpPr/>
          <p:nvPr/>
        </p:nvGrpSpPr>
        <p:grpSpPr>
          <a:xfrm>
            <a:off x="2703440" y="1491630"/>
            <a:ext cx="3606687" cy="2614079"/>
            <a:chOff x="2703440" y="1491630"/>
            <a:chExt cx="3606687" cy="2614079"/>
          </a:xfrm>
        </p:grpSpPr>
        <p:sp>
          <p:nvSpPr>
            <p:cNvPr id="2" name="椭圆 1"/>
            <p:cNvSpPr/>
            <p:nvPr/>
          </p:nvSpPr>
          <p:spPr>
            <a:xfrm>
              <a:off x="3762648" y="1535177"/>
              <a:ext cx="1481867" cy="1718812"/>
            </a:xfrm>
            <a:custGeom>
              <a:avLst/>
              <a:gdLst/>
              <a:ahLst/>
              <a:cxnLst/>
              <a:rect l="l" t="t" r="r" b="b"/>
              <a:pathLst>
                <a:path w="3240360" h="3757972">
                  <a:moveTo>
                    <a:pt x="1620180" y="0"/>
                  </a:moveTo>
                  <a:cubicBezTo>
                    <a:pt x="2514981" y="0"/>
                    <a:pt x="3240360" y="725379"/>
                    <a:pt x="3240360" y="1620180"/>
                  </a:cubicBezTo>
                  <a:cubicBezTo>
                    <a:pt x="3240360" y="2212023"/>
                    <a:pt x="2923020" y="2729746"/>
                    <a:pt x="2448272" y="3010903"/>
                  </a:cubicBezTo>
                  <a:lnTo>
                    <a:pt x="2448272" y="3511913"/>
                  </a:lnTo>
                  <a:cubicBezTo>
                    <a:pt x="2448272" y="3647808"/>
                    <a:pt x="2338108" y="3757972"/>
                    <a:pt x="2202213" y="3757972"/>
                  </a:cubicBezTo>
                  <a:lnTo>
                    <a:pt x="1038147" y="3757972"/>
                  </a:lnTo>
                  <a:cubicBezTo>
                    <a:pt x="902252" y="3757972"/>
                    <a:pt x="792088" y="3647808"/>
                    <a:pt x="792088" y="3511913"/>
                  </a:cubicBezTo>
                  <a:lnTo>
                    <a:pt x="792088" y="3010903"/>
                  </a:lnTo>
                  <a:cubicBezTo>
                    <a:pt x="317340" y="2729746"/>
                    <a:pt x="0" y="2212023"/>
                    <a:pt x="0" y="1620180"/>
                  </a:cubicBezTo>
                  <a:cubicBezTo>
                    <a:pt x="0" y="725379"/>
                    <a:pt x="725379" y="0"/>
                    <a:pt x="1620180" y="0"/>
                  </a:cubicBezTo>
                  <a:close/>
                </a:path>
              </a:pathLst>
            </a:custGeom>
            <a:noFill/>
            <a:ln w="203200" cap="flat" cmpd="sng" algn="ctr">
              <a:solidFill>
                <a:srgbClr val="800080"/>
              </a:solidFill>
              <a:prstDash val="solid"/>
            </a:ln>
            <a:effectLst/>
          </p:spPr>
          <p:txBody>
            <a:bodyPr anchor="ctr"/>
            <a:lstStyle/>
            <a:p>
              <a:pPr algn="ctr" eaLnBrk="1" fontAlgn="auto" hangingPunct="1">
                <a:spcBef>
                  <a:spcPts val="0"/>
                </a:spcBef>
                <a:spcAft>
                  <a:spcPts val="0"/>
                </a:spcAft>
                <a:defRPr/>
              </a:pPr>
              <a:r>
                <a:rPr lang="en-US" altLang="zh-CN" sz="3200" kern="0" dirty="0">
                  <a:solidFill>
                    <a:srgbClr val="800080"/>
                  </a:solidFill>
                  <a:latin typeface="微软雅黑" panose="020B0503020204020204" pitchFamily="34" charset="-122"/>
                  <a:ea typeface="微软雅黑" panose="020B0503020204020204" pitchFamily="34" charset="-122"/>
                </a:rPr>
                <a:t>TITLE</a:t>
              </a:r>
              <a:endParaRPr lang="en-US" sz="3200" kern="0" dirty="0">
                <a:solidFill>
                  <a:srgbClr val="800080"/>
                </a:solidFill>
                <a:latin typeface="微软雅黑" panose="020B0503020204020204" pitchFamily="34" charset="-122"/>
                <a:ea typeface="微软雅黑" panose="020B0503020204020204" pitchFamily="34" charset="-122"/>
              </a:endParaRPr>
            </a:p>
          </p:txBody>
        </p:sp>
        <p:sp>
          <p:nvSpPr>
            <p:cNvPr id="3" name="圆角矩形 2"/>
            <p:cNvSpPr/>
            <p:nvPr/>
          </p:nvSpPr>
          <p:spPr>
            <a:xfrm>
              <a:off x="4163533" y="3375662"/>
              <a:ext cx="692904" cy="143448"/>
            </a:xfrm>
            <a:prstGeom prst="roundRect">
              <a:avLst>
                <a:gd name="adj" fmla="val 50000"/>
              </a:avLst>
            </a:prstGeom>
            <a:solidFill>
              <a:sysClr val="window" lastClr="FFFFFF">
                <a:lumMod val="75000"/>
              </a:sysClr>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Calibri" panose="020F0502020204030204"/>
                <a:ea typeface="+mn-ea"/>
              </a:endParaRPr>
            </a:p>
          </p:txBody>
        </p:sp>
        <p:sp>
          <p:nvSpPr>
            <p:cNvPr id="4" name="圆角矩形 3"/>
            <p:cNvSpPr/>
            <p:nvPr/>
          </p:nvSpPr>
          <p:spPr>
            <a:xfrm>
              <a:off x="4223730" y="3581869"/>
              <a:ext cx="572511" cy="144728"/>
            </a:xfrm>
            <a:prstGeom prst="roundRect">
              <a:avLst>
                <a:gd name="adj" fmla="val 50000"/>
              </a:avLst>
            </a:prstGeom>
            <a:solidFill>
              <a:srgbClr val="CC0099"/>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Calibri" panose="020F0502020204030204"/>
                <a:ea typeface="+mn-ea"/>
              </a:endParaRPr>
            </a:p>
          </p:txBody>
        </p:sp>
        <p:sp>
          <p:nvSpPr>
            <p:cNvPr id="5" name="圆角矩形 4"/>
            <p:cNvSpPr/>
            <p:nvPr/>
          </p:nvSpPr>
          <p:spPr>
            <a:xfrm>
              <a:off x="4163533" y="3789356"/>
              <a:ext cx="692904" cy="143448"/>
            </a:xfrm>
            <a:prstGeom prst="roundRect">
              <a:avLst>
                <a:gd name="adj" fmla="val 50000"/>
              </a:avLst>
            </a:prstGeom>
            <a:solidFill>
              <a:sysClr val="window" lastClr="FFFFFF">
                <a:lumMod val="75000"/>
              </a:sysClr>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Calibri" panose="020F0502020204030204"/>
                <a:ea typeface="+mn-ea"/>
              </a:endParaRPr>
            </a:p>
          </p:txBody>
        </p:sp>
        <p:sp>
          <p:nvSpPr>
            <p:cNvPr id="6" name="圆角矩形 5"/>
            <p:cNvSpPr/>
            <p:nvPr/>
          </p:nvSpPr>
          <p:spPr>
            <a:xfrm>
              <a:off x="4291612" y="3996843"/>
              <a:ext cx="436747" cy="108866"/>
            </a:xfrm>
            <a:prstGeom prst="roundRect">
              <a:avLst>
                <a:gd name="adj" fmla="val 50000"/>
              </a:avLst>
            </a:prstGeom>
            <a:solidFill>
              <a:srgbClr val="CC0099"/>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Calibri" panose="020F0502020204030204"/>
                <a:ea typeface="+mn-ea"/>
              </a:endParaRPr>
            </a:p>
          </p:txBody>
        </p:sp>
        <p:sp>
          <p:nvSpPr>
            <p:cNvPr id="7" name="椭圆 32"/>
            <p:cNvSpPr>
              <a:spLocks noChangeArrowheads="1"/>
            </p:cNvSpPr>
            <p:nvPr/>
          </p:nvSpPr>
          <p:spPr bwMode="auto">
            <a:xfrm>
              <a:off x="2703440" y="1491630"/>
              <a:ext cx="391920" cy="391920"/>
            </a:xfrm>
            <a:prstGeom prst="ellipse">
              <a:avLst/>
            </a:prstGeom>
            <a:solidFill>
              <a:srgbClr val="FFFFFF"/>
            </a:solidFill>
            <a:ln w="57150" algn="ctr">
              <a:solidFill>
                <a:srgbClr val="BFBFBF"/>
              </a:solidFill>
              <a:round/>
            </a:ln>
          </p:spPr>
          <p:txBody>
            <a:bodyPr lIns="0" tIns="0" rIns="0" bIns="0" anchor="ctr"/>
            <a:lstStyle/>
            <a:p>
              <a:pPr algn="ctr" eaLnBrk="1" hangingPunct="1"/>
              <a:r>
                <a:rPr lang="en-US" altLang="zh-CN" sz="2400" b="1" dirty="0">
                  <a:solidFill>
                    <a:srgbClr val="CC0099"/>
                  </a:solidFill>
                  <a:latin typeface="Agency FB" pitchFamily="34" charset="0"/>
                  <a:ea typeface="微软雅黑" panose="020B0503020204020204" pitchFamily="34" charset="-122"/>
                  <a:cs typeface="Times New Roman" panose="02020603050405020304" pitchFamily="18" charset="0"/>
                </a:rPr>
                <a:t>01</a:t>
              </a:r>
            </a:p>
          </p:txBody>
        </p:sp>
        <p:cxnSp>
          <p:nvCxnSpPr>
            <p:cNvPr id="8" name="直接连接符 33"/>
            <p:cNvCxnSpPr>
              <a:cxnSpLocks noChangeShapeType="1"/>
            </p:cNvCxnSpPr>
            <p:nvPr/>
          </p:nvCxnSpPr>
          <p:spPr bwMode="auto">
            <a:xfrm>
              <a:off x="3152995" y="1737540"/>
              <a:ext cx="522560" cy="219014"/>
            </a:xfrm>
            <a:prstGeom prst="line">
              <a:avLst/>
            </a:prstGeom>
            <a:noFill/>
            <a:ln w="38100" algn="ctr">
              <a:solidFill>
                <a:srgbClr val="BFBFBF"/>
              </a:solidFill>
              <a:round/>
            </a:ln>
            <a:extLst>
              <a:ext uri="{909E8E84-426E-40DD-AFC4-6F175D3DCCD1}">
                <a14:hiddenFill xmlns:a14="http://schemas.microsoft.com/office/drawing/2010/main">
                  <a:noFill/>
                </a14:hiddenFill>
              </a:ext>
            </a:extLst>
          </p:spPr>
        </p:cxnSp>
        <p:sp>
          <p:nvSpPr>
            <p:cNvPr id="9" name="椭圆 34"/>
            <p:cNvSpPr>
              <a:spLocks noChangeArrowheads="1"/>
            </p:cNvSpPr>
            <p:nvPr/>
          </p:nvSpPr>
          <p:spPr bwMode="auto">
            <a:xfrm>
              <a:off x="5918207" y="1491630"/>
              <a:ext cx="391920" cy="391920"/>
            </a:xfrm>
            <a:prstGeom prst="ellipse">
              <a:avLst/>
            </a:prstGeom>
            <a:solidFill>
              <a:srgbClr val="FFFFFF"/>
            </a:solidFill>
            <a:ln w="57150" algn="ctr">
              <a:solidFill>
                <a:srgbClr val="BFBFBF"/>
              </a:solidFill>
              <a:round/>
            </a:ln>
          </p:spPr>
          <p:txBody>
            <a:bodyPr lIns="0" tIns="0" rIns="0" bIns="0" anchor="ctr"/>
            <a:lstStyle/>
            <a:p>
              <a:pPr algn="ctr" eaLnBrk="1" hangingPunct="1"/>
              <a:r>
                <a:rPr lang="en-US" altLang="zh-CN" sz="2000" b="1" dirty="0">
                  <a:solidFill>
                    <a:srgbClr val="CC0099"/>
                  </a:solidFill>
                  <a:latin typeface="Agency FB" pitchFamily="34" charset="0"/>
                  <a:ea typeface="微软雅黑" panose="020B0503020204020204" pitchFamily="34" charset="-122"/>
                  <a:cs typeface="Times New Roman" panose="02020603050405020304" pitchFamily="18" charset="0"/>
                </a:rPr>
                <a:t>02</a:t>
              </a:r>
            </a:p>
          </p:txBody>
        </p:sp>
        <p:cxnSp>
          <p:nvCxnSpPr>
            <p:cNvPr id="10" name="直接连接符 35"/>
            <p:cNvCxnSpPr>
              <a:cxnSpLocks noChangeShapeType="1"/>
            </p:cNvCxnSpPr>
            <p:nvPr/>
          </p:nvCxnSpPr>
          <p:spPr bwMode="auto">
            <a:xfrm rot="8309691">
              <a:off x="5341854" y="1726013"/>
              <a:ext cx="522560" cy="217733"/>
            </a:xfrm>
            <a:prstGeom prst="line">
              <a:avLst/>
            </a:prstGeom>
            <a:noFill/>
            <a:ln w="38100" algn="ctr">
              <a:solidFill>
                <a:srgbClr val="BFBFBF"/>
              </a:solidFill>
              <a:round/>
            </a:ln>
            <a:extLst>
              <a:ext uri="{909E8E84-426E-40DD-AFC4-6F175D3DCCD1}">
                <a14:hiddenFill xmlns:a14="http://schemas.microsoft.com/office/drawing/2010/main">
                  <a:noFill/>
                </a14:hiddenFill>
              </a:ext>
            </a:extLst>
          </p:spPr>
        </p:cxnSp>
        <p:sp>
          <p:nvSpPr>
            <p:cNvPr id="11" name="椭圆 36"/>
            <p:cNvSpPr>
              <a:spLocks noChangeArrowheads="1"/>
            </p:cNvSpPr>
            <p:nvPr/>
          </p:nvSpPr>
          <p:spPr bwMode="auto">
            <a:xfrm>
              <a:off x="3213192" y="3579307"/>
              <a:ext cx="391920" cy="391920"/>
            </a:xfrm>
            <a:prstGeom prst="ellipse">
              <a:avLst/>
            </a:prstGeom>
            <a:solidFill>
              <a:srgbClr val="FFFFFF"/>
            </a:solidFill>
            <a:ln w="57150" algn="ctr">
              <a:solidFill>
                <a:srgbClr val="BFBFBF"/>
              </a:solidFill>
              <a:round/>
            </a:ln>
          </p:spPr>
          <p:txBody>
            <a:bodyPr lIns="0" tIns="0" rIns="0" bIns="0" anchor="ctr"/>
            <a:lstStyle/>
            <a:p>
              <a:pPr algn="ctr" eaLnBrk="1" hangingPunct="1"/>
              <a:r>
                <a:rPr lang="en-US" altLang="zh-CN" sz="2000" b="1" dirty="0">
                  <a:solidFill>
                    <a:srgbClr val="CC0099"/>
                  </a:solidFill>
                  <a:latin typeface="Agency FB" pitchFamily="34" charset="0"/>
                  <a:ea typeface="微软雅黑" panose="020B0503020204020204" pitchFamily="34" charset="-122"/>
                  <a:cs typeface="Times New Roman" panose="02020603050405020304" pitchFamily="18" charset="0"/>
                </a:rPr>
                <a:t>03</a:t>
              </a:r>
            </a:p>
          </p:txBody>
        </p:sp>
        <p:cxnSp>
          <p:nvCxnSpPr>
            <p:cNvPr id="12" name="直接连接符 37"/>
            <p:cNvCxnSpPr>
              <a:cxnSpLocks noChangeShapeType="1"/>
            </p:cNvCxnSpPr>
            <p:nvPr/>
          </p:nvCxnSpPr>
          <p:spPr bwMode="auto">
            <a:xfrm rot="17818244">
              <a:off x="3534669" y="3321869"/>
              <a:ext cx="522560" cy="217733"/>
            </a:xfrm>
            <a:prstGeom prst="line">
              <a:avLst/>
            </a:prstGeom>
            <a:noFill/>
            <a:ln w="38100" algn="ctr">
              <a:solidFill>
                <a:srgbClr val="BFBFBF"/>
              </a:solidFill>
              <a:round/>
            </a:ln>
            <a:extLst>
              <a:ext uri="{909E8E84-426E-40DD-AFC4-6F175D3DCCD1}">
                <a14:hiddenFill xmlns:a14="http://schemas.microsoft.com/office/drawing/2010/main">
                  <a:noFill/>
                </a14:hiddenFill>
              </a:ext>
            </a:extLst>
          </p:spPr>
        </p:cxnSp>
        <p:sp>
          <p:nvSpPr>
            <p:cNvPr id="13" name="椭圆 38"/>
            <p:cNvSpPr>
              <a:spLocks noChangeArrowheads="1"/>
            </p:cNvSpPr>
            <p:nvPr/>
          </p:nvSpPr>
          <p:spPr bwMode="auto">
            <a:xfrm>
              <a:off x="5435351" y="3579307"/>
              <a:ext cx="391920" cy="391920"/>
            </a:xfrm>
            <a:prstGeom prst="ellipse">
              <a:avLst/>
            </a:prstGeom>
            <a:solidFill>
              <a:srgbClr val="FFFFFF"/>
            </a:solidFill>
            <a:ln w="57150" algn="ctr">
              <a:solidFill>
                <a:srgbClr val="BFBFBF"/>
              </a:solidFill>
              <a:round/>
            </a:ln>
          </p:spPr>
          <p:txBody>
            <a:bodyPr lIns="0" tIns="0" rIns="0" bIns="0" anchor="ctr"/>
            <a:lstStyle/>
            <a:p>
              <a:pPr algn="ctr" eaLnBrk="1" hangingPunct="1"/>
              <a:r>
                <a:rPr lang="en-US" altLang="zh-CN" sz="2000" b="1">
                  <a:solidFill>
                    <a:srgbClr val="CC0099"/>
                  </a:solidFill>
                  <a:latin typeface="Agency FB" pitchFamily="34" charset="0"/>
                  <a:ea typeface="微软雅黑" panose="020B0503020204020204" pitchFamily="34" charset="-122"/>
                  <a:cs typeface="Times New Roman" panose="02020603050405020304" pitchFamily="18" charset="0"/>
                </a:rPr>
                <a:t>04</a:t>
              </a:r>
            </a:p>
          </p:txBody>
        </p:sp>
        <p:cxnSp>
          <p:nvCxnSpPr>
            <p:cNvPr id="14" name="直接连接符 39"/>
            <p:cNvCxnSpPr>
              <a:cxnSpLocks noChangeShapeType="1"/>
            </p:cNvCxnSpPr>
            <p:nvPr/>
          </p:nvCxnSpPr>
          <p:spPr bwMode="auto">
            <a:xfrm flipH="1" flipV="1">
              <a:off x="5006289" y="3246304"/>
              <a:ext cx="449555" cy="353496"/>
            </a:xfrm>
            <a:prstGeom prst="line">
              <a:avLst/>
            </a:prstGeom>
            <a:noFill/>
            <a:ln w="38100" algn="ctr">
              <a:solidFill>
                <a:srgbClr val="BFBFBF"/>
              </a:solidFill>
              <a:round/>
            </a:ln>
            <a:extLst>
              <a:ext uri="{909E8E84-426E-40DD-AFC4-6F175D3DCCD1}">
                <a14:hiddenFill xmlns:a14="http://schemas.microsoft.com/office/drawing/2010/main">
                  <a:noFill/>
                </a14:hiddenFill>
              </a:ext>
            </a:extLst>
          </p:spPr>
        </p:cxnSp>
      </p:grpSp>
      <p:grpSp>
        <p:nvGrpSpPr>
          <p:cNvPr id="17" name="组合 16"/>
          <p:cNvGrpSpPr/>
          <p:nvPr/>
        </p:nvGrpSpPr>
        <p:grpSpPr>
          <a:xfrm>
            <a:off x="669170" y="1997539"/>
            <a:ext cx="2720770" cy="1142692"/>
            <a:chOff x="669170" y="1997539"/>
            <a:chExt cx="2720770" cy="1142692"/>
          </a:xfrm>
        </p:grpSpPr>
        <p:sp>
          <p:nvSpPr>
            <p:cNvPr id="15" name="TextBox 14"/>
            <p:cNvSpPr txBox="1"/>
            <p:nvPr/>
          </p:nvSpPr>
          <p:spPr>
            <a:xfrm flipH="1">
              <a:off x="2408860" y="1997539"/>
              <a:ext cx="981080" cy="313932"/>
            </a:xfrm>
            <a:prstGeom prst="rect">
              <a:avLst/>
            </a:prstGeom>
            <a:noFill/>
          </p:spPr>
          <p:txBody>
            <a:bodyPr>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eaLnBrk="1" fontAlgn="auto" hangingPunct="1">
                <a:spcBef>
                  <a:spcPts val="0"/>
                </a:spcBef>
                <a:spcAft>
                  <a:spcPts val="0"/>
                </a:spcAft>
                <a:defRPr/>
              </a:pPr>
              <a:r>
                <a:rPr lang="en-US" altLang="zh-CN" sz="1800" dirty="0">
                  <a:solidFill>
                    <a:srgbClr val="CC0099"/>
                  </a:solidFill>
                  <a:cs typeface="Times New Roman" panose="02020603050405020304" pitchFamily="18" charset="0"/>
                </a:rPr>
                <a:t>TEXT</a:t>
              </a:r>
              <a:endParaRPr lang="zh-CN" altLang="en-US" sz="1800" dirty="0">
                <a:solidFill>
                  <a:srgbClr val="CC0099"/>
                </a:solidFill>
                <a:cs typeface="Times New Roman" panose="02020603050405020304" pitchFamily="18" charset="0"/>
              </a:endParaRPr>
            </a:p>
          </p:txBody>
        </p:sp>
        <p:sp>
          <p:nvSpPr>
            <p:cNvPr id="23" name="TextBox 22"/>
            <p:cNvSpPr txBox="1"/>
            <p:nvPr/>
          </p:nvSpPr>
          <p:spPr>
            <a:xfrm>
              <a:off x="669170" y="2216901"/>
              <a:ext cx="2483825"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grpSp>
      <p:grpSp>
        <p:nvGrpSpPr>
          <p:cNvPr id="18" name="组合 17"/>
          <p:cNvGrpSpPr/>
          <p:nvPr/>
        </p:nvGrpSpPr>
        <p:grpSpPr>
          <a:xfrm>
            <a:off x="5603134" y="1997539"/>
            <a:ext cx="2842900" cy="1142692"/>
            <a:chOff x="5603134" y="1997539"/>
            <a:chExt cx="2842900" cy="1142692"/>
          </a:xfrm>
        </p:grpSpPr>
        <p:sp>
          <p:nvSpPr>
            <p:cNvPr id="24" name="TextBox 23"/>
            <p:cNvSpPr txBox="1"/>
            <p:nvPr/>
          </p:nvSpPr>
          <p:spPr>
            <a:xfrm flipH="1">
              <a:off x="5603134" y="1997539"/>
              <a:ext cx="981080" cy="313932"/>
            </a:xfrm>
            <a:prstGeom prst="rect">
              <a:avLst/>
            </a:prstGeom>
            <a:noFill/>
          </p:spPr>
          <p:txBody>
            <a:bodyPr>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eaLnBrk="1" fontAlgn="auto" hangingPunct="1">
                <a:spcBef>
                  <a:spcPts val="0"/>
                </a:spcBef>
                <a:spcAft>
                  <a:spcPts val="0"/>
                </a:spcAft>
                <a:defRPr/>
              </a:pPr>
              <a:r>
                <a:rPr lang="en-US" altLang="zh-CN" sz="1800" dirty="0">
                  <a:solidFill>
                    <a:srgbClr val="CC0099"/>
                  </a:solidFill>
                  <a:cs typeface="Times New Roman" panose="02020603050405020304" pitchFamily="18" charset="0"/>
                </a:rPr>
                <a:t>TEXT</a:t>
              </a:r>
              <a:endParaRPr lang="zh-CN" altLang="en-US" sz="1800" dirty="0">
                <a:solidFill>
                  <a:srgbClr val="CC0099"/>
                </a:solidFill>
                <a:cs typeface="Times New Roman" panose="02020603050405020304" pitchFamily="18" charset="0"/>
              </a:endParaRPr>
            </a:p>
          </p:txBody>
        </p:sp>
        <p:sp>
          <p:nvSpPr>
            <p:cNvPr id="25" name="TextBox 24"/>
            <p:cNvSpPr txBox="1"/>
            <p:nvPr/>
          </p:nvSpPr>
          <p:spPr>
            <a:xfrm>
              <a:off x="5870951" y="2216901"/>
              <a:ext cx="2575083"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grpSp>
      <p:grpSp>
        <p:nvGrpSpPr>
          <p:cNvPr id="19" name="组合 18"/>
          <p:cNvGrpSpPr/>
          <p:nvPr/>
        </p:nvGrpSpPr>
        <p:grpSpPr>
          <a:xfrm>
            <a:off x="669170" y="3663301"/>
            <a:ext cx="2720770" cy="1209105"/>
            <a:chOff x="669170" y="3663301"/>
            <a:chExt cx="2720770" cy="1209105"/>
          </a:xfrm>
        </p:grpSpPr>
        <p:sp>
          <p:nvSpPr>
            <p:cNvPr id="26" name="TextBox 25"/>
            <p:cNvSpPr txBox="1"/>
            <p:nvPr/>
          </p:nvSpPr>
          <p:spPr>
            <a:xfrm flipH="1">
              <a:off x="2408860" y="3663301"/>
              <a:ext cx="981080" cy="313932"/>
            </a:xfrm>
            <a:prstGeom prst="rect">
              <a:avLst/>
            </a:prstGeom>
            <a:noFill/>
          </p:spPr>
          <p:txBody>
            <a:bodyPr>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eaLnBrk="1" fontAlgn="auto" hangingPunct="1">
                <a:spcBef>
                  <a:spcPts val="0"/>
                </a:spcBef>
                <a:spcAft>
                  <a:spcPts val="0"/>
                </a:spcAft>
                <a:defRPr/>
              </a:pPr>
              <a:r>
                <a:rPr lang="en-US" altLang="zh-CN" sz="1800" dirty="0">
                  <a:solidFill>
                    <a:srgbClr val="CC0099"/>
                  </a:solidFill>
                  <a:cs typeface="Times New Roman" panose="02020603050405020304" pitchFamily="18" charset="0"/>
                </a:rPr>
                <a:t>TEXT</a:t>
              </a:r>
              <a:endParaRPr lang="zh-CN" altLang="en-US" sz="1800" dirty="0">
                <a:solidFill>
                  <a:srgbClr val="CC0099"/>
                </a:solidFill>
                <a:cs typeface="Times New Roman" panose="02020603050405020304" pitchFamily="18" charset="0"/>
              </a:endParaRPr>
            </a:p>
          </p:txBody>
        </p:sp>
        <p:sp>
          <p:nvSpPr>
            <p:cNvPr id="27" name="TextBox 26"/>
            <p:cNvSpPr txBox="1"/>
            <p:nvPr/>
          </p:nvSpPr>
          <p:spPr>
            <a:xfrm>
              <a:off x="669170" y="3949076"/>
              <a:ext cx="2483825"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grpSp>
      <p:grpSp>
        <p:nvGrpSpPr>
          <p:cNvPr id="20" name="组合 19"/>
          <p:cNvGrpSpPr/>
          <p:nvPr/>
        </p:nvGrpSpPr>
        <p:grpSpPr>
          <a:xfrm>
            <a:off x="5617532" y="3665111"/>
            <a:ext cx="2842900" cy="1142692"/>
            <a:chOff x="5617532" y="3665111"/>
            <a:chExt cx="2842900" cy="1142692"/>
          </a:xfrm>
        </p:grpSpPr>
        <p:sp>
          <p:nvSpPr>
            <p:cNvPr id="28" name="TextBox 27"/>
            <p:cNvSpPr txBox="1"/>
            <p:nvPr/>
          </p:nvSpPr>
          <p:spPr>
            <a:xfrm flipH="1">
              <a:off x="5617532" y="3665111"/>
              <a:ext cx="981080" cy="313932"/>
            </a:xfrm>
            <a:prstGeom prst="rect">
              <a:avLst/>
            </a:prstGeom>
            <a:noFill/>
          </p:spPr>
          <p:txBody>
            <a:bodyPr>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eaLnBrk="1" fontAlgn="auto" hangingPunct="1">
                <a:spcBef>
                  <a:spcPts val="0"/>
                </a:spcBef>
                <a:spcAft>
                  <a:spcPts val="0"/>
                </a:spcAft>
                <a:defRPr/>
              </a:pPr>
              <a:r>
                <a:rPr lang="en-US" altLang="zh-CN" sz="1800" dirty="0">
                  <a:solidFill>
                    <a:srgbClr val="CC0099"/>
                  </a:solidFill>
                  <a:cs typeface="Times New Roman" panose="02020603050405020304" pitchFamily="18" charset="0"/>
                </a:rPr>
                <a:t>TEXT</a:t>
              </a:r>
              <a:endParaRPr lang="zh-CN" altLang="en-US" sz="1800" dirty="0">
                <a:solidFill>
                  <a:srgbClr val="CC0099"/>
                </a:solidFill>
                <a:cs typeface="Times New Roman" panose="02020603050405020304" pitchFamily="18" charset="0"/>
              </a:endParaRPr>
            </a:p>
          </p:txBody>
        </p:sp>
        <p:sp>
          <p:nvSpPr>
            <p:cNvPr id="29" name="TextBox 28"/>
            <p:cNvSpPr txBox="1"/>
            <p:nvPr/>
          </p:nvSpPr>
          <p:spPr>
            <a:xfrm>
              <a:off x="5885349" y="3884473"/>
              <a:ext cx="2575083"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grpSp>
      <p:pic>
        <p:nvPicPr>
          <p:cNvPr id="30"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527" t="19203" r="11894" b="58771"/>
          <a:stretch>
            <a:fillRect/>
          </a:stretch>
        </p:blipFill>
        <p:spPr bwMode="auto">
          <a:xfrm flipV="1">
            <a:off x="-97639" y="-1457"/>
            <a:ext cx="6206140" cy="639957"/>
          </a:xfrm>
          <a:prstGeom prst="triangle">
            <a:avLst/>
          </a:prstGeom>
          <a:noFill/>
          <a:extLst>
            <a:ext uri="{909E8E84-426E-40DD-AFC4-6F175D3DCCD1}">
              <a14:hiddenFill xmlns:a14="http://schemas.microsoft.com/office/drawing/2010/main">
                <a:solidFill>
                  <a:srgbClr val="FFFFFF"/>
                </a:solidFill>
              </a14:hiddenFill>
            </a:ext>
          </a:extLst>
        </p:spPr>
      </p:pic>
      <p:sp>
        <p:nvSpPr>
          <p:cNvPr id="36" name="TextBox 35"/>
          <p:cNvSpPr txBox="1"/>
          <p:nvPr/>
        </p:nvSpPr>
        <p:spPr>
          <a:xfrm>
            <a:off x="3193008" y="601148"/>
            <a:ext cx="259648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en-US" altLang="zh-CN" dirty="0"/>
              <a:t>ADD YOUR TEXT</a:t>
            </a:r>
            <a:endParaRPr lang="zh-CN" alt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1000"/>
                                        <p:tgtEl>
                                          <p:spTgt spid="30"/>
                                        </p:tgtEl>
                                      </p:cBhvr>
                                    </p:animEffect>
                                    <p:anim calcmode="lin" valueType="num">
                                      <p:cBhvr>
                                        <p:cTn id="8" dur="1000" fill="hold"/>
                                        <p:tgtEl>
                                          <p:spTgt spid="30"/>
                                        </p:tgtEl>
                                        <p:attrNameLst>
                                          <p:attrName>ppt_x</p:attrName>
                                        </p:attrNameLst>
                                      </p:cBhvr>
                                      <p:tavLst>
                                        <p:tav tm="0">
                                          <p:val>
                                            <p:strVal val="#ppt_x"/>
                                          </p:val>
                                        </p:tav>
                                        <p:tav tm="100000">
                                          <p:val>
                                            <p:strVal val="#ppt_x"/>
                                          </p:val>
                                        </p:tav>
                                      </p:tavLst>
                                    </p:anim>
                                    <p:anim calcmode="lin" valueType="num">
                                      <p:cBhvr>
                                        <p:cTn id="9" dur="1000" fill="hold"/>
                                        <p:tgtEl>
                                          <p:spTgt spid="30"/>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1000"/>
                                        <p:tgtEl>
                                          <p:spTgt spid="32"/>
                                        </p:tgtEl>
                                      </p:cBhvr>
                                    </p:animEffect>
                                    <p:anim calcmode="lin" valueType="num">
                                      <p:cBhvr>
                                        <p:cTn id="13" dur="1000" fill="hold"/>
                                        <p:tgtEl>
                                          <p:spTgt spid="32"/>
                                        </p:tgtEl>
                                        <p:attrNameLst>
                                          <p:attrName>ppt_x</p:attrName>
                                        </p:attrNameLst>
                                      </p:cBhvr>
                                      <p:tavLst>
                                        <p:tav tm="0">
                                          <p:val>
                                            <p:strVal val="#ppt_x"/>
                                          </p:val>
                                        </p:tav>
                                        <p:tav tm="100000">
                                          <p:val>
                                            <p:strVal val="#ppt_x"/>
                                          </p:val>
                                        </p:tav>
                                      </p:tavLst>
                                    </p:anim>
                                    <p:anim calcmode="lin" valueType="num">
                                      <p:cBhvr>
                                        <p:cTn id="14" dur="1000" fill="hold"/>
                                        <p:tgtEl>
                                          <p:spTgt spid="32"/>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750"/>
                                        <p:tgtEl>
                                          <p:spTgt spid="36"/>
                                        </p:tgtEl>
                                      </p:cBhvr>
                                    </p:animEffect>
                                    <p:anim calcmode="lin" valueType="num">
                                      <p:cBhvr>
                                        <p:cTn id="19" dur="750" fill="hold"/>
                                        <p:tgtEl>
                                          <p:spTgt spid="36"/>
                                        </p:tgtEl>
                                        <p:attrNameLst>
                                          <p:attrName>ppt_x</p:attrName>
                                        </p:attrNameLst>
                                      </p:cBhvr>
                                      <p:tavLst>
                                        <p:tav tm="0">
                                          <p:val>
                                            <p:strVal val="#ppt_x"/>
                                          </p:val>
                                        </p:tav>
                                        <p:tav tm="100000">
                                          <p:val>
                                            <p:strVal val="#ppt_x"/>
                                          </p:val>
                                        </p:tav>
                                      </p:tavLst>
                                    </p:anim>
                                    <p:anim calcmode="lin" valueType="num">
                                      <p:cBhvr>
                                        <p:cTn id="20" dur="750" fill="hold"/>
                                        <p:tgtEl>
                                          <p:spTgt spid="36"/>
                                        </p:tgtEl>
                                        <p:attrNameLst>
                                          <p:attrName>ppt_y</p:attrName>
                                        </p:attrNameLst>
                                      </p:cBhvr>
                                      <p:tavLst>
                                        <p:tav tm="0">
                                          <p:val>
                                            <p:strVal val="#ppt_y+.1"/>
                                          </p:val>
                                        </p:tav>
                                        <p:tav tm="100000">
                                          <p:val>
                                            <p:strVal val="#ppt_y"/>
                                          </p:val>
                                        </p:tav>
                                      </p:tavLst>
                                    </p:anim>
                                  </p:childTnLst>
                                </p:cTn>
                              </p:par>
                            </p:childTnLst>
                          </p:cTn>
                        </p:par>
                        <p:par>
                          <p:cTn id="21" fill="hold">
                            <p:stCondLst>
                              <p:cond delay="2000"/>
                            </p:stCondLst>
                            <p:childTnLst>
                              <p:par>
                                <p:cTn id="22" presetID="53" presetClass="entr" presetSubtype="16" fill="hold" nodeType="afterEffect">
                                  <p:stCondLst>
                                    <p:cond delay="0"/>
                                  </p:stCondLst>
                                  <p:childTnLst>
                                    <p:set>
                                      <p:cBhvr>
                                        <p:cTn id="23" dur="1" fill="hold">
                                          <p:stCondLst>
                                            <p:cond delay="0"/>
                                          </p:stCondLst>
                                        </p:cTn>
                                        <p:tgtEl>
                                          <p:spTgt spid="16"/>
                                        </p:tgtEl>
                                        <p:attrNameLst>
                                          <p:attrName>style.visibility</p:attrName>
                                        </p:attrNameLst>
                                      </p:cBhvr>
                                      <p:to>
                                        <p:strVal val="visible"/>
                                      </p:to>
                                    </p:set>
                                    <p:anim calcmode="lin" valueType="num">
                                      <p:cBhvr>
                                        <p:cTn id="24" dur="500" fill="hold"/>
                                        <p:tgtEl>
                                          <p:spTgt spid="16"/>
                                        </p:tgtEl>
                                        <p:attrNameLst>
                                          <p:attrName>ppt_w</p:attrName>
                                        </p:attrNameLst>
                                      </p:cBhvr>
                                      <p:tavLst>
                                        <p:tav tm="0">
                                          <p:val>
                                            <p:fltVal val="0"/>
                                          </p:val>
                                        </p:tav>
                                        <p:tav tm="100000">
                                          <p:val>
                                            <p:strVal val="#ppt_w"/>
                                          </p:val>
                                        </p:tav>
                                      </p:tavLst>
                                    </p:anim>
                                    <p:anim calcmode="lin" valueType="num">
                                      <p:cBhvr>
                                        <p:cTn id="25" dur="500" fill="hold"/>
                                        <p:tgtEl>
                                          <p:spTgt spid="16"/>
                                        </p:tgtEl>
                                        <p:attrNameLst>
                                          <p:attrName>ppt_h</p:attrName>
                                        </p:attrNameLst>
                                      </p:cBhvr>
                                      <p:tavLst>
                                        <p:tav tm="0">
                                          <p:val>
                                            <p:fltVal val="0"/>
                                          </p:val>
                                        </p:tav>
                                        <p:tav tm="100000">
                                          <p:val>
                                            <p:strVal val="#ppt_h"/>
                                          </p:val>
                                        </p:tav>
                                      </p:tavLst>
                                    </p:anim>
                                    <p:animEffect transition="in" filter="fade">
                                      <p:cBhvr>
                                        <p:cTn id="26" dur="500"/>
                                        <p:tgtEl>
                                          <p:spTgt spid="16"/>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500"/>
                                        <p:tgtEl>
                                          <p:spTgt spid="18"/>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500"/>
                                        <p:tgtEl>
                                          <p:spTgt spid="19"/>
                                        </p:tgtEl>
                                      </p:cBhvr>
                                    </p:animEffect>
                                  </p:childTnLst>
                                </p:cTn>
                              </p:par>
                            </p:childTnLst>
                          </p:cTn>
                        </p:par>
                        <p:par>
                          <p:cTn id="39" fill="hold">
                            <p:stCondLst>
                              <p:cond delay="4000"/>
                            </p:stCondLst>
                            <p:childTnLst>
                              <p:par>
                                <p:cTn id="40" presetID="10" presetClass="entr" presetSubtype="0"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I:\PPT素材\图片素材\百张low poly 高清背景图\62.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5918" t="39995" r="11894" b="43781"/>
          <a:stretch>
            <a:fillRect/>
          </a:stretch>
        </p:blipFill>
        <p:spPr bwMode="auto">
          <a:xfrm flipV="1">
            <a:off x="0" y="-2"/>
            <a:ext cx="4176463" cy="1714497"/>
          </a:xfrm>
          <a:prstGeom prst="rtTriangle">
            <a:avLst/>
          </a:prstGeom>
          <a:noFill/>
          <a:extLst>
            <a:ext uri="{909E8E84-426E-40DD-AFC4-6F175D3DCCD1}">
              <a14:hiddenFill xmlns:a14="http://schemas.microsoft.com/office/drawing/2010/main">
                <a:solidFill>
                  <a:srgbClr val="FFFFFF"/>
                </a:solidFill>
              </a14:hiddenFill>
            </a:ext>
          </a:extLst>
        </p:spPr>
      </p:pic>
      <p:pic>
        <p:nvPicPr>
          <p:cNvPr id="3" name="Picture 2" descr="I:\PPT素材\图片素材\百张low poly 高清背景图\62.jpg"/>
          <p:cNvPicPr>
            <a:picLocks noChangeAspect="1" noChangeArrowheads="1"/>
          </p:cNvPicPr>
          <p:nvPr/>
        </p:nvPicPr>
        <p:blipFill rotWithShape="1">
          <a:blip r:embed="rId3">
            <a:extLst>
              <a:ext uri="{28A0092B-C50C-407E-A947-70E740481C1C}">
                <a14:useLocalDpi xmlns:a14="http://schemas.microsoft.com/office/drawing/2010/main" val="0"/>
              </a:ext>
            </a:extLst>
          </a:blip>
          <a:srcRect l="38613" t="6555" r="11894" b="53385"/>
          <a:stretch>
            <a:fillRect/>
          </a:stretch>
        </p:blipFill>
        <p:spPr bwMode="auto">
          <a:xfrm rot="10800000" flipV="1">
            <a:off x="2589521" y="2187262"/>
            <a:ext cx="6558702" cy="2956237"/>
          </a:xfrm>
          <a:prstGeom prst="rtTriangle">
            <a:avLst/>
          </a:prstGeom>
          <a:noFill/>
          <a:extLst>
            <a:ext uri="{909E8E84-426E-40DD-AFC4-6F175D3DCCD1}">
              <a14:hiddenFill xmlns:a14="http://schemas.microsoft.com/office/drawing/2010/main">
                <a:solidFill>
                  <a:srgbClr val="FFFFFF"/>
                </a:solidFill>
              </a14:hiddenFill>
            </a:ext>
          </a:extLst>
        </p:spPr>
      </p:pic>
      <p:sp>
        <p:nvSpPr>
          <p:cNvPr id="8" name="任意多边形 7"/>
          <p:cNvSpPr/>
          <p:nvPr/>
        </p:nvSpPr>
        <p:spPr>
          <a:xfrm rot="21027725">
            <a:off x="2375858" y="3712598"/>
            <a:ext cx="990707" cy="768010"/>
          </a:xfrm>
          <a:custGeom>
            <a:avLst/>
            <a:gdLst>
              <a:gd name="connsiteX0" fmla="*/ 0 w 1420368"/>
              <a:gd name="connsiteY0" fmla="*/ 0 h 1101090"/>
              <a:gd name="connsiteX1" fmla="*/ 1420368 w 1420368"/>
              <a:gd name="connsiteY1" fmla="*/ 0 h 1101090"/>
              <a:gd name="connsiteX2" fmla="*/ 1420368 w 1420368"/>
              <a:gd name="connsiteY2" fmla="*/ 1101090 h 1101090"/>
              <a:gd name="connsiteX3" fmla="*/ 0 w 1420368"/>
              <a:gd name="connsiteY3" fmla="*/ 1101090 h 1101090"/>
              <a:gd name="connsiteX4" fmla="*/ 0 w 1420368"/>
              <a:gd name="connsiteY4" fmla="*/ 0 h 1101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368" h="1101090">
                <a:moveTo>
                  <a:pt x="0" y="0"/>
                </a:moveTo>
                <a:lnTo>
                  <a:pt x="1420368" y="0"/>
                </a:lnTo>
                <a:lnTo>
                  <a:pt x="1420368" y="1101090"/>
                </a:lnTo>
                <a:lnTo>
                  <a:pt x="0" y="110109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3984" tIns="0" rIns="0" bIns="0" numCol="1" spcCol="1270" anchor="t" anchorCtr="0">
            <a:noAutofit/>
          </a:bodyPr>
          <a:lstStyle/>
          <a:p>
            <a:pPr lvl="0" algn="l" defTabSz="2000250">
              <a:lnSpc>
                <a:spcPct val="90000"/>
              </a:lnSpc>
              <a:spcBef>
                <a:spcPct val="0"/>
              </a:spcBef>
              <a:spcAft>
                <a:spcPct val="35000"/>
              </a:spcAft>
            </a:pPr>
            <a:endParaRPr lang="zh-CN" altLang="en-US" sz="4500" kern="1200"/>
          </a:p>
        </p:txBody>
      </p:sp>
      <p:sp>
        <p:nvSpPr>
          <p:cNvPr id="10" name="任意多边形 9"/>
          <p:cNvSpPr/>
          <p:nvPr/>
        </p:nvSpPr>
        <p:spPr>
          <a:xfrm rot="21027725">
            <a:off x="3250750" y="2745230"/>
            <a:ext cx="1020470" cy="1445666"/>
          </a:xfrm>
          <a:custGeom>
            <a:avLst/>
            <a:gdLst>
              <a:gd name="connsiteX0" fmla="*/ 0 w 1463040"/>
              <a:gd name="connsiteY0" fmla="*/ 0 h 2072640"/>
              <a:gd name="connsiteX1" fmla="*/ 1463040 w 1463040"/>
              <a:gd name="connsiteY1" fmla="*/ 0 h 2072640"/>
              <a:gd name="connsiteX2" fmla="*/ 1463040 w 1463040"/>
              <a:gd name="connsiteY2" fmla="*/ 2072640 h 2072640"/>
              <a:gd name="connsiteX3" fmla="*/ 0 w 1463040"/>
              <a:gd name="connsiteY3" fmla="*/ 2072640 h 2072640"/>
              <a:gd name="connsiteX4" fmla="*/ 0 w 1463040"/>
              <a:gd name="connsiteY4" fmla="*/ 0 h 2072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040" h="2072640">
                <a:moveTo>
                  <a:pt x="0" y="0"/>
                </a:moveTo>
                <a:lnTo>
                  <a:pt x="1463040" y="0"/>
                </a:lnTo>
                <a:lnTo>
                  <a:pt x="1463040" y="2072640"/>
                </a:lnTo>
                <a:lnTo>
                  <a:pt x="0" y="20726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1817" tIns="0" rIns="0" bIns="0" numCol="1" spcCol="1270" anchor="t" anchorCtr="0">
            <a:noAutofit/>
          </a:bodyPr>
          <a:lstStyle/>
          <a:p>
            <a:pPr lvl="0" algn="l" defTabSz="1955800">
              <a:lnSpc>
                <a:spcPct val="90000"/>
              </a:lnSpc>
              <a:spcBef>
                <a:spcPct val="0"/>
              </a:spcBef>
              <a:spcAft>
                <a:spcPct val="35000"/>
              </a:spcAft>
            </a:pPr>
            <a:endParaRPr lang="zh-CN" altLang="en-US" sz="4400" kern="1200"/>
          </a:p>
        </p:txBody>
      </p:sp>
      <p:grpSp>
        <p:nvGrpSpPr>
          <p:cNvPr id="15" name="组合 14"/>
          <p:cNvGrpSpPr/>
          <p:nvPr/>
        </p:nvGrpSpPr>
        <p:grpSpPr>
          <a:xfrm>
            <a:off x="1642948" y="1264220"/>
            <a:ext cx="5121840" cy="3229724"/>
            <a:chOff x="1970440" y="1394010"/>
            <a:chExt cx="4525447" cy="2853651"/>
          </a:xfrm>
        </p:grpSpPr>
        <p:sp>
          <p:nvSpPr>
            <p:cNvPr id="6" name="形状 5"/>
            <p:cNvSpPr/>
            <p:nvPr/>
          </p:nvSpPr>
          <p:spPr>
            <a:xfrm rot="21237325">
              <a:off x="1970440" y="1394010"/>
              <a:ext cx="4525447" cy="2853651"/>
            </a:xfrm>
            <a:prstGeom prst="swooshArrow">
              <a:avLst>
                <a:gd name="adj1" fmla="val 25000"/>
                <a:gd name="adj2" fmla="val 25000"/>
              </a:avLst>
            </a:prstGeom>
            <a:solidFill>
              <a:schemeClr val="accent4">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7" name="椭圆 6"/>
            <p:cNvSpPr/>
            <p:nvPr/>
          </p:nvSpPr>
          <p:spPr>
            <a:xfrm rot="21027725">
              <a:off x="2922892" y="3222289"/>
              <a:ext cx="110551" cy="110551"/>
            </a:xfrm>
            <a:prstGeom prst="ellipse">
              <a:avLst/>
            </a:prstGeom>
            <a:solidFill>
              <a:srgbClr val="80008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zh-CN" altLang="en-US"/>
            </a:p>
          </p:txBody>
        </p:sp>
        <p:sp>
          <p:nvSpPr>
            <p:cNvPr id="9" name="椭圆 8"/>
            <p:cNvSpPr/>
            <p:nvPr/>
          </p:nvSpPr>
          <p:spPr>
            <a:xfrm rot="21027725">
              <a:off x="4018147" y="2408958"/>
              <a:ext cx="199842" cy="199842"/>
            </a:xfrm>
            <a:prstGeom prst="ellipse">
              <a:avLst/>
            </a:prstGeom>
            <a:solidFill>
              <a:srgbClr val="80008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zh-CN" altLang="en-US"/>
            </a:p>
          </p:txBody>
        </p:sp>
        <p:sp>
          <p:nvSpPr>
            <p:cNvPr id="11" name="椭圆 10"/>
            <p:cNvSpPr/>
            <p:nvPr/>
          </p:nvSpPr>
          <p:spPr>
            <a:xfrm rot="21027725">
              <a:off x="5356275" y="1853738"/>
              <a:ext cx="276377" cy="276377"/>
            </a:xfrm>
            <a:prstGeom prst="ellipse">
              <a:avLst/>
            </a:prstGeom>
            <a:solidFill>
              <a:srgbClr val="80008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zh-CN" altLang="en-US"/>
            </a:p>
          </p:txBody>
        </p:sp>
      </p:grpSp>
      <p:grpSp>
        <p:nvGrpSpPr>
          <p:cNvPr id="12" name="组合 11"/>
          <p:cNvGrpSpPr/>
          <p:nvPr/>
        </p:nvGrpSpPr>
        <p:grpSpPr>
          <a:xfrm>
            <a:off x="3764906" y="634195"/>
            <a:ext cx="1751366" cy="987065"/>
            <a:chOff x="3764906" y="634195"/>
            <a:chExt cx="1751366" cy="987065"/>
          </a:xfrm>
        </p:grpSpPr>
        <p:sp>
          <p:nvSpPr>
            <p:cNvPr id="13" name="TextBox 12"/>
            <p:cNvSpPr txBox="1"/>
            <p:nvPr/>
          </p:nvSpPr>
          <p:spPr>
            <a:xfrm>
              <a:off x="4169688" y="634195"/>
              <a:ext cx="1346584" cy="369332"/>
            </a:xfrm>
            <a:prstGeom prst="rect">
              <a:avLst/>
            </a:prstGeom>
            <a:solidFill>
              <a:srgbClr val="800080"/>
            </a:solidFill>
          </p:spPr>
          <p:txBody>
            <a:bodyPr wrap="square" rtlCol="0">
              <a:spAutoFit/>
            </a:bodyPr>
            <a:lstStyle/>
            <a:p>
              <a:pPr algn="r"/>
              <a:r>
                <a:rPr lang="en-US" altLang="zh-CN" b="1" dirty="0">
                  <a:solidFill>
                    <a:schemeClr val="bg1"/>
                  </a:solidFill>
                </a:rPr>
                <a:t>TEXT  HERE</a:t>
              </a:r>
              <a:endParaRPr lang="zh-CN" altLang="en-US" b="1" dirty="0">
                <a:solidFill>
                  <a:schemeClr val="bg1"/>
                </a:solidFill>
              </a:endParaRPr>
            </a:p>
          </p:txBody>
        </p:sp>
        <p:sp>
          <p:nvSpPr>
            <p:cNvPr id="14" name="TextBox 13"/>
            <p:cNvSpPr txBox="1"/>
            <p:nvPr/>
          </p:nvSpPr>
          <p:spPr>
            <a:xfrm>
              <a:off x="3764906" y="1003527"/>
              <a:ext cx="1751366" cy="617733"/>
            </a:xfrm>
            <a:prstGeom prst="rect">
              <a:avLst/>
            </a:prstGeom>
            <a:noFill/>
          </p:spPr>
          <p:txBody>
            <a:bodyPr wrap="square" rtlCol="0">
              <a:spAutoFit/>
            </a:bodyPr>
            <a:lstStyle/>
            <a:p>
              <a:pPr algn="r">
                <a:lnSpc>
                  <a:spcPct val="150000"/>
                </a:lnSpc>
              </a:pPr>
              <a:r>
                <a:rPr lang="en-US" altLang="zh-CN" sz="1200" dirty="0">
                  <a:solidFill>
                    <a:schemeClr val="tx1">
                      <a:lumMod val="75000"/>
                      <a:lumOff val="25000"/>
                    </a:schemeClr>
                  </a:solidFill>
                </a:rPr>
                <a:t>You can click here to enter you text. </a:t>
              </a:r>
              <a:endParaRPr lang="zh-CN" altLang="en-US" sz="1200" dirty="0">
                <a:solidFill>
                  <a:schemeClr val="tx1">
                    <a:lumMod val="75000"/>
                    <a:lumOff val="25000"/>
                  </a:schemeClr>
                </a:solidFill>
              </a:endParaRPr>
            </a:p>
          </p:txBody>
        </p:sp>
      </p:grpSp>
      <p:grpSp>
        <p:nvGrpSpPr>
          <p:cNvPr id="5" name="组合 4"/>
          <p:cNvGrpSpPr/>
          <p:nvPr/>
        </p:nvGrpSpPr>
        <p:grpSpPr>
          <a:xfrm>
            <a:off x="2181584" y="1345163"/>
            <a:ext cx="1751366" cy="987065"/>
            <a:chOff x="2181584" y="1345163"/>
            <a:chExt cx="1751366" cy="987065"/>
          </a:xfrm>
        </p:grpSpPr>
        <p:sp>
          <p:nvSpPr>
            <p:cNvPr id="16" name="TextBox 15"/>
            <p:cNvSpPr txBox="1"/>
            <p:nvPr/>
          </p:nvSpPr>
          <p:spPr>
            <a:xfrm>
              <a:off x="2586366" y="1345163"/>
              <a:ext cx="1346584" cy="369332"/>
            </a:xfrm>
            <a:prstGeom prst="rect">
              <a:avLst/>
            </a:prstGeom>
            <a:solidFill>
              <a:srgbClr val="800080"/>
            </a:solidFill>
          </p:spPr>
          <p:txBody>
            <a:bodyPr wrap="square" rtlCol="0">
              <a:spAutoFit/>
            </a:bodyPr>
            <a:lstStyle/>
            <a:p>
              <a:pPr algn="r"/>
              <a:r>
                <a:rPr lang="en-US" altLang="zh-CN" b="1" dirty="0">
                  <a:solidFill>
                    <a:schemeClr val="bg1"/>
                  </a:solidFill>
                </a:rPr>
                <a:t>TEXT  HERE</a:t>
              </a:r>
              <a:endParaRPr lang="zh-CN" altLang="en-US" b="1" dirty="0">
                <a:solidFill>
                  <a:schemeClr val="bg1"/>
                </a:solidFill>
              </a:endParaRPr>
            </a:p>
          </p:txBody>
        </p:sp>
        <p:sp>
          <p:nvSpPr>
            <p:cNvPr id="17" name="TextBox 16"/>
            <p:cNvSpPr txBox="1"/>
            <p:nvPr/>
          </p:nvSpPr>
          <p:spPr>
            <a:xfrm>
              <a:off x="2181584" y="1714495"/>
              <a:ext cx="1751366" cy="617733"/>
            </a:xfrm>
            <a:prstGeom prst="rect">
              <a:avLst/>
            </a:prstGeom>
            <a:noFill/>
          </p:spPr>
          <p:txBody>
            <a:bodyPr wrap="square" rtlCol="0">
              <a:spAutoFit/>
            </a:bodyPr>
            <a:lstStyle/>
            <a:p>
              <a:pPr algn="r">
                <a:lnSpc>
                  <a:spcPct val="150000"/>
                </a:lnSpc>
              </a:pPr>
              <a:r>
                <a:rPr lang="en-US" altLang="zh-CN" sz="1200" dirty="0">
                  <a:solidFill>
                    <a:schemeClr val="tx1">
                      <a:lumMod val="75000"/>
                      <a:lumOff val="25000"/>
                    </a:schemeClr>
                  </a:solidFill>
                </a:rPr>
                <a:t>You can click here to enter you text. </a:t>
              </a:r>
              <a:endParaRPr lang="zh-CN" altLang="en-US" sz="1200" dirty="0">
                <a:solidFill>
                  <a:schemeClr val="tx1">
                    <a:lumMod val="75000"/>
                    <a:lumOff val="25000"/>
                  </a:schemeClr>
                </a:solidFill>
              </a:endParaRPr>
            </a:p>
          </p:txBody>
        </p:sp>
      </p:grpSp>
      <p:grpSp>
        <p:nvGrpSpPr>
          <p:cNvPr id="4" name="组合 3"/>
          <p:cNvGrpSpPr/>
          <p:nvPr/>
        </p:nvGrpSpPr>
        <p:grpSpPr>
          <a:xfrm>
            <a:off x="835000" y="2414637"/>
            <a:ext cx="1751366" cy="987065"/>
            <a:chOff x="835000" y="2414637"/>
            <a:chExt cx="1751366" cy="987065"/>
          </a:xfrm>
        </p:grpSpPr>
        <p:sp>
          <p:nvSpPr>
            <p:cNvPr id="18" name="TextBox 17"/>
            <p:cNvSpPr txBox="1"/>
            <p:nvPr/>
          </p:nvSpPr>
          <p:spPr>
            <a:xfrm>
              <a:off x="1239782" y="2414637"/>
              <a:ext cx="1346584" cy="369332"/>
            </a:xfrm>
            <a:prstGeom prst="rect">
              <a:avLst/>
            </a:prstGeom>
            <a:solidFill>
              <a:srgbClr val="800080"/>
            </a:solidFill>
          </p:spPr>
          <p:txBody>
            <a:bodyPr wrap="square" rtlCol="0">
              <a:spAutoFit/>
            </a:bodyPr>
            <a:lstStyle/>
            <a:p>
              <a:pPr algn="r"/>
              <a:r>
                <a:rPr lang="en-US" altLang="zh-CN" b="1" dirty="0">
                  <a:solidFill>
                    <a:schemeClr val="bg1"/>
                  </a:solidFill>
                </a:rPr>
                <a:t>TEXT  HERE</a:t>
              </a:r>
              <a:endParaRPr lang="zh-CN" altLang="en-US" b="1" dirty="0">
                <a:solidFill>
                  <a:schemeClr val="bg1"/>
                </a:solidFill>
              </a:endParaRPr>
            </a:p>
          </p:txBody>
        </p:sp>
        <p:sp>
          <p:nvSpPr>
            <p:cNvPr id="19" name="TextBox 18"/>
            <p:cNvSpPr txBox="1"/>
            <p:nvPr/>
          </p:nvSpPr>
          <p:spPr>
            <a:xfrm>
              <a:off x="835000" y="2783969"/>
              <a:ext cx="1751366" cy="617733"/>
            </a:xfrm>
            <a:prstGeom prst="rect">
              <a:avLst/>
            </a:prstGeom>
            <a:noFill/>
          </p:spPr>
          <p:txBody>
            <a:bodyPr wrap="square" rtlCol="0">
              <a:spAutoFit/>
            </a:bodyPr>
            <a:lstStyle/>
            <a:p>
              <a:pPr algn="r">
                <a:lnSpc>
                  <a:spcPct val="150000"/>
                </a:lnSpc>
              </a:pPr>
              <a:r>
                <a:rPr lang="en-US" altLang="zh-CN" sz="1200" dirty="0">
                  <a:solidFill>
                    <a:schemeClr val="tx1">
                      <a:lumMod val="75000"/>
                      <a:lumOff val="25000"/>
                    </a:schemeClr>
                  </a:solidFill>
                </a:rPr>
                <a:t>You can click here to enter you text. </a:t>
              </a:r>
              <a:endParaRPr lang="zh-CN" altLang="en-US" sz="1200" dirty="0">
                <a:solidFill>
                  <a:schemeClr val="tx1">
                    <a:lumMod val="75000"/>
                    <a:lumOff val="25000"/>
                  </a:schemeClr>
                </a:solidFill>
              </a:endParaRPr>
            </a:p>
          </p:txBody>
        </p:sp>
      </p:grpSp>
      <p:sp>
        <p:nvSpPr>
          <p:cNvPr id="20" name="TextBox 19"/>
          <p:cNvSpPr txBox="1"/>
          <p:nvPr/>
        </p:nvSpPr>
        <p:spPr>
          <a:xfrm>
            <a:off x="6107765" y="87641"/>
            <a:ext cx="2877711" cy="523220"/>
          </a:xfrm>
          <a:prstGeom prst="rect">
            <a:avLst/>
          </a:prstGeom>
          <a:noFill/>
        </p:spPr>
        <p:txBody>
          <a:bodyPr wrap="none" rtlCol="0">
            <a:spAutoFit/>
          </a:bodyPr>
          <a:lstStyle/>
          <a:p>
            <a:pPr algn="ctr"/>
            <a:r>
              <a:rPr lang="en-US" altLang="zh-CN" sz="2800" b="1" dirty="0">
                <a:solidFill>
                  <a:srgbClr val="800080"/>
                </a:solidFill>
                <a:latin typeface="Adobe Gothic Std B" pitchFamily="34" charset="-128"/>
                <a:ea typeface="Adobe Gothic Std B" pitchFamily="34" charset="-128"/>
              </a:rPr>
              <a:t>ADD YOUR TEXT</a:t>
            </a:r>
            <a:endParaRPr lang="zh-CN" altLang="en-US" sz="2800" b="1" dirty="0">
              <a:solidFill>
                <a:srgbClr val="800080"/>
              </a:solidFill>
              <a:latin typeface="Adobe Gothic Std B" pitchFamily="34" charset="-128"/>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1"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wipe(up)">
                                      <p:cBhvr>
                                        <p:cTn id="10" dur="500"/>
                                        <p:tgtEl>
                                          <p:spTgt spid="2"/>
                                        </p:tgtEl>
                                      </p:cBhvr>
                                    </p:animEffect>
                                  </p:childTnLst>
                                </p:cTn>
                              </p:par>
                            </p:childTnLst>
                          </p:cTn>
                        </p:par>
                        <p:par>
                          <p:cTn id="11" fill="hold">
                            <p:stCondLst>
                              <p:cond delay="500"/>
                            </p:stCondLst>
                            <p:childTnLst>
                              <p:par>
                                <p:cTn id="12" presetID="2" presetClass="entr" presetSubtype="2" fill="hold" grpId="0" nodeType="afterEffect">
                                  <p:stCondLst>
                                    <p:cond delay="0"/>
                                  </p:stCondLst>
                                  <p:childTnLst>
                                    <p:set>
                                      <p:cBhvr>
                                        <p:cTn id="13" dur="1" fill="hold">
                                          <p:stCondLst>
                                            <p:cond delay="0"/>
                                          </p:stCondLst>
                                        </p:cTn>
                                        <p:tgtEl>
                                          <p:spTgt spid="20"/>
                                        </p:tgtEl>
                                        <p:attrNameLst>
                                          <p:attrName>style.visibility</p:attrName>
                                        </p:attrNameLst>
                                      </p:cBhvr>
                                      <p:to>
                                        <p:strVal val="visible"/>
                                      </p:to>
                                    </p:set>
                                    <p:anim calcmode="lin" valueType="num">
                                      <p:cBhvr additive="base">
                                        <p:cTn id="14" dur="500" fill="hold"/>
                                        <p:tgtEl>
                                          <p:spTgt spid="20"/>
                                        </p:tgtEl>
                                        <p:attrNameLst>
                                          <p:attrName>ppt_x</p:attrName>
                                        </p:attrNameLst>
                                      </p:cBhvr>
                                      <p:tavLst>
                                        <p:tav tm="0">
                                          <p:val>
                                            <p:strVal val="1+#ppt_w/2"/>
                                          </p:val>
                                        </p:tav>
                                        <p:tav tm="100000">
                                          <p:val>
                                            <p:strVal val="#ppt_x"/>
                                          </p:val>
                                        </p:tav>
                                      </p:tavLst>
                                    </p:anim>
                                    <p:anim calcmode="lin" valueType="num">
                                      <p:cBhvr additive="base">
                                        <p:cTn id="15" dur="500" fill="hold"/>
                                        <p:tgtEl>
                                          <p:spTgt spid="20"/>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22" presetClass="entr" presetSubtype="4"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wipe(down)">
                                      <p:cBhvr>
                                        <p:cTn id="19" dur="500"/>
                                        <p:tgtEl>
                                          <p:spTgt spid="15"/>
                                        </p:tgtEl>
                                      </p:cBhvr>
                                    </p:animEffect>
                                  </p:childTnLst>
                                </p:cTn>
                              </p:par>
                            </p:childTnLst>
                          </p:cTn>
                        </p:par>
                        <p:par>
                          <p:cTn id="20" fill="hold">
                            <p:stCondLst>
                              <p:cond delay="1500"/>
                            </p:stCondLst>
                            <p:childTnLst>
                              <p:par>
                                <p:cTn id="21" presetID="42"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1000"/>
                                        <p:tgtEl>
                                          <p:spTgt spid="4"/>
                                        </p:tgtEl>
                                      </p:cBhvr>
                                    </p:animEffect>
                                    <p:anim calcmode="lin" valueType="num">
                                      <p:cBhvr>
                                        <p:cTn id="24" dur="1000" fill="hold"/>
                                        <p:tgtEl>
                                          <p:spTgt spid="4"/>
                                        </p:tgtEl>
                                        <p:attrNameLst>
                                          <p:attrName>ppt_x</p:attrName>
                                        </p:attrNameLst>
                                      </p:cBhvr>
                                      <p:tavLst>
                                        <p:tav tm="0">
                                          <p:val>
                                            <p:strVal val="#ppt_x"/>
                                          </p:val>
                                        </p:tav>
                                        <p:tav tm="100000">
                                          <p:val>
                                            <p:strVal val="#ppt_x"/>
                                          </p:val>
                                        </p:tav>
                                      </p:tavLst>
                                    </p:anim>
                                    <p:anim calcmode="lin" valueType="num">
                                      <p:cBhvr>
                                        <p:cTn id="25" dur="1000" fill="hold"/>
                                        <p:tgtEl>
                                          <p:spTgt spid="4"/>
                                        </p:tgtEl>
                                        <p:attrNameLst>
                                          <p:attrName>ppt_y</p:attrName>
                                        </p:attrNameLst>
                                      </p:cBhvr>
                                      <p:tavLst>
                                        <p:tav tm="0">
                                          <p:val>
                                            <p:strVal val="#ppt_y+.1"/>
                                          </p:val>
                                        </p:tav>
                                        <p:tav tm="100000">
                                          <p:val>
                                            <p:strVal val="#ppt_y"/>
                                          </p:val>
                                        </p:tav>
                                      </p:tavLst>
                                    </p:anim>
                                  </p:childTnLst>
                                </p:cTn>
                              </p:par>
                              <p:par>
                                <p:cTn id="26" presetID="42" presetClass="entr" presetSubtype="0" fill="hold" nodeType="withEffect">
                                  <p:stCondLst>
                                    <p:cond delay="50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1000"/>
                                        <p:tgtEl>
                                          <p:spTgt spid="5"/>
                                        </p:tgtEl>
                                      </p:cBhvr>
                                    </p:animEffect>
                                    <p:anim calcmode="lin" valueType="num">
                                      <p:cBhvr>
                                        <p:cTn id="29" dur="1000" fill="hold"/>
                                        <p:tgtEl>
                                          <p:spTgt spid="5"/>
                                        </p:tgtEl>
                                        <p:attrNameLst>
                                          <p:attrName>ppt_x</p:attrName>
                                        </p:attrNameLst>
                                      </p:cBhvr>
                                      <p:tavLst>
                                        <p:tav tm="0">
                                          <p:val>
                                            <p:strVal val="#ppt_x"/>
                                          </p:val>
                                        </p:tav>
                                        <p:tav tm="100000">
                                          <p:val>
                                            <p:strVal val="#ppt_x"/>
                                          </p:val>
                                        </p:tav>
                                      </p:tavLst>
                                    </p:anim>
                                    <p:anim calcmode="lin" valueType="num">
                                      <p:cBhvr>
                                        <p:cTn id="30" dur="1000" fill="hold"/>
                                        <p:tgtEl>
                                          <p:spTgt spid="5"/>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100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1000"/>
                                        <p:tgtEl>
                                          <p:spTgt spid="12"/>
                                        </p:tgtEl>
                                      </p:cBhvr>
                                    </p:animEffect>
                                    <p:anim calcmode="lin" valueType="num">
                                      <p:cBhvr>
                                        <p:cTn id="34" dur="1000" fill="hold"/>
                                        <p:tgtEl>
                                          <p:spTgt spid="12"/>
                                        </p:tgtEl>
                                        <p:attrNameLst>
                                          <p:attrName>ppt_x</p:attrName>
                                        </p:attrNameLst>
                                      </p:cBhvr>
                                      <p:tavLst>
                                        <p:tav tm="0">
                                          <p:val>
                                            <p:strVal val="#ppt_x"/>
                                          </p:val>
                                        </p:tav>
                                        <p:tav tm="100000">
                                          <p:val>
                                            <p:strVal val="#ppt_x"/>
                                          </p:val>
                                        </p:tav>
                                      </p:tavLst>
                                    </p:anim>
                                    <p:anim calcmode="lin" valueType="num">
                                      <p:cBhvr>
                                        <p:cTn id="35"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5967" b="-308"/>
          <a:stretch>
            <a:fillRect/>
          </a:stretch>
        </p:blipFill>
        <p:spPr bwMode="auto">
          <a:xfrm>
            <a:off x="3119729" y="1218518"/>
            <a:ext cx="2808312" cy="2355007"/>
          </a:xfrm>
          <a:prstGeom prst="triangle">
            <a:avLst/>
          </a:prstGeom>
          <a:noFill/>
          <a:extLst>
            <a:ext uri="{909E8E84-426E-40DD-AFC4-6F175D3DCCD1}">
              <a14:hiddenFill xmlns:a14="http://schemas.microsoft.com/office/drawing/2010/main">
                <a:solidFill>
                  <a:srgbClr val="FFFFFF"/>
                </a:solidFill>
              </a14:hiddenFill>
            </a:ext>
          </a:extLst>
        </p:spPr>
      </p:pic>
      <p:sp>
        <p:nvSpPr>
          <p:cNvPr id="58" name="等腰三角形 57"/>
          <p:cNvSpPr/>
          <p:nvPr/>
        </p:nvSpPr>
        <p:spPr>
          <a:xfrm>
            <a:off x="2880462" y="858478"/>
            <a:ext cx="3286845" cy="2833487"/>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TextBox 58"/>
          <p:cNvSpPr txBox="1"/>
          <p:nvPr/>
        </p:nvSpPr>
        <p:spPr>
          <a:xfrm>
            <a:off x="4006660" y="2010606"/>
            <a:ext cx="1034450" cy="1323439"/>
          </a:xfrm>
          <a:prstGeom prst="rect">
            <a:avLst/>
          </a:prstGeom>
          <a:noFill/>
        </p:spPr>
        <p:txBody>
          <a:bodyPr wrap="none" rtlCol="0">
            <a:spAutoFit/>
          </a:bodyPr>
          <a:lstStyle/>
          <a:p>
            <a:pPr algn="ctr"/>
            <a:r>
              <a:rPr lang="en-US" altLang="zh-CN" sz="4000" dirty="0">
                <a:solidFill>
                  <a:schemeClr val="bg1"/>
                </a:solidFill>
              </a:rPr>
              <a:t>Part</a:t>
            </a:r>
          </a:p>
          <a:p>
            <a:pPr algn="ctr"/>
            <a:r>
              <a:rPr lang="en-US" altLang="zh-CN" sz="4000" b="1" dirty="0">
                <a:solidFill>
                  <a:schemeClr val="bg1"/>
                </a:solidFill>
              </a:rPr>
              <a:t>02</a:t>
            </a:r>
            <a:endParaRPr lang="zh-CN" altLang="en-US" sz="4000" b="1" dirty="0">
              <a:solidFill>
                <a:schemeClr val="bg1"/>
              </a:solidFill>
            </a:endParaRPr>
          </a:p>
        </p:txBody>
      </p:sp>
      <p:sp>
        <p:nvSpPr>
          <p:cNvPr id="62" name="TextBox 61"/>
          <p:cNvSpPr txBox="1"/>
          <p:nvPr/>
        </p:nvSpPr>
        <p:spPr>
          <a:xfrm>
            <a:off x="2709083" y="3667362"/>
            <a:ext cx="3699987" cy="707886"/>
          </a:xfrm>
          <a:prstGeom prst="rect">
            <a:avLst/>
          </a:prstGeom>
          <a:noFill/>
        </p:spPr>
        <p:txBody>
          <a:bodyPr wrap="none" rtlCol="0">
            <a:spAutoFit/>
          </a:bodyPr>
          <a:lstStyle/>
          <a:p>
            <a:pPr algn="ctr"/>
            <a:r>
              <a:rPr lang="en-US" altLang="zh-CN" sz="4000" b="1" dirty="0">
                <a:gradFill flip="none" rotWithShape="1">
                  <a:gsLst>
                    <a:gs pos="417">
                      <a:srgbClr val="00B0F0"/>
                    </a:gs>
                    <a:gs pos="99167">
                      <a:srgbClr val="FFFF00"/>
                    </a:gs>
                    <a:gs pos="37000">
                      <a:srgbClr val="71158D"/>
                    </a:gs>
                    <a:gs pos="64000">
                      <a:srgbClr val="800080"/>
                    </a:gs>
                  </a:gsLst>
                  <a:lin ang="0" scaled="1"/>
                  <a:tileRect/>
                </a:gradFill>
              </a:rPr>
              <a:t>ADD YOUR TITLE</a:t>
            </a:r>
            <a:endParaRPr lang="zh-CN" altLang="en-US" sz="4000" b="1" dirty="0">
              <a:gradFill flip="none" rotWithShape="1">
                <a:gsLst>
                  <a:gs pos="417">
                    <a:srgbClr val="00B0F0"/>
                  </a:gs>
                  <a:gs pos="99167">
                    <a:srgbClr val="FFFF00"/>
                  </a:gs>
                  <a:gs pos="37000">
                    <a:srgbClr val="71158D"/>
                  </a:gs>
                  <a:gs pos="64000">
                    <a:srgbClr val="800080"/>
                  </a:gs>
                </a:gsLst>
                <a:lin ang="0" scaled="1"/>
                <a:tileRect/>
              </a:gradFill>
            </a:endParaRPr>
          </a:p>
        </p:txBody>
      </p:sp>
      <p:grpSp>
        <p:nvGrpSpPr>
          <p:cNvPr id="63" name="组合 62"/>
          <p:cNvGrpSpPr/>
          <p:nvPr/>
        </p:nvGrpSpPr>
        <p:grpSpPr>
          <a:xfrm>
            <a:off x="6187103" y="3363301"/>
            <a:ext cx="519515" cy="457509"/>
            <a:chOff x="7004888" y="2091225"/>
            <a:chExt cx="519515" cy="457509"/>
          </a:xfrm>
        </p:grpSpPr>
        <p:sp>
          <p:nvSpPr>
            <p:cNvPr id="64" name="等腰三角形 6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等腰三角形 64"/>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等腰三角形 65"/>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等腰三角形 6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3" name="组合 72"/>
          <p:cNvGrpSpPr/>
          <p:nvPr/>
        </p:nvGrpSpPr>
        <p:grpSpPr>
          <a:xfrm flipH="1">
            <a:off x="2350714" y="3363301"/>
            <a:ext cx="519515" cy="457509"/>
            <a:chOff x="7004888" y="2091225"/>
            <a:chExt cx="519515" cy="457509"/>
          </a:xfrm>
        </p:grpSpPr>
        <p:sp>
          <p:nvSpPr>
            <p:cNvPr id="74" name="等腰三角形 7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等腰三角形 74"/>
            <p:cNvSpPr/>
            <p:nvPr/>
          </p:nvSpPr>
          <p:spPr>
            <a:xfrm rot="8122854" flipH="1">
              <a:off x="7303361" y="209122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等腰三角形 75"/>
            <p:cNvSpPr/>
            <p:nvPr/>
          </p:nvSpPr>
          <p:spPr>
            <a:xfrm rot="8122854" flipH="1">
              <a:off x="7004888" y="209661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等腰三角形 7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p:cTn id="7" dur="500" fill="hold"/>
                                        <p:tgtEl>
                                          <p:spTgt spid="57"/>
                                        </p:tgtEl>
                                        <p:attrNameLst>
                                          <p:attrName>ppt_w</p:attrName>
                                        </p:attrNameLst>
                                      </p:cBhvr>
                                      <p:tavLst>
                                        <p:tav tm="0">
                                          <p:val>
                                            <p:fltVal val="0"/>
                                          </p:val>
                                        </p:tav>
                                        <p:tav tm="100000">
                                          <p:val>
                                            <p:strVal val="#ppt_w"/>
                                          </p:val>
                                        </p:tav>
                                      </p:tavLst>
                                    </p:anim>
                                    <p:anim calcmode="lin" valueType="num">
                                      <p:cBhvr>
                                        <p:cTn id="8" dur="500" fill="hold"/>
                                        <p:tgtEl>
                                          <p:spTgt spid="57"/>
                                        </p:tgtEl>
                                        <p:attrNameLst>
                                          <p:attrName>ppt_h</p:attrName>
                                        </p:attrNameLst>
                                      </p:cBhvr>
                                      <p:tavLst>
                                        <p:tav tm="0">
                                          <p:val>
                                            <p:fltVal val="0"/>
                                          </p:val>
                                        </p:tav>
                                        <p:tav tm="100000">
                                          <p:val>
                                            <p:strVal val="#ppt_h"/>
                                          </p:val>
                                        </p:tav>
                                      </p:tavLst>
                                    </p:anim>
                                    <p:animEffect transition="in" filter="fade">
                                      <p:cBhvr>
                                        <p:cTn id="9" dur="500"/>
                                        <p:tgtEl>
                                          <p:spTgt spid="57"/>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58"/>
                                        </p:tgtEl>
                                        <p:attrNameLst>
                                          <p:attrName>style.visibility</p:attrName>
                                        </p:attrNameLst>
                                      </p:cBhvr>
                                      <p:to>
                                        <p:strVal val="visible"/>
                                      </p:to>
                                    </p:set>
                                    <p:anim calcmode="lin" valueType="num">
                                      <p:cBhvr>
                                        <p:cTn id="12" dur="500" fill="hold"/>
                                        <p:tgtEl>
                                          <p:spTgt spid="58"/>
                                        </p:tgtEl>
                                        <p:attrNameLst>
                                          <p:attrName>ppt_w</p:attrName>
                                        </p:attrNameLst>
                                      </p:cBhvr>
                                      <p:tavLst>
                                        <p:tav tm="0">
                                          <p:val>
                                            <p:fltVal val="0"/>
                                          </p:val>
                                        </p:tav>
                                        <p:tav tm="100000">
                                          <p:val>
                                            <p:strVal val="#ppt_w"/>
                                          </p:val>
                                        </p:tav>
                                      </p:tavLst>
                                    </p:anim>
                                    <p:anim calcmode="lin" valueType="num">
                                      <p:cBhvr>
                                        <p:cTn id="13" dur="500" fill="hold"/>
                                        <p:tgtEl>
                                          <p:spTgt spid="58"/>
                                        </p:tgtEl>
                                        <p:attrNameLst>
                                          <p:attrName>ppt_h</p:attrName>
                                        </p:attrNameLst>
                                      </p:cBhvr>
                                      <p:tavLst>
                                        <p:tav tm="0">
                                          <p:val>
                                            <p:fltVal val="0"/>
                                          </p:val>
                                        </p:tav>
                                        <p:tav tm="100000">
                                          <p:val>
                                            <p:strVal val="#ppt_h"/>
                                          </p:val>
                                        </p:tav>
                                      </p:tavLst>
                                    </p:anim>
                                    <p:animEffect transition="in" filter="fade">
                                      <p:cBhvr>
                                        <p:cTn id="14" dur="500"/>
                                        <p:tgtEl>
                                          <p:spTgt spid="58"/>
                                        </p:tgtEl>
                                      </p:cBhvr>
                                    </p:animEffec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59"/>
                                        </p:tgtEl>
                                        <p:attrNameLst>
                                          <p:attrName>style.visibility</p:attrName>
                                        </p:attrNameLst>
                                      </p:cBhvr>
                                      <p:to>
                                        <p:strVal val="visible"/>
                                      </p:to>
                                    </p:set>
                                    <p:animEffect transition="in" filter="fade">
                                      <p:cBhvr>
                                        <p:cTn id="18" dur="500"/>
                                        <p:tgtEl>
                                          <p:spTgt spid="59"/>
                                        </p:tgtEl>
                                      </p:cBhvr>
                                    </p:animEffect>
                                  </p:childTnLst>
                                </p:cTn>
                              </p:par>
                            </p:childTnLst>
                          </p:cTn>
                        </p:par>
                        <p:par>
                          <p:cTn id="19" fill="hold">
                            <p:stCondLst>
                              <p:cond delay="1000"/>
                            </p:stCondLst>
                            <p:childTnLst>
                              <p:par>
                                <p:cTn id="20" presetID="31" presetClass="entr" presetSubtype="0" fill="hold" nodeType="afterEffect">
                                  <p:stCondLst>
                                    <p:cond delay="0"/>
                                  </p:stCondLst>
                                  <p:childTnLst>
                                    <p:set>
                                      <p:cBhvr>
                                        <p:cTn id="21" dur="1" fill="hold">
                                          <p:stCondLst>
                                            <p:cond delay="0"/>
                                          </p:stCondLst>
                                        </p:cTn>
                                        <p:tgtEl>
                                          <p:spTgt spid="63"/>
                                        </p:tgtEl>
                                        <p:attrNameLst>
                                          <p:attrName>style.visibility</p:attrName>
                                        </p:attrNameLst>
                                      </p:cBhvr>
                                      <p:to>
                                        <p:strVal val="visible"/>
                                      </p:to>
                                    </p:set>
                                    <p:anim calcmode="lin" valueType="num">
                                      <p:cBhvr>
                                        <p:cTn id="22" dur="750" fill="hold"/>
                                        <p:tgtEl>
                                          <p:spTgt spid="63"/>
                                        </p:tgtEl>
                                        <p:attrNameLst>
                                          <p:attrName>ppt_w</p:attrName>
                                        </p:attrNameLst>
                                      </p:cBhvr>
                                      <p:tavLst>
                                        <p:tav tm="0">
                                          <p:val>
                                            <p:fltVal val="0"/>
                                          </p:val>
                                        </p:tav>
                                        <p:tav tm="100000">
                                          <p:val>
                                            <p:strVal val="#ppt_w"/>
                                          </p:val>
                                        </p:tav>
                                      </p:tavLst>
                                    </p:anim>
                                    <p:anim calcmode="lin" valueType="num">
                                      <p:cBhvr>
                                        <p:cTn id="23" dur="750" fill="hold"/>
                                        <p:tgtEl>
                                          <p:spTgt spid="63"/>
                                        </p:tgtEl>
                                        <p:attrNameLst>
                                          <p:attrName>ppt_h</p:attrName>
                                        </p:attrNameLst>
                                      </p:cBhvr>
                                      <p:tavLst>
                                        <p:tav tm="0">
                                          <p:val>
                                            <p:fltVal val="0"/>
                                          </p:val>
                                        </p:tav>
                                        <p:tav tm="100000">
                                          <p:val>
                                            <p:strVal val="#ppt_h"/>
                                          </p:val>
                                        </p:tav>
                                      </p:tavLst>
                                    </p:anim>
                                    <p:anim calcmode="lin" valueType="num">
                                      <p:cBhvr>
                                        <p:cTn id="24" dur="750" fill="hold"/>
                                        <p:tgtEl>
                                          <p:spTgt spid="63"/>
                                        </p:tgtEl>
                                        <p:attrNameLst>
                                          <p:attrName>style.rotation</p:attrName>
                                        </p:attrNameLst>
                                      </p:cBhvr>
                                      <p:tavLst>
                                        <p:tav tm="0">
                                          <p:val>
                                            <p:fltVal val="90"/>
                                          </p:val>
                                        </p:tav>
                                        <p:tav tm="100000">
                                          <p:val>
                                            <p:fltVal val="0"/>
                                          </p:val>
                                        </p:tav>
                                      </p:tavLst>
                                    </p:anim>
                                    <p:animEffect transition="in" filter="fade">
                                      <p:cBhvr>
                                        <p:cTn id="25" dur="750"/>
                                        <p:tgtEl>
                                          <p:spTgt spid="63"/>
                                        </p:tgtEl>
                                      </p:cBhvr>
                                    </p:animEffect>
                                  </p:childTnLst>
                                </p:cTn>
                              </p:par>
                              <p:par>
                                <p:cTn id="26" presetID="31" presetClass="entr" presetSubtype="0" fill="hold" nodeType="withEffect">
                                  <p:stCondLst>
                                    <p:cond delay="0"/>
                                  </p:stCondLst>
                                  <p:childTnLst>
                                    <p:set>
                                      <p:cBhvr>
                                        <p:cTn id="27" dur="1" fill="hold">
                                          <p:stCondLst>
                                            <p:cond delay="0"/>
                                          </p:stCondLst>
                                        </p:cTn>
                                        <p:tgtEl>
                                          <p:spTgt spid="73"/>
                                        </p:tgtEl>
                                        <p:attrNameLst>
                                          <p:attrName>style.visibility</p:attrName>
                                        </p:attrNameLst>
                                      </p:cBhvr>
                                      <p:to>
                                        <p:strVal val="visible"/>
                                      </p:to>
                                    </p:set>
                                    <p:anim calcmode="lin" valueType="num">
                                      <p:cBhvr>
                                        <p:cTn id="28" dur="750" fill="hold"/>
                                        <p:tgtEl>
                                          <p:spTgt spid="73"/>
                                        </p:tgtEl>
                                        <p:attrNameLst>
                                          <p:attrName>ppt_w</p:attrName>
                                        </p:attrNameLst>
                                      </p:cBhvr>
                                      <p:tavLst>
                                        <p:tav tm="0">
                                          <p:val>
                                            <p:fltVal val="0"/>
                                          </p:val>
                                        </p:tav>
                                        <p:tav tm="100000">
                                          <p:val>
                                            <p:strVal val="#ppt_w"/>
                                          </p:val>
                                        </p:tav>
                                      </p:tavLst>
                                    </p:anim>
                                    <p:anim calcmode="lin" valueType="num">
                                      <p:cBhvr>
                                        <p:cTn id="29" dur="750" fill="hold"/>
                                        <p:tgtEl>
                                          <p:spTgt spid="73"/>
                                        </p:tgtEl>
                                        <p:attrNameLst>
                                          <p:attrName>ppt_h</p:attrName>
                                        </p:attrNameLst>
                                      </p:cBhvr>
                                      <p:tavLst>
                                        <p:tav tm="0">
                                          <p:val>
                                            <p:fltVal val="0"/>
                                          </p:val>
                                        </p:tav>
                                        <p:tav tm="100000">
                                          <p:val>
                                            <p:strVal val="#ppt_h"/>
                                          </p:val>
                                        </p:tav>
                                      </p:tavLst>
                                    </p:anim>
                                    <p:anim calcmode="lin" valueType="num">
                                      <p:cBhvr>
                                        <p:cTn id="30" dur="750" fill="hold"/>
                                        <p:tgtEl>
                                          <p:spTgt spid="73"/>
                                        </p:tgtEl>
                                        <p:attrNameLst>
                                          <p:attrName>style.rotation</p:attrName>
                                        </p:attrNameLst>
                                      </p:cBhvr>
                                      <p:tavLst>
                                        <p:tav tm="0">
                                          <p:val>
                                            <p:fltVal val="90"/>
                                          </p:val>
                                        </p:tav>
                                        <p:tav tm="100000">
                                          <p:val>
                                            <p:fltVal val="0"/>
                                          </p:val>
                                        </p:tav>
                                      </p:tavLst>
                                    </p:anim>
                                    <p:animEffect transition="in" filter="fade">
                                      <p:cBhvr>
                                        <p:cTn id="31" dur="750"/>
                                        <p:tgtEl>
                                          <p:spTgt spid="73"/>
                                        </p:tgtEl>
                                      </p:cBhvr>
                                    </p:animEffect>
                                  </p:childTnLst>
                                </p:cTn>
                              </p:par>
                            </p:childTnLst>
                          </p:cTn>
                        </p:par>
                        <p:par>
                          <p:cTn id="32" fill="hold">
                            <p:stCondLst>
                              <p:cond delay="2000"/>
                            </p:stCondLst>
                            <p:childTnLst>
                              <p:par>
                                <p:cTn id="33" presetID="12" presetClass="entr" presetSubtype="4" fill="hold" grpId="0" nodeType="afterEffect">
                                  <p:stCondLst>
                                    <p:cond delay="0"/>
                                  </p:stCondLst>
                                  <p:childTnLst>
                                    <p:set>
                                      <p:cBhvr>
                                        <p:cTn id="34" dur="1" fill="hold">
                                          <p:stCondLst>
                                            <p:cond delay="0"/>
                                          </p:stCondLst>
                                        </p:cTn>
                                        <p:tgtEl>
                                          <p:spTgt spid="62"/>
                                        </p:tgtEl>
                                        <p:attrNameLst>
                                          <p:attrName>style.visibility</p:attrName>
                                        </p:attrNameLst>
                                      </p:cBhvr>
                                      <p:to>
                                        <p:strVal val="visible"/>
                                      </p:to>
                                    </p:set>
                                    <p:anim calcmode="lin" valueType="num">
                                      <p:cBhvr additive="base">
                                        <p:cTn id="35" dur="500"/>
                                        <p:tgtEl>
                                          <p:spTgt spid="62"/>
                                        </p:tgtEl>
                                        <p:attrNameLst>
                                          <p:attrName>ppt_y</p:attrName>
                                        </p:attrNameLst>
                                      </p:cBhvr>
                                      <p:tavLst>
                                        <p:tav tm="0">
                                          <p:val>
                                            <p:strVal val="#ppt_y+#ppt_h*1.125000"/>
                                          </p:val>
                                        </p:tav>
                                        <p:tav tm="100000">
                                          <p:val>
                                            <p:strVal val="#ppt_y"/>
                                          </p:val>
                                        </p:tav>
                                      </p:tavLst>
                                    </p:anim>
                                    <p:animEffect transition="in" filter="wipe(up)">
                                      <p:cBhvr>
                                        <p:cTn id="36"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9" grpId="0"/>
      <p:bldP spid="62" grpId="0"/>
    </p:bld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dd7c6aa54b79e7d450be7fa393cec1ebda2fcb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x0NYhzz3kyjTLiMBTKV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x0NYhzz3kyjTLiMBTKV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x0NYhzz3kyjTLiMBTKVx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81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1488</Words>
  <Application>Microsoft Office PowerPoint</Application>
  <PresentationFormat>全屏显示(16:9)</PresentationFormat>
  <Paragraphs>201</Paragraphs>
  <Slides>24</Slides>
  <Notes>6</Notes>
  <HiddenSlides>0</HiddenSlides>
  <MMClips>0</MMClips>
  <ScaleCrop>false</ScaleCrop>
  <HeadingPairs>
    <vt:vector size="6" baseType="variant">
      <vt:variant>
        <vt:lpstr>已用的字体</vt:lpstr>
      </vt:variant>
      <vt:variant>
        <vt:i4>7</vt:i4>
      </vt:variant>
      <vt:variant>
        <vt:lpstr>主题</vt:lpstr>
      </vt:variant>
      <vt:variant>
        <vt:i4>1</vt:i4>
      </vt:variant>
      <vt:variant>
        <vt:lpstr>幻灯片标题</vt:lpstr>
      </vt:variant>
      <vt:variant>
        <vt:i4>24</vt:i4>
      </vt:variant>
    </vt:vector>
  </HeadingPairs>
  <TitlesOfParts>
    <vt:vector size="32" baseType="lpstr">
      <vt:lpstr>Adobe Gothic Std B</vt:lpstr>
      <vt:lpstr>微软雅黑</vt:lpstr>
      <vt:lpstr>Agency FB</vt:lpstr>
      <vt:lpstr>Arial</vt:lpstr>
      <vt:lpstr>Arial Black</vt:lpstr>
      <vt:lpstr>Calibri</vt:lpstr>
      <vt:lpstr>Wingdings</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
  <cp:lastModifiedBy>天 下</cp:lastModifiedBy>
  <cp:revision>8</cp:revision>
  <dcterms:created xsi:type="dcterms:W3CDTF">2014-11-25T17:46:00Z</dcterms:created>
  <dcterms:modified xsi:type="dcterms:W3CDTF">2021-01-05T01:39: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208</vt:lpwstr>
  </property>
</Properties>
</file>